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3.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4.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5.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6.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7.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8.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theme/theme9.xml" ContentType="application/vnd.openxmlformats-officedocument.theme+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10.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theme/theme11.xml" ContentType="application/vnd.openxmlformats-officedocument.theme+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12.xml" ContentType="application/vnd.openxmlformats-officedocument.theme+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13.xml" ContentType="application/vnd.openxmlformats-officedocument.theme+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theme/theme14.xml" ContentType="application/vnd.openxmlformats-officedocument.theme+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theme/theme15.xml" ContentType="application/vnd.openxmlformats-officedocument.theme+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1"/>
    <p:sldMasterId id="2147484003" r:id="rId2"/>
    <p:sldMasterId id="2147484094" r:id="rId3"/>
    <p:sldMasterId id="2147484145" r:id="rId4"/>
    <p:sldMasterId id="2147484196" r:id="rId5"/>
    <p:sldMasterId id="2147484247" r:id="rId6"/>
    <p:sldMasterId id="2147484298" r:id="rId7"/>
    <p:sldMasterId id="2147484349" r:id="rId8"/>
    <p:sldMasterId id="2147484392" r:id="rId9"/>
    <p:sldMasterId id="2147484435" r:id="rId10"/>
    <p:sldMasterId id="2147484474" r:id="rId11"/>
    <p:sldMasterId id="2147484518" r:id="rId12"/>
    <p:sldMasterId id="2147484559" r:id="rId13"/>
    <p:sldMasterId id="2147484604" r:id="rId14"/>
    <p:sldMasterId id="2147484649" r:id="rId15"/>
    <p:sldMasterId id="2147484692" r:id="rId16"/>
  </p:sldMasterIdLst>
  <p:notesMasterIdLst>
    <p:notesMasterId r:id="rId63"/>
  </p:notesMasterIdLst>
  <p:handoutMasterIdLst>
    <p:handoutMasterId r:id="rId64"/>
  </p:handoutMasterIdLst>
  <p:sldIdLst>
    <p:sldId id="507" r:id="rId17"/>
    <p:sldId id="562" r:id="rId18"/>
    <p:sldId id="842" r:id="rId19"/>
    <p:sldId id="786" r:id="rId20"/>
    <p:sldId id="800" r:id="rId21"/>
    <p:sldId id="808" r:id="rId22"/>
    <p:sldId id="844" r:id="rId23"/>
    <p:sldId id="801" r:id="rId24"/>
    <p:sldId id="809" r:id="rId25"/>
    <p:sldId id="810" r:id="rId26"/>
    <p:sldId id="811" r:id="rId27"/>
    <p:sldId id="812" r:id="rId28"/>
    <p:sldId id="813" r:id="rId29"/>
    <p:sldId id="806" r:id="rId30"/>
    <p:sldId id="817" r:id="rId31"/>
    <p:sldId id="777" r:id="rId32"/>
    <p:sldId id="803" r:id="rId33"/>
    <p:sldId id="818" r:id="rId34"/>
    <p:sldId id="821" r:id="rId35"/>
    <p:sldId id="819" r:id="rId36"/>
    <p:sldId id="846" r:id="rId37"/>
    <p:sldId id="824" r:id="rId38"/>
    <p:sldId id="790" r:id="rId39"/>
    <p:sldId id="789" r:id="rId40"/>
    <p:sldId id="792" r:id="rId41"/>
    <p:sldId id="833" r:id="rId42"/>
    <p:sldId id="829" r:id="rId43"/>
    <p:sldId id="547" r:id="rId44"/>
    <p:sldId id="744" r:id="rId45"/>
    <p:sldId id="826" r:id="rId46"/>
    <p:sldId id="827" r:id="rId47"/>
    <p:sldId id="828" r:id="rId48"/>
    <p:sldId id="825" r:id="rId49"/>
    <p:sldId id="791" r:id="rId50"/>
    <p:sldId id="834" r:id="rId51"/>
    <p:sldId id="835" r:id="rId52"/>
    <p:sldId id="831" r:id="rId53"/>
    <p:sldId id="830" r:id="rId54"/>
    <p:sldId id="814" r:id="rId55"/>
    <p:sldId id="816" r:id="rId56"/>
    <p:sldId id="815" r:id="rId57"/>
    <p:sldId id="823" r:id="rId58"/>
    <p:sldId id="618" r:id="rId59"/>
    <p:sldId id="527" r:id="rId60"/>
    <p:sldId id="769" r:id="rId61"/>
    <p:sldId id="841" r:id="rId62"/>
  </p:sldIdLst>
  <p:sldSz cx="12188825" cy="6858000"/>
  <p:notesSz cx="6858000" cy="9144000"/>
  <p:custDataLst>
    <p:tags r:id="rId65"/>
  </p:custDataLst>
  <p:defaultTex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7" pos="33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eorge Lumpkin" initials="g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F2F2"/>
    <a:srgbClr val="000000"/>
    <a:srgbClr val="005EA4"/>
    <a:srgbClr val="0067B4"/>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1014" autoAdjust="0"/>
  </p:normalViewPr>
  <p:slideViewPr>
    <p:cSldViewPr>
      <p:cViewPr varScale="1">
        <p:scale>
          <a:sx n="88" d="100"/>
          <a:sy n="88" d="100"/>
        </p:scale>
        <p:origin x="96" y="180"/>
      </p:cViewPr>
      <p:guideLst>
        <p:guide orient="horz" pos="2160"/>
        <p:guide pos="335"/>
      </p:guideLst>
    </p:cSldViewPr>
  </p:slideViewPr>
  <p:outlineViewPr>
    <p:cViewPr>
      <p:scale>
        <a:sx n="33" d="100"/>
        <a:sy n="33" d="100"/>
      </p:scale>
      <p:origin x="0" y="16680"/>
    </p:cViewPr>
    <p:sldLst>
      <p:sld r:id="rId1" collapse="1"/>
    </p:sldLst>
  </p:outlineViewPr>
  <p:notesTextViewPr>
    <p:cViewPr>
      <p:scale>
        <a:sx n="1" d="1"/>
        <a:sy n="1" d="1"/>
      </p:scale>
      <p:origin x="0" y="0"/>
    </p:cViewPr>
  </p:notesTextViewPr>
  <p:sorterViewPr>
    <p:cViewPr varScale="1">
      <p:scale>
        <a:sx n="1" d="1"/>
        <a:sy n="1" d="1"/>
      </p:scale>
      <p:origin x="0" y="0"/>
    </p:cViewPr>
  </p:sorterViewPr>
  <p:notesViewPr>
    <p:cSldViewPr>
      <p:cViewPr varScale="1">
        <p:scale>
          <a:sx n="88" d="100"/>
          <a:sy n="88" d="100"/>
        </p:scale>
        <p:origin x="-382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presProps" Target="presProp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312B9B-970C-1B4F-AD62-247F7CA3FB8A}" type="doc">
      <dgm:prSet loTypeId="urn:microsoft.com/office/officeart/2005/8/layout/hChevron3" loCatId="" qsTypeId="urn:microsoft.com/office/officeart/2005/8/quickstyle/simple2" qsCatId="simple" csTypeId="urn:microsoft.com/office/officeart/2005/8/colors/accent1_2#1" csCatId="accent1" phldr="1"/>
      <dgm:spPr/>
    </dgm:pt>
    <dgm:pt modelId="{8C80E92D-106F-EE43-8AF8-8F471C4A74F2}">
      <dgm:prSet phldrT="[Text]" custT="1"/>
      <dgm:spPr/>
      <dgm:t>
        <a:bodyPr/>
        <a:lstStyle/>
        <a:p>
          <a:pPr algn="l"/>
          <a:r>
            <a:rPr lang="en-US" sz="1000" b="1" dirty="0" smtClean="0"/>
            <a:t> Research</a:t>
          </a:r>
          <a:endParaRPr lang="en-US" sz="1000" b="1" dirty="0"/>
        </a:p>
      </dgm:t>
    </dgm:pt>
    <dgm:pt modelId="{868FD13F-3677-C041-B308-8E30EAC47C12}" type="parTrans" cxnId="{082070B2-8594-9D46-A0A4-1B42D8FA44D2}">
      <dgm:prSet/>
      <dgm:spPr/>
      <dgm:t>
        <a:bodyPr/>
        <a:lstStyle/>
        <a:p>
          <a:endParaRPr lang="en-US"/>
        </a:p>
      </dgm:t>
    </dgm:pt>
    <dgm:pt modelId="{006C9F1A-7E61-2148-A727-82DDB1A1B552}" type="sibTrans" cxnId="{082070B2-8594-9D46-A0A4-1B42D8FA44D2}">
      <dgm:prSet/>
      <dgm:spPr/>
      <dgm:t>
        <a:bodyPr/>
        <a:lstStyle/>
        <a:p>
          <a:endParaRPr lang="en-US"/>
        </a:p>
      </dgm:t>
    </dgm:pt>
    <dgm:pt modelId="{8870CB85-F67D-1A4E-8484-CA44B5B06317}">
      <dgm:prSet phldrT="[Text]" custT="1"/>
      <dgm:spPr/>
      <dgm:t>
        <a:bodyPr/>
        <a:lstStyle/>
        <a:p>
          <a:r>
            <a:rPr lang="en-US" sz="1000" b="1" dirty="0" smtClean="0"/>
            <a:t>Shop</a:t>
          </a:r>
          <a:endParaRPr lang="en-US" sz="1000" b="1" dirty="0"/>
        </a:p>
      </dgm:t>
    </dgm:pt>
    <dgm:pt modelId="{1FAD3681-712E-B14E-92C4-DFFE4422AA13}" type="parTrans" cxnId="{DA297C48-8B17-4D4A-A575-E7342AEAF0D5}">
      <dgm:prSet/>
      <dgm:spPr/>
      <dgm:t>
        <a:bodyPr/>
        <a:lstStyle/>
        <a:p>
          <a:endParaRPr lang="en-US"/>
        </a:p>
      </dgm:t>
    </dgm:pt>
    <dgm:pt modelId="{F6351749-FEFA-6E44-A223-D6E3B43B73F9}" type="sibTrans" cxnId="{DA297C48-8B17-4D4A-A575-E7342AEAF0D5}">
      <dgm:prSet/>
      <dgm:spPr/>
      <dgm:t>
        <a:bodyPr/>
        <a:lstStyle/>
        <a:p>
          <a:endParaRPr lang="en-US"/>
        </a:p>
      </dgm:t>
    </dgm:pt>
    <dgm:pt modelId="{4B0A8387-A867-9A43-9452-4CA6518ECD39}">
      <dgm:prSet phldrT="[Text]" custT="1"/>
      <dgm:spPr/>
      <dgm:t>
        <a:bodyPr/>
        <a:lstStyle/>
        <a:p>
          <a:r>
            <a:rPr lang="en-US" sz="1000" b="1" dirty="0" smtClean="0"/>
            <a:t>Buy</a:t>
          </a:r>
        </a:p>
      </dgm:t>
    </dgm:pt>
    <dgm:pt modelId="{F76019B6-B5E3-FB4D-B8AE-D5FF4E2AB431}" type="parTrans" cxnId="{9C24C2E1-BFDA-C946-AA18-C192C88D8F49}">
      <dgm:prSet/>
      <dgm:spPr/>
      <dgm:t>
        <a:bodyPr/>
        <a:lstStyle/>
        <a:p>
          <a:endParaRPr lang="en-US"/>
        </a:p>
      </dgm:t>
    </dgm:pt>
    <dgm:pt modelId="{01FB1D01-1278-4A4D-AB04-F1D2D7CA201A}" type="sibTrans" cxnId="{9C24C2E1-BFDA-C946-AA18-C192C88D8F49}">
      <dgm:prSet/>
      <dgm:spPr/>
      <dgm:t>
        <a:bodyPr/>
        <a:lstStyle/>
        <a:p>
          <a:endParaRPr lang="en-US"/>
        </a:p>
      </dgm:t>
    </dgm:pt>
    <dgm:pt modelId="{B36AC597-280A-2E4E-B93E-0913DF2C9F03}">
      <dgm:prSet phldrT="[Text]" custT="1"/>
      <dgm:spPr/>
      <dgm:t>
        <a:bodyPr/>
        <a:lstStyle/>
        <a:p>
          <a:r>
            <a:rPr lang="en-US" sz="1000" b="1" dirty="0" smtClean="0"/>
            <a:t>Pickup</a:t>
          </a:r>
        </a:p>
      </dgm:t>
    </dgm:pt>
    <dgm:pt modelId="{DF8E0EDE-F5C1-4743-82BE-632BF161FF01}" type="parTrans" cxnId="{A26C4217-61A5-5E45-8A90-AE3C63A5D7DB}">
      <dgm:prSet/>
      <dgm:spPr/>
      <dgm:t>
        <a:bodyPr/>
        <a:lstStyle/>
        <a:p>
          <a:endParaRPr lang="en-US"/>
        </a:p>
      </dgm:t>
    </dgm:pt>
    <dgm:pt modelId="{A9A0C832-05E8-2240-B744-0CAA92542211}" type="sibTrans" cxnId="{A26C4217-61A5-5E45-8A90-AE3C63A5D7DB}">
      <dgm:prSet/>
      <dgm:spPr/>
      <dgm:t>
        <a:bodyPr/>
        <a:lstStyle/>
        <a:p>
          <a:endParaRPr lang="en-US"/>
        </a:p>
      </dgm:t>
    </dgm:pt>
    <dgm:pt modelId="{5419A9EA-8411-8E40-B43C-5D383A1F6609}">
      <dgm:prSet phldrT="[Text]" custT="1"/>
      <dgm:spPr/>
      <dgm:t>
        <a:bodyPr/>
        <a:lstStyle/>
        <a:p>
          <a:r>
            <a:rPr lang="en-US" sz="1000" b="1" dirty="0" smtClean="0"/>
            <a:t>Service</a:t>
          </a:r>
        </a:p>
      </dgm:t>
    </dgm:pt>
    <dgm:pt modelId="{D6B25B81-18F6-1245-9884-24EFA0B47F21}" type="parTrans" cxnId="{E48A117C-BDE6-F14F-B0F9-B78ECFDE7DFF}">
      <dgm:prSet/>
      <dgm:spPr/>
      <dgm:t>
        <a:bodyPr/>
        <a:lstStyle/>
        <a:p>
          <a:endParaRPr lang="en-US"/>
        </a:p>
      </dgm:t>
    </dgm:pt>
    <dgm:pt modelId="{3D683C42-FAA0-154A-9E55-8310342FBFCD}" type="sibTrans" cxnId="{E48A117C-BDE6-F14F-B0F9-B78ECFDE7DFF}">
      <dgm:prSet/>
      <dgm:spPr/>
      <dgm:t>
        <a:bodyPr/>
        <a:lstStyle/>
        <a:p>
          <a:endParaRPr lang="en-US"/>
        </a:p>
      </dgm:t>
    </dgm:pt>
    <dgm:pt modelId="{45CF8415-B3A1-434F-85DF-66A8BCA13C71}" type="pres">
      <dgm:prSet presAssocID="{7F312B9B-970C-1B4F-AD62-247F7CA3FB8A}" presName="Name0" presStyleCnt="0">
        <dgm:presLayoutVars>
          <dgm:dir/>
          <dgm:resizeHandles val="exact"/>
        </dgm:presLayoutVars>
      </dgm:prSet>
      <dgm:spPr/>
    </dgm:pt>
    <dgm:pt modelId="{9D190768-3405-384A-B589-D251F5000883}" type="pres">
      <dgm:prSet presAssocID="{8C80E92D-106F-EE43-8AF8-8F471C4A74F2}" presName="parTxOnly" presStyleLbl="node1" presStyleIdx="0" presStyleCnt="5">
        <dgm:presLayoutVars>
          <dgm:bulletEnabled val="1"/>
        </dgm:presLayoutVars>
      </dgm:prSet>
      <dgm:spPr/>
      <dgm:t>
        <a:bodyPr/>
        <a:lstStyle/>
        <a:p>
          <a:endParaRPr lang="en-US"/>
        </a:p>
      </dgm:t>
    </dgm:pt>
    <dgm:pt modelId="{7A740B7C-9208-884A-8E00-2E8372432C12}" type="pres">
      <dgm:prSet presAssocID="{006C9F1A-7E61-2148-A727-82DDB1A1B552}" presName="parSpace" presStyleCnt="0"/>
      <dgm:spPr/>
    </dgm:pt>
    <dgm:pt modelId="{D90BAD91-4E6F-324F-B034-CD85100D4B2C}" type="pres">
      <dgm:prSet presAssocID="{8870CB85-F67D-1A4E-8484-CA44B5B06317}" presName="parTxOnly" presStyleLbl="node1" presStyleIdx="1" presStyleCnt="5">
        <dgm:presLayoutVars>
          <dgm:bulletEnabled val="1"/>
        </dgm:presLayoutVars>
      </dgm:prSet>
      <dgm:spPr/>
      <dgm:t>
        <a:bodyPr/>
        <a:lstStyle/>
        <a:p>
          <a:endParaRPr lang="en-US"/>
        </a:p>
      </dgm:t>
    </dgm:pt>
    <dgm:pt modelId="{FC7DE68F-AF4C-F74D-B11B-03FA5A5DC809}" type="pres">
      <dgm:prSet presAssocID="{F6351749-FEFA-6E44-A223-D6E3B43B73F9}" presName="parSpace" presStyleCnt="0"/>
      <dgm:spPr/>
    </dgm:pt>
    <dgm:pt modelId="{66DE509E-DBB3-334C-B58C-850DFD3DA1F3}" type="pres">
      <dgm:prSet presAssocID="{4B0A8387-A867-9A43-9452-4CA6518ECD39}" presName="parTxOnly" presStyleLbl="node1" presStyleIdx="2" presStyleCnt="5">
        <dgm:presLayoutVars>
          <dgm:bulletEnabled val="1"/>
        </dgm:presLayoutVars>
      </dgm:prSet>
      <dgm:spPr/>
      <dgm:t>
        <a:bodyPr/>
        <a:lstStyle/>
        <a:p>
          <a:endParaRPr lang="en-US"/>
        </a:p>
      </dgm:t>
    </dgm:pt>
    <dgm:pt modelId="{D23DA6EA-CD68-E640-8F9D-3D7CE7FC4854}" type="pres">
      <dgm:prSet presAssocID="{01FB1D01-1278-4A4D-AB04-F1D2D7CA201A}" presName="parSpace" presStyleCnt="0"/>
      <dgm:spPr/>
    </dgm:pt>
    <dgm:pt modelId="{91B23FE8-EE85-8B4F-9551-740F506DFF42}" type="pres">
      <dgm:prSet presAssocID="{B36AC597-280A-2E4E-B93E-0913DF2C9F03}" presName="parTxOnly" presStyleLbl="node1" presStyleIdx="3" presStyleCnt="5">
        <dgm:presLayoutVars>
          <dgm:bulletEnabled val="1"/>
        </dgm:presLayoutVars>
      </dgm:prSet>
      <dgm:spPr/>
      <dgm:t>
        <a:bodyPr/>
        <a:lstStyle/>
        <a:p>
          <a:endParaRPr lang="en-US"/>
        </a:p>
      </dgm:t>
    </dgm:pt>
    <dgm:pt modelId="{5081BE53-137D-DE48-BC44-EB15B6A88B62}" type="pres">
      <dgm:prSet presAssocID="{A9A0C832-05E8-2240-B744-0CAA92542211}" presName="parSpace" presStyleCnt="0"/>
      <dgm:spPr/>
    </dgm:pt>
    <dgm:pt modelId="{518464A8-7288-E34F-BE59-C1D1E20DE449}" type="pres">
      <dgm:prSet presAssocID="{5419A9EA-8411-8E40-B43C-5D383A1F6609}" presName="parTxOnly" presStyleLbl="node1" presStyleIdx="4" presStyleCnt="5">
        <dgm:presLayoutVars>
          <dgm:bulletEnabled val="1"/>
        </dgm:presLayoutVars>
      </dgm:prSet>
      <dgm:spPr/>
      <dgm:t>
        <a:bodyPr/>
        <a:lstStyle/>
        <a:p>
          <a:endParaRPr lang="en-US"/>
        </a:p>
      </dgm:t>
    </dgm:pt>
  </dgm:ptLst>
  <dgm:cxnLst>
    <dgm:cxn modelId="{A26C4217-61A5-5E45-8A90-AE3C63A5D7DB}" srcId="{7F312B9B-970C-1B4F-AD62-247F7CA3FB8A}" destId="{B36AC597-280A-2E4E-B93E-0913DF2C9F03}" srcOrd="3" destOrd="0" parTransId="{DF8E0EDE-F5C1-4743-82BE-632BF161FF01}" sibTransId="{A9A0C832-05E8-2240-B744-0CAA92542211}"/>
    <dgm:cxn modelId="{05AEBBF9-1DEE-4ADA-8B19-9F235A4421AA}" type="presOf" srcId="{5419A9EA-8411-8E40-B43C-5D383A1F6609}" destId="{518464A8-7288-E34F-BE59-C1D1E20DE449}" srcOrd="0" destOrd="0" presId="urn:microsoft.com/office/officeart/2005/8/layout/hChevron3"/>
    <dgm:cxn modelId="{CE66839C-A9FB-47AC-81D4-FDBD812D9663}" type="presOf" srcId="{4B0A8387-A867-9A43-9452-4CA6518ECD39}" destId="{66DE509E-DBB3-334C-B58C-850DFD3DA1F3}" srcOrd="0" destOrd="0" presId="urn:microsoft.com/office/officeart/2005/8/layout/hChevron3"/>
    <dgm:cxn modelId="{6D50519A-FDEC-4BC3-B346-7C2A6EFBC5DE}" type="presOf" srcId="{B36AC597-280A-2E4E-B93E-0913DF2C9F03}" destId="{91B23FE8-EE85-8B4F-9551-740F506DFF42}" srcOrd="0" destOrd="0" presId="urn:microsoft.com/office/officeart/2005/8/layout/hChevron3"/>
    <dgm:cxn modelId="{082070B2-8594-9D46-A0A4-1B42D8FA44D2}" srcId="{7F312B9B-970C-1B4F-AD62-247F7CA3FB8A}" destId="{8C80E92D-106F-EE43-8AF8-8F471C4A74F2}" srcOrd="0" destOrd="0" parTransId="{868FD13F-3677-C041-B308-8E30EAC47C12}" sibTransId="{006C9F1A-7E61-2148-A727-82DDB1A1B552}"/>
    <dgm:cxn modelId="{E48A117C-BDE6-F14F-B0F9-B78ECFDE7DFF}" srcId="{7F312B9B-970C-1B4F-AD62-247F7CA3FB8A}" destId="{5419A9EA-8411-8E40-B43C-5D383A1F6609}" srcOrd="4" destOrd="0" parTransId="{D6B25B81-18F6-1245-9884-24EFA0B47F21}" sibTransId="{3D683C42-FAA0-154A-9E55-8310342FBFCD}"/>
    <dgm:cxn modelId="{DA297C48-8B17-4D4A-A575-E7342AEAF0D5}" srcId="{7F312B9B-970C-1B4F-AD62-247F7CA3FB8A}" destId="{8870CB85-F67D-1A4E-8484-CA44B5B06317}" srcOrd="1" destOrd="0" parTransId="{1FAD3681-712E-B14E-92C4-DFFE4422AA13}" sibTransId="{F6351749-FEFA-6E44-A223-D6E3B43B73F9}"/>
    <dgm:cxn modelId="{6F7DC525-E927-48FB-BE51-2D060BDB20E8}" type="presOf" srcId="{7F312B9B-970C-1B4F-AD62-247F7CA3FB8A}" destId="{45CF8415-B3A1-434F-85DF-66A8BCA13C71}" srcOrd="0" destOrd="0" presId="urn:microsoft.com/office/officeart/2005/8/layout/hChevron3"/>
    <dgm:cxn modelId="{9C24C2E1-BFDA-C946-AA18-C192C88D8F49}" srcId="{7F312B9B-970C-1B4F-AD62-247F7CA3FB8A}" destId="{4B0A8387-A867-9A43-9452-4CA6518ECD39}" srcOrd="2" destOrd="0" parTransId="{F76019B6-B5E3-FB4D-B8AE-D5FF4E2AB431}" sibTransId="{01FB1D01-1278-4A4D-AB04-F1D2D7CA201A}"/>
    <dgm:cxn modelId="{A0E65FB0-8007-47B2-9385-7A9446632332}" type="presOf" srcId="{8870CB85-F67D-1A4E-8484-CA44B5B06317}" destId="{D90BAD91-4E6F-324F-B034-CD85100D4B2C}" srcOrd="0" destOrd="0" presId="urn:microsoft.com/office/officeart/2005/8/layout/hChevron3"/>
    <dgm:cxn modelId="{31ACEBD2-6CD5-437F-8520-322A53326A96}" type="presOf" srcId="{8C80E92D-106F-EE43-8AF8-8F471C4A74F2}" destId="{9D190768-3405-384A-B589-D251F5000883}" srcOrd="0" destOrd="0" presId="urn:microsoft.com/office/officeart/2005/8/layout/hChevron3"/>
    <dgm:cxn modelId="{B04368CA-7BD9-4BE9-9B88-C2C0B2E43CB7}" type="presParOf" srcId="{45CF8415-B3A1-434F-85DF-66A8BCA13C71}" destId="{9D190768-3405-384A-B589-D251F5000883}" srcOrd="0" destOrd="0" presId="urn:microsoft.com/office/officeart/2005/8/layout/hChevron3"/>
    <dgm:cxn modelId="{9BBCDFF1-A430-4428-A8EA-8EEC2FE1FD33}" type="presParOf" srcId="{45CF8415-B3A1-434F-85DF-66A8BCA13C71}" destId="{7A740B7C-9208-884A-8E00-2E8372432C12}" srcOrd="1" destOrd="0" presId="urn:microsoft.com/office/officeart/2005/8/layout/hChevron3"/>
    <dgm:cxn modelId="{481D0E91-DD49-43C0-B83F-F505B0601D1D}" type="presParOf" srcId="{45CF8415-B3A1-434F-85DF-66A8BCA13C71}" destId="{D90BAD91-4E6F-324F-B034-CD85100D4B2C}" srcOrd="2" destOrd="0" presId="urn:microsoft.com/office/officeart/2005/8/layout/hChevron3"/>
    <dgm:cxn modelId="{57414DB3-2E1A-4004-9BBE-2368CD136761}" type="presParOf" srcId="{45CF8415-B3A1-434F-85DF-66A8BCA13C71}" destId="{FC7DE68F-AF4C-F74D-B11B-03FA5A5DC809}" srcOrd="3" destOrd="0" presId="urn:microsoft.com/office/officeart/2005/8/layout/hChevron3"/>
    <dgm:cxn modelId="{2B57D8F4-BA7A-4871-9954-9B9201EF7A1A}" type="presParOf" srcId="{45CF8415-B3A1-434F-85DF-66A8BCA13C71}" destId="{66DE509E-DBB3-334C-B58C-850DFD3DA1F3}" srcOrd="4" destOrd="0" presId="urn:microsoft.com/office/officeart/2005/8/layout/hChevron3"/>
    <dgm:cxn modelId="{83DC0474-4F92-4130-9CB7-1C59DC09E289}" type="presParOf" srcId="{45CF8415-B3A1-434F-85DF-66A8BCA13C71}" destId="{D23DA6EA-CD68-E640-8F9D-3D7CE7FC4854}" srcOrd="5" destOrd="0" presId="urn:microsoft.com/office/officeart/2005/8/layout/hChevron3"/>
    <dgm:cxn modelId="{A0C3ADB3-B0A6-467F-85A5-47F88ED5C540}" type="presParOf" srcId="{45CF8415-B3A1-434F-85DF-66A8BCA13C71}" destId="{91B23FE8-EE85-8B4F-9551-740F506DFF42}" srcOrd="6" destOrd="0" presId="urn:microsoft.com/office/officeart/2005/8/layout/hChevron3"/>
    <dgm:cxn modelId="{D5118B2B-8B7C-4E2E-96C3-9C4A7D8BE6AE}" type="presParOf" srcId="{45CF8415-B3A1-434F-85DF-66A8BCA13C71}" destId="{5081BE53-137D-DE48-BC44-EB15B6A88B62}" srcOrd="7" destOrd="0" presId="urn:microsoft.com/office/officeart/2005/8/layout/hChevron3"/>
    <dgm:cxn modelId="{D7C2F402-D06A-4940-B84E-BDDF437395EF}" type="presParOf" srcId="{45CF8415-B3A1-434F-85DF-66A8BCA13C71}" destId="{518464A8-7288-E34F-BE59-C1D1E20DE449}" srcOrd="8" destOrd="0" presId="urn:microsoft.com/office/officeart/2005/8/layout/hChevron3"/>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190768-3405-384A-B589-D251F5000883}">
      <dsp:nvSpPr>
        <dsp:cNvPr id="0" name=""/>
        <dsp:cNvSpPr/>
      </dsp:nvSpPr>
      <dsp:spPr>
        <a:xfrm>
          <a:off x="564" y="0"/>
          <a:ext cx="1099983" cy="340626"/>
        </a:xfrm>
        <a:prstGeom prst="homePlat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26670" rIns="13335" bIns="26670" numCol="1" spcCol="1270" anchor="ctr" anchorCtr="0">
          <a:noAutofit/>
        </a:bodyPr>
        <a:lstStyle/>
        <a:p>
          <a:pPr lvl="0" algn="l" defTabSz="444500">
            <a:lnSpc>
              <a:spcPct val="90000"/>
            </a:lnSpc>
            <a:spcBef>
              <a:spcPct val="0"/>
            </a:spcBef>
            <a:spcAft>
              <a:spcPct val="35000"/>
            </a:spcAft>
          </a:pPr>
          <a:r>
            <a:rPr lang="en-US" sz="1000" b="1" kern="1200" dirty="0" smtClean="0"/>
            <a:t> Research</a:t>
          </a:r>
          <a:endParaRPr lang="en-US" sz="1000" b="1" kern="1200" dirty="0"/>
        </a:p>
      </dsp:txBody>
      <dsp:txXfrm>
        <a:off x="564" y="0"/>
        <a:ext cx="1014827" cy="340626"/>
      </dsp:txXfrm>
    </dsp:sp>
    <dsp:sp modelId="{D90BAD91-4E6F-324F-B034-CD85100D4B2C}">
      <dsp:nvSpPr>
        <dsp:cNvPr id="0" name=""/>
        <dsp:cNvSpPr/>
      </dsp:nvSpPr>
      <dsp:spPr>
        <a:xfrm>
          <a:off x="880550" y="0"/>
          <a:ext cx="1099983" cy="340626"/>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a:lnSpc>
              <a:spcPct val="90000"/>
            </a:lnSpc>
            <a:spcBef>
              <a:spcPct val="0"/>
            </a:spcBef>
            <a:spcAft>
              <a:spcPct val="35000"/>
            </a:spcAft>
          </a:pPr>
          <a:r>
            <a:rPr lang="en-US" sz="1000" b="1" kern="1200" dirty="0" smtClean="0"/>
            <a:t>Shop</a:t>
          </a:r>
          <a:endParaRPr lang="en-US" sz="1000" b="1" kern="1200" dirty="0"/>
        </a:p>
      </dsp:txBody>
      <dsp:txXfrm>
        <a:off x="1050863" y="0"/>
        <a:ext cx="759357" cy="340626"/>
      </dsp:txXfrm>
    </dsp:sp>
    <dsp:sp modelId="{66DE509E-DBB3-334C-B58C-850DFD3DA1F3}">
      <dsp:nvSpPr>
        <dsp:cNvPr id="0" name=""/>
        <dsp:cNvSpPr/>
      </dsp:nvSpPr>
      <dsp:spPr>
        <a:xfrm>
          <a:off x="1760537" y="0"/>
          <a:ext cx="1099983" cy="340626"/>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a:lnSpc>
              <a:spcPct val="90000"/>
            </a:lnSpc>
            <a:spcBef>
              <a:spcPct val="0"/>
            </a:spcBef>
            <a:spcAft>
              <a:spcPct val="35000"/>
            </a:spcAft>
          </a:pPr>
          <a:r>
            <a:rPr lang="en-US" sz="1000" b="1" kern="1200" dirty="0" smtClean="0"/>
            <a:t>Buy</a:t>
          </a:r>
        </a:p>
      </dsp:txBody>
      <dsp:txXfrm>
        <a:off x="1930850" y="0"/>
        <a:ext cx="759357" cy="340626"/>
      </dsp:txXfrm>
    </dsp:sp>
    <dsp:sp modelId="{91B23FE8-EE85-8B4F-9551-740F506DFF42}">
      <dsp:nvSpPr>
        <dsp:cNvPr id="0" name=""/>
        <dsp:cNvSpPr/>
      </dsp:nvSpPr>
      <dsp:spPr>
        <a:xfrm>
          <a:off x="2640523" y="0"/>
          <a:ext cx="1099983" cy="340626"/>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a:lnSpc>
              <a:spcPct val="90000"/>
            </a:lnSpc>
            <a:spcBef>
              <a:spcPct val="0"/>
            </a:spcBef>
            <a:spcAft>
              <a:spcPct val="35000"/>
            </a:spcAft>
          </a:pPr>
          <a:r>
            <a:rPr lang="en-US" sz="1000" b="1" kern="1200" dirty="0" smtClean="0"/>
            <a:t>Pickup</a:t>
          </a:r>
        </a:p>
      </dsp:txBody>
      <dsp:txXfrm>
        <a:off x="2810836" y="0"/>
        <a:ext cx="759357" cy="340626"/>
      </dsp:txXfrm>
    </dsp:sp>
    <dsp:sp modelId="{518464A8-7288-E34F-BE59-C1D1E20DE449}">
      <dsp:nvSpPr>
        <dsp:cNvPr id="0" name=""/>
        <dsp:cNvSpPr/>
      </dsp:nvSpPr>
      <dsp:spPr>
        <a:xfrm>
          <a:off x="3520510" y="0"/>
          <a:ext cx="1099983" cy="340626"/>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a:lnSpc>
              <a:spcPct val="90000"/>
            </a:lnSpc>
            <a:spcBef>
              <a:spcPct val="0"/>
            </a:spcBef>
            <a:spcAft>
              <a:spcPct val="35000"/>
            </a:spcAft>
          </a:pPr>
          <a:r>
            <a:rPr lang="en-US" sz="1000" b="1" kern="1200" dirty="0" smtClean="0"/>
            <a:t>Service</a:t>
          </a:r>
        </a:p>
      </dsp:txBody>
      <dsp:txXfrm>
        <a:off x="3690823" y="0"/>
        <a:ext cx="759357" cy="34062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E821AA6-70BE-4FDE-A8DC-DB381A688FD8}" type="datetimeFigureOut">
              <a:rPr lang="en-US"/>
              <a:pPr/>
              <a:t>11/10/2016</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7E47EA-D299-42CE-88BF-4E1035596DA5}" type="slidenum">
              <a:rPr/>
              <a:pPr/>
              <a:t>‹#›</a:t>
            </a:fld>
            <a:endParaRPr dirty="0"/>
          </a:p>
        </p:txBody>
      </p:sp>
    </p:spTree>
    <p:extLst>
      <p:ext uri="{BB962C8B-B14F-4D97-AF65-F5344CB8AC3E}">
        <p14:creationId xmlns:p14="http://schemas.microsoft.com/office/powerpoint/2010/main" val="19668118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2588" y="381000"/>
            <a:ext cx="4572000"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91440" rtlCol="0">
            <a:normAutofit/>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6" name="Footer Placeholder 5"/>
          <p:cNvSpPr>
            <a:spLocks noGrp="1"/>
          </p:cNvSpPr>
          <p:nvPr>
            <p:ph type="ftr" sz="quarter" idx="4"/>
          </p:nvPr>
        </p:nvSpPr>
        <p:spPr>
          <a:xfrm>
            <a:off x="381000" y="8610600"/>
            <a:ext cx="4648200" cy="227013"/>
          </a:xfrm>
          <a:prstGeom prst="rect">
            <a:avLst/>
          </a:prstGeom>
        </p:spPr>
        <p:txBody>
          <a:bodyPr vert="horz" lIns="91440" tIns="45720" rIns="91440" bIns="45720" rtlCol="0" anchor="b"/>
          <a:lstStyle>
            <a:lvl1pPr algn="l">
              <a:defRPr sz="1200"/>
            </a:lvl1pPr>
          </a:lstStyle>
          <a:p>
            <a:endParaRPr dirty="0"/>
          </a:p>
        </p:txBody>
      </p:sp>
      <p:sp>
        <p:nvSpPr>
          <p:cNvPr id="7" name="Slide Number Placeholder 6"/>
          <p:cNvSpPr>
            <a:spLocks noGrp="1"/>
          </p:cNvSpPr>
          <p:nvPr>
            <p:ph type="sldNum" sz="quarter" idx="5"/>
          </p:nvPr>
        </p:nvSpPr>
        <p:spPr>
          <a:xfrm>
            <a:off x="5715000" y="8610600"/>
            <a:ext cx="762000" cy="227013"/>
          </a:xfrm>
          <a:prstGeom prst="rect">
            <a:avLst/>
          </a:prstGeom>
        </p:spPr>
        <p:txBody>
          <a:bodyPr vert="horz" lIns="91440" tIns="45720" rIns="91440" bIns="45720" rtlCol="0" anchor="b"/>
          <a:lstStyle>
            <a:lvl1pPr algn="r">
              <a:defRPr sz="1200"/>
            </a:lvl1pPr>
          </a:lstStyle>
          <a:p>
            <a:fld id="{8C72D9AE-7182-4680-8F79-479C4181FF08}" type="slidenum">
              <a:rPr/>
              <a:pPr/>
              <a:t>‹#›</a:t>
            </a:fld>
            <a:endParaRPr dirty="0"/>
          </a:p>
        </p:txBody>
      </p:sp>
    </p:spTree>
    <p:extLst>
      <p:ext uri="{BB962C8B-B14F-4D97-AF65-F5344CB8AC3E}">
        <p14:creationId xmlns:p14="http://schemas.microsoft.com/office/powerpoint/2010/main" val="973114905"/>
      </p:ext>
    </p:extLst>
  </p:cSld>
  <p:clrMap bg1="lt1" tx1="dk1" bg2="lt2" tx2="dk2" accent1="accent1" accent2="accent2" accent3="accent3" accent4="accent4" accent5="accent5" accent6="accent6" hlink="hlink" folHlink="folHlink"/>
  <p:notesStyle>
    <a:lvl1pPr marL="0" algn="l" defTabSz="914285" rtl="0" eaLnBrk="1" latinLnBrk="0" hangingPunct="1">
      <a:spcBef>
        <a:spcPts val="600"/>
      </a:spcBef>
      <a:defRPr sz="1100" kern="1200">
        <a:solidFill>
          <a:schemeClr val="tx1"/>
        </a:solidFill>
        <a:latin typeface="+mn-lt"/>
        <a:ea typeface="+mn-ea"/>
        <a:cs typeface="+mn-cs"/>
      </a:defRPr>
    </a:lvl1pPr>
    <a:lvl2pPr marL="228572" indent="-114287" algn="l" defTabSz="914285" rtl="0" eaLnBrk="1" latinLnBrk="0" hangingPunct="1">
      <a:spcBef>
        <a:spcPts val="600"/>
      </a:spcBef>
      <a:buFont typeface="Arial" panose="020B0604020202020204" pitchFamily="34" charset="0"/>
      <a:buChar char="•"/>
      <a:defRPr sz="1100" kern="1200">
        <a:solidFill>
          <a:schemeClr val="tx1"/>
        </a:solidFill>
        <a:latin typeface="+mn-lt"/>
        <a:ea typeface="+mn-ea"/>
        <a:cs typeface="+mn-cs"/>
      </a:defRPr>
    </a:lvl2pPr>
    <a:lvl3pPr marL="400002" indent="-114287" algn="l" defTabSz="914285"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3pPr>
    <a:lvl4pPr marL="571428" indent="-114287" algn="l" defTabSz="914285"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42858" indent="-114287" algn="l" defTabSz="914285"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5713" algn="l" defTabSz="914285" rtl="0" eaLnBrk="1" latinLnBrk="0" hangingPunct="1">
      <a:defRPr sz="1200" kern="1200">
        <a:solidFill>
          <a:schemeClr val="tx1"/>
        </a:solidFill>
        <a:latin typeface="+mn-lt"/>
        <a:ea typeface="+mn-ea"/>
        <a:cs typeface="+mn-cs"/>
      </a:defRPr>
    </a:lvl6pPr>
    <a:lvl7pPr marL="2742857" algn="l" defTabSz="914285" rtl="0" eaLnBrk="1" latinLnBrk="0" hangingPunct="1">
      <a:defRPr sz="1200" kern="1200">
        <a:solidFill>
          <a:schemeClr val="tx1"/>
        </a:solidFill>
        <a:latin typeface="+mn-lt"/>
        <a:ea typeface="+mn-ea"/>
        <a:cs typeface="+mn-cs"/>
      </a:defRPr>
    </a:lvl7pPr>
    <a:lvl8pPr marL="3200000" algn="l" defTabSz="914285" rtl="0" eaLnBrk="1" latinLnBrk="0" hangingPunct="1">
      <a:defRPr sz="1200" kern="1200">
        <a:solidFill>
          <a:schemeClr val="tx1"/>
        </a:solidFill>
        <a:latin typeface="+mn-lt"/>
        <a:ea typeface="+mn-ea"/>
        <a:cs typeface="+mn-cs"/>
      </a:defRPr>
    </a:lvl8pPr>
    <a:lvl9pPr marL="3657144" algn="l" defTabSz="91428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29.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mailto:Revrec-americasiebc_us@oracle.com"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my.oracle.com/site/fin/gfo/GlobalProcesses/cnt452504.pdf"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32.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44.xml"/><Relationship Id="rId2" Type="http://schemas.openxmlformats.org/officeDocument/2006/relationships/notesMaster" Target="../notesMasters/notesMaster1.xml"/><Relationship Id="rId1" Type="http://schemas.openxmlformats.org/officeDocument/2006/relationships/tags" Target="../tags/tag33.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45.xml"/><Relationship Id="rId2" Type="http://schemas.openxmlformats.org/officeDocument/2006/relationships/notesMaster" Target="../notesMasters/notesMaster1.xml"/><Relationship Id="rId1" Type="http://schemas.openxmlformats.org/officeDocument/2006/relationships/tags" Target="../tags/tag34.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custDataLst>
              <p:tags r:id="rId1"/>
            </p:custDataLst>
          </p:nvPr>
        </p:nvSpPr>
        <p:spPr/>
        <p:txBody>
          <a:bodyPr/>
          <a:lstStyle/>
          <a:p>
            <a:r>
              <a:rPr lang="en-US" dirty="0" smtClean="0"/>
              <a:t>This is a </a:t>
            </a:r>
            <a:r>
              <a:rPr lang="en-US" b="1" dirty="0" smtClean="0"/>
              <a:t>Title Slide with Picture </a:t>
            </a:r>
            <a:r>
              <a:rPr lang="en-US" b="0" dirty="0" smtClean="0"/>
              <a:t>slide</a:t>
            </a:r>
            <a:r>
              <a:rPr lang="en-US" b="1" dirty="0" smtClean="0"/>
              <a:t> </a:t>
            </a:r>
            <a:r>
              <a:rPr lang="en-US" baseline="0" dirty="0" smtClean="0"/>
              <a:t>ideal for including a picture with a brief title, subtitle and presenter information.</a:t>
            </a:r>
          </a:p>
          <a:p>
            <a:endParaRPr lang="en-US" baseline="0" dirty="0" smtClean="0"/>
          </a:p>
          <a:p>
            <a:r>
              <a:rPr lang="en-US" baseline="0" dirty="0" smtClean="0"/>
              <a:t>To customize this slide with your own picture:</a:t>
            </a:r>
          </a:p>
          <a:p>
            <a:endParaRPr lang="en-US" baseline="0" dirty="0" smtClean="0"/>
          </a:p>
          <a:p>
            <a:pPr marL="0" indent="0">
              <a:buNone/>
            </a:pPr>
            <a:r>
              <a:rPr lang="en-US" b="1" baseline="0" dirty="0" smtClean="0"/>
              <a:t>Right-click</a:t>
            </a:r>
            <a:r>
              <a:rPr lang="en-US" baseline="0" dirty="0" smtClean="0"/>
              <a:t> the slide area and choose </a:t>
            </a:r>
            <a:r>
              <a:rPr lang="en-US" b="1" baseline="0" dirty="0" smtClean="0"/>
              <a:t>Format Background </a:t>
            </a:r>
            <a:r>
              <a:rPr lang="en-US" baseline="0" dirty="0" smtClean="0"/>
              <a:t>from the pop-up menu. From the </a:t>
            </a:r>
            <a:r>
              <a:rPr lang="en-US" b="1" baseline="0" dirty="0" smtClean="0"/>
              <a:t>Fill</a:t>
            </a:r>
            <a:r>
              <a:rPr lang="en-US" baseline="0" dirty="0" smtClean="0"/>
              <a:t> menu, click </a:t>
            </a:r>
            <a:r>
              <a:rPr lang="en-US" b="1" baseline="0" dirty="0" smtClean="0"/>
              <a:t>Picture</a:t>
            </a:r>
            <a:r>
              <a:rPr lang="en-US" baseline="0" dirty="0" smtClean="0"/>
              <a:t> </a:t>
            </a:r>
            <a:r>
              <a:rPr lang="en-US" b="1" baseline="0" dirty="0" smtClean="0"/>
              <a:t>and texture fill</a:t>
            </a:r>
            <a:r>
              <a:rPr lang="en-US" baseline="0" dirty="0" smtClean="0"/>
              <a:t>. Under </a:t>
            </a:r>
            <a:r>
              <a:rPr lang="en-US" b="1" baseline="0" dirty="0" smtClean="0"/>
              <a:t>Insert from: </a:t>
            </a:r>
            <a:r>
              <a:rPr lang="en-US" baseline="0" dirty="0" smtClean="0"/>
              <a:t>click </a:t>
            </a:r>
            <a:r>
              <a:rPr lang="en-US" b="1" baseline="0" dirty="0" smtClean="0"/>
              <a:t>File</a:t>
            </a:r>
            <a:r>
              <a:rPr lang="en-US" baseline="0" dirty="0" smtClean="0"/>
              <a:t>. Locate your new picture and click </a:t>
            </a:r>
            <a:r>
              <a:rPr lang="en-US" b="1" baseline="0" dirty="0" smtClean="0"/>
              <a:t>Insert</a:t>
            </a:r>
            <a:r>
              <a:rPr lang="en-US" baseline="0" dirty="0" smtClean="0"/>
              <a:t>.</a:t>
            </a:r>
          </a:p>
        </p:txBody>
      </p:sp>
      <p:sp>
        <p:nvSpPr>
          <p:cNvPr id="4" name="Slide Number Placeholder 3"/>
          <p:cNvSpPr>
            <a:spLocks noGrp="1"/>
          </p:cNvSpPr>
          <p:nvPr>
            <p:ph type="sldNum" sz="quarter" idx="10"/>
          </p:nvPr>
        </p:nvSpPr>
        <p:spPr/>
        <p:txBody>
          <a:bodyPr/>
          <a:lstStyle/>
          <a:p>
            <a:fld id="{8C72D9AE-7182-4680-8F79-479C4181FF08}" type="slidenum">
              <a:rPr lang="en-US" smtClean="0"/>
              <a:pPr/>
              <a:t>1</a:t>
            </a:fld>
            <a:endParaRPr lang="en-US" dirty="0"/>
          </a:p>
        </p:txBody>
      </p:sp>
    </p:spTree>
    <p:extLst>
      <p:ext uri="{BB962C8B-B14F-4D97-AF65-F5344CB8AC3E}">
        <p14:creationId xmlns:p14="http://schemas.microsoft.com/office/powerpoint/2010/main" val="2238467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50443" y="9428583"/>
            <a:ext cx="2945659" cy="496332"/>
          </a:xfrm>
          <a:prstGeom prst="rect">
            <a:avLst/>
          </a:prstGeom>
        </p:spPr>
        <p:txBody>
          <a:bodyPr/>
          <a:lstStyle/>
          <a:p>
            <a:pPr>
              <a:defRPr/>
            </a:pPr>
            <a:fld id="{2F18A986-9667-4FE1-B91B-1823C899C499}" type="slidenum">
              <a:rPr lang="en-US">
                <a:solidFill>
                  <a:prstClr val="black"/>
                </a:solidFill>
              </a:rPr>
              <a:pPr>
                <a:defRPr/>
              </a:pPr>
              <a:t>23</a:t>
            </a:fld>
            <a:endParaRPr lang="en-US" dirty="0">
              <a:solidFill>
                <a:prstClr val="black"/>
              </a:solidFill>
            </a:endParaRPr>
          </a:p>
        </p:txBody>
      </p:sp>
      <p:sp>
        <p:nvSpPr>
          <p:cNvPr id="218115" name="Rectangle 2"/>
          <p:cNvSpPr>
            <a:spLocks noGrp="1" noRot="1" noChangeAspect="1" noChangeArrowheads="1" noTextEdit="1"/>
          </p:cNvSpPr>
          <p:nvPr>
            <p:ph type="sldImg"/>
          </p:nvPr>
        </p:nvSpPr>
        <p:spPr bwMode="auto">
          <a:xfrm>
            <a:off x="396875" y="777875"/>
            <a:ext cx="6611938" cy="3721100"/>
          </a:xfrm>
          <a:noFill/>
          <a:ln>
            <a:solidFill>
              <a:srgbClr val="000000"/>
            </a:solidFill>
            <a:miter lim="800000"/>
            <a:headEnd/>
            <a:tailEnd/>
          </a:ln>
        </p:spPr>
      </p:sp>
      <p:sp>
        <p:nvSpPr>
          <p:cNvPr id="218116" name="Rectangle 3"/>
          <p:cNvSpPr>
            <a:spLocks noGrp="1" noChangeArrowheads="1"/>
          </p:cNvSpPr>
          <p:nvPr>
            <p:ph type="body" idx="1"/>
          </p:nvPr>
        </p:nvSpPr>
        <p:spPr bwMode="auto">
          <a:xfrm>
            <a:off x="679768" y="4715153"/>
            <a:ext cx="5438140" cy="4466987"/>
          </a:xfrm>
          <a:noFill/>
        </p:spPr>
        <p:txBody>
          <a:bodyPr wrap="square" numCol="1" anchor="t" anchorCtr="0" compatLnSpc="1">
            <a:prstTxWarp prst="textNoShape">
              <a:avLst/>
            </a:prstTxWarp>
          </a:bodyPr>
          <a:lstStyle/>
          <a:p>
            <a:endParaRPr lang="en-GB" dirty="0" smtClean="0"/>
          </a:p>
        </p:txBody>
      </p:sp>
    </p:spTree>
    <p:extLst>
      <p:ext uri="{BB962C8B-B14F-4D97-AF65-F5344CB8AC3E}">
        <p14:creationId xmlns:p14="http://schemas.microsoft.com/office/powerpoint/2010/main" val="2277458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8350"/>
            <a:ext cx="6607175" cy="3717925"/>
          </a:xfrm>
        </p:spPr>
      </p:sp>
      <p:sp>
        <p:nvSpPr>
          <p:cNvPr id="3" name="Notes Placeholder 2"/>
          <p:cNvSpPr>
            <a:spLocks noGrp="1"/>
          </p:cNvSpPr>
          <p:nvPr>
            <p:ph type="body" idx="1"/>
          </p:nvPr>
        </p:nvSpPr>
        <p:spPr/>
        <p:txBody>
          <a:bodyPr/>
          <a:lstStyle/>
          <a:p>
            <a:endParaRPr lang="hr-HR"/>
          </a:p>
        </p:txBody>
      </p:sp>
      <p:sp>
        <p:nvSpPr>
          <p:cNvPr id="4" name="Slide Number Placeholder 3"/>
          <p:cNvSpPr>
            <a:spLocks noGrp="1"/>
          </p:cNvSpPr>
          <p:nvPr>
            <p:ph type="sldNum" sz="quarter" idx="10"/>
          </p:nvPr>
        </p:nvSpPr>
        <p:spPr/>
        <p:txBody>
          <a:bodyPr/>
          <a:lstStyle/>
          <a:p>
            <a:pPr>
              <a:defRPr/>
            </a:pPr>
            <a:fld id="{DE07413D-B718-44E8-A57C-221D7320016E}" type="slidenum">
              <a:rPr lang="it-IT" smtClean="0"/>
              <a:pPr>
                <a:defRPr/>
              </a:pPr>
              <a:t>25</a:t>
            </a:fld>
            <a:endParaRPr lang="it-IT" dirty="0"/>
          </a:p>
        </p:txBody>
      </p:sp>
    </p:spTree>
    <p:extLst>
      <p:ext uri="{BB962C8B-B14F-4D97-AF65-F5344CB8AC3E}">
        <p14:creationId xmlns:p14="http://schemas.microsoft.com/office/powerpoint/2010/main" val="3873981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4BD34785-B9FA-4641-BBDD-2A05A398197C}" type="slidenum">
              <a:rPr lang="en-US" smtClean="0">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val="17014266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p:cNvSpPr>
            <a:spLocks noGrp="1" noChangeArrowheads="1"/>
          </p:cNvSpPr>
          <p:nvPr>
            <p:ph type="sldNum" sz="quarter" idx="5"/>
          </p:nvPr>
        </p:nvSpPr>
        <p:spPr>
          <a:noFill/>
        </p:spPr>
        <p:txBody>
          <a:bodyPr/>
          <a:lstStyle/>
          <a:p>
            <a:fld id="{D9551BB2-3B59-4B9B-8576-30306A7BC929}" type="slidenum">
              <a:rPr lang="en-US"/>
              <a:pPr/>
              <a:t>28</a:t>
            </a:fld>
            <a:endParaRPr lang="en-US"/>
          </a:p>
        </p:txBody>
      </p:sp>
      <p:sp>
        <p:nvSpPr>
          <p:cNvPr id="137219" name="Rectangle 2"/>
          <p:cNvSpPr>
            <a:spLocks noGrp="1" noRot="1" noChangeAspect="1" noChangeArrowheads="1" noTextEdit="1"/>
          </p:cNvSpPr>
          <p:nvPr>
            <p:ph type="sldImg"/>
          </p:nvPr>
        </p:nvSpPr>
        <p:spPr>
          <a:xfrm>
            <a:off x="382588" y="381000"/>
            <a:ext cx="4572000" cy="2573338"/>
          </a:xfrm>
          <a:ln/>
        </p:spPr>
      </p:sp>
      <p:sp>
        <p:nvSpPr>
          <p:cNvPr id="137220" name="Rectangle 3"/>
          <p:cNvSpPr>
            <a:spLocks noGrp="1" noChangeArrowheads="1"/>
          </p:cNvSpPr>
          <p:nvPr>
            <p:ph type="body" idx="1"/>
          </p:nvPr>
        </p:nvSpPr>
        <p:spPr>
          <a:noFill/>
          <a:ln/>
        </p:spPr>
        <p:txBody>
          <a:bodyPr/>
          <a:lstStyle/>
          <a:p>
            <a:endParaRPr lang="en-US" smtClean="0"/>
          </a:p>
        </p:txBody>
      </p:sp>
      <p:sp>
        <p:nvSpPr>
          <p:cNvPr id="5" name="Footer Placeholder 4"/>
          <p:cNvSpPr>
            <a:spLocks noGrp="1"/>
          </p:cNvSpPr>
          <p:nvPr>
            <p:ph type="ftr" sz="quarter" idx="10"/>
          </p:nvPr>
        </p:nvSpPr>
        <p:spPr/>
        <p:txBody>
          <a:bodyPr/>
          <a:lstStyle/>
          <a:p>
            <a:pPr>
              <a:defRPr/>
            </a:pPr>
            <a:endParaRPr lang="en-US"/>
          </a:p>
        </p:txBody>
      </p:sp>
    </p:spTree>
    <p:extLst>
      <p:ext uri="{BB962C8B-B14F-4D97-AF65-F5344CB8AC3E}">
        <p14:creationId xmlns:p14="http://schemas.microsoft.com/office/powerpoint/2010/main" val="37377865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7586" name="Rectangle 8"/>
          <p:cNvSpPr>
            <a:spLocks noGrp="1" noChangeArrowheads="1"/>
          </p:cNvSpPr>
          <p:nvPr>
            <p:ph type="sldNum" sz="quarter" idx="5"/>
          </p:nvPr>
        </p:nvSpPr>
        <p:spPr/>
        <p:txBody>
          <a:bodyPr/>
          <a:lstStyle/>
          <a:p>
            <a:fld id="{DDBF81BF-F28F-47BF-8208-C853BFDAAD45}" type="slidenum">
              <a:rPr lang="en-US" smtClean="0"/>
              <a:pPr/>
              <a:t>29</a:t>
            </a:fld>
            <a:endParaRPr lang="en-US" dirty="0" smtClean="0"/>
          </a:p>
        </p:txBody>
      </p:sp>
      <p:sp>
        <p:nvSpPr>
          <p:cNvPr id="67588" name="Rectangle 2"/>
          <p:cNvSpPr>
            <a:spLocks noGrp="1" noChangeArrowheads="1"/>
          </p:cNvSpPr>
          <p:nvPr>
            <p:ph type="body" idx="1"/>
            <p:custDataLst>
              <p:tags r:id="rId1"/>
            </p:custDataLst>
          </p:nvPr>
        </p:nvSpPr>
        <p:spPr/>
        <p:txBody>
          <a:bodyPr>
            <a:normAutofit/>
          </a:bodyPr>
          <a:lstStyle/>
          <a:p>
            <a:endParaRPr lang="en-US" dirty="0" smtClean="0"/>
          </a:p>
        </p:txBody>
      </p:sp>
      <p:sp>
        <p:nvSpPr>
          <p:cNvPr id="10" name="Slide Image Placeholder 9"/>
          <p:cNvSpPr>
            <a:spLocks noGrp="1" noRot="1" noChangeAspect="1"/>
          </p:cNvSpPr>
          <p:nvPr>
            <p:ph type="sldImg"/>
          </p:nvPr>
        </p:nvSpPr>
        <p:spPr>
          <a:xfrm>
            <a:off x="382588" y="381000"/>
            <a:ext cx="4572000" cy="2573338"/>
          </a:xfrm>
        </p:spPr>
      </p:sp>
    </p:spTree>
    <p:extLst>
      <p:ext uri="{BB962C8B-B14F-4D97-AF65-F5344CB8AC3E}">
        <p14:creationId xmlns:p14="http://schemas.microsoft.com/office/powerpoint/2010/main" val="2522446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dirty="0" smtClean="0"/>
              <a:t>This is a </a:t>
            </a:r>
            <a:r>
              <a:rPr lang="en-US" b="1" dirty="0" smtClean="0"/>
              <a:t>Quote with Picture </a:t>
            </a:r>
            <a:r>
              <a:rPr lang="en-US" b="0" dirty="0" smtClean="0"/>
              <a:t>slide</a:t>
            </a:r>
            <a:r>
              <a:rPr lang="en-US" b="1" dirty="0" smtClean="0"/>
              <a:t> </a:t>
            </a:r>
            <a:r>
              <a:rPr lang="en-US" baseline="0" dirty="0" smtClean="0"/>
              <a:t>ideal for including a picture with a brief quotation and attribution.</a:t>
            </a:r>
          </a:p>
          <a:p>
            <a:endParaRPr lang="en-US" dirty="0" smtClean="0"/>
          </a:p>
          <a:p>
            <a:r>
              <a:rPr lang="en-US" dirty="0" smtClean="0"/>
              <a:t>To </a:t>
            </a:r>
            <a:r>
              <a:rPr lang="en-US" b="1" dirty="0" smtClean="0"/>
              <a:t>Replace the Picture</a:t>
            </a:r>
            <a:r>
              <a:rPr lang="en-US" b="1" baseline="0" dirty="0" smtClean="0"/>
              <a:t> </a:t>
            </a:r>
            <a:r>
              <a:rPr lang="en-US" dirty="0" smtClean="0"/>
              <a:t>on this sample slide (this applies to all slides in this template that contain replaceable</a:t>
            </a:r>
            <a:r>
              <a:rPr lang="en-US" baseline="0" dirty="0" smtClean="0"/>
              <a:t> </a:t>
            </a:r>
            <a:r>
              <a:rPr lang="en-US" dirty="0" smtClean="0"/>
              <a:t>pictures)</a:t>
            </a:r>
          </a:p>
          <a:p>
            <a:endParaRPr lang="en-US" dirty="0" smtClean="0"/>
          </a:p>
          <a:p>
            <a:r>
              <a:rPr lang="en-US" dirty="0" smtClean="0"/>
              <a:t>Select the sample picture and press Delete. Click the icon inside the shape to open the Insert Picture dialog box. Navigate to the location where the picture is stored, select desired picture and click on the Insert button to fit the image proportionally within the shape. </a:t>
            </a:r>
          </a:p>
          <a:p>
            <a:endParaRPr lang="en-US" dirty="0" smtClean="0"/>
          </a:p>
          <a:p>
            <a:r>
              <a:rPr lang="en-US" b="1" dirty="0" smtClean="0"/>
              <a:t>Note:</a:t>
            </a:r>
            <a:r>
              <a:rPr lang="en-US" dirty="0" smtClean="0"/>
              <a:t> Do not right-click the image to change the picture inside the picture placeholder. This will change the frame size of the picture placeholder. Instead, follow the steps outlined abov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solidFill>
                  <a:srgbClr val="5F5F5F"/>
                </a:solidFill>
              </a:rPr>
              <a:pPr/>
              <a:t>30</a:t>
            </a:fld>
            <a:endParaRPr lang="en-US" dirty="0">
              <a:solidFill>
                <a:srgbClr val="5F5F5F"/>
              </a:solidFill>
            </a:endParaRPr>
          </a:p>
        </p:txBody>
      </p:sp>
    </p:spTree>
    <p:extLst>
      <p:ext uri="{BB962C8B-B14F-4D97-AF65-F5344CB8AC3E}">
        <p14:creationId xmlns:p14="http://schemas.microsoft.com/office/powerpoint/2010/main" val="815882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r>
              <a:rPr lang="en-US" dirty="0" smtClean="0"/>
              <a:t>This is a </a:t>
            </a:r>
            <a:r>
              <a:rPr lang="en-US" b="0" dirty="0" smtClean="0"/>
              <a:t>sample</a:t>
            </a:r>
            <a:r>
              <a:rPr lang="en-US" b="1" dirty="0" smtClean="0"/>
              <a:t> Picture with Caption Layout </a:t>
            </a:r>
            <a:r>
              <a:rPr lang="en-US" dirty="0" smtClean="0"/>
              <a:t>slide ideal for including a picture with a brief descriptive statement.</a:t>
            </a:r>
          </a:p>
          <a:p>
            <a:endParaRPr lang="en-US" dirty="0" smtClean="0"/>
          </a:p>
          <a:p>
            <a:r>
              <a:rPr lang="en-US" dirty="0" smtClean="0"/>
              <a:t>To </a:t>
            </a:r>
            <a:r>
              <a:rPr lang="en-US" b="1" dirty="0" smtClean="0"/>
              <a:t>Replace the Picture </a:t>
            </a:r>
            <a:r>
              <a:rPr lang="en-US" dirty="0" smtClean="0"/>
              <a:t>on this Sample Slide (this applies to all slides in this template that contain replaceable</a:t>
            </a:r>
            <a:r>
              <a:rPr lang="en-US" baseline="0" dirty="0" smtClean="0"/>
              <a:t> </a:t>
            </a:r>
            <a:r>
              <a:rPr lang="en-US" dirty="0" smtClean="0"/>
              <a:t>pictures)</a:t>
            </a:r>
          </a:p>
          <a:p>
            <a:endParaRPr lang="en-US" dirty="0" smtClean="0"/>
          </a:p>
          <a:p>
            <a:r>
              <a:rPr lang="en-US" dirty="0" smtClean="0"/>
              <a:t>Select the sample picture and press Delete. Click the icon inside the shape to open the Insert Picture dialog box. Navigate to the location where the picture is stored, select desired picture and click on the Insert button to fit the image proportionally within the shape. </a:t>
            </a:r>
          </a:p>
          <a:p>
            <a:endParaRPr lang="en-US" dirty="0" smtClean="0"/>
          </a:p>
          <a:p>
            <a:r>
              <a:rPr lang="en-US" b="1" dirty="0" smtClean="0"/>
              <a:t>Note:</a:t>
            </a:r>
            <a:r>
              <a:rPr lang="en-US" dirty="0" smtClean="0"/>
              <a:t> Do not right-click the image to change the picture inside the picture placeholder. This will change the frame size of the picture placeholder. Instead, follow the steps outlined abov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solidFill>
                  <a:srgbClr val="5F5F5F"/>
                </a:solidFill>
              </a:rPr>
              <a:pPr/>
              <a:t>31</a:t>
            </a:fld>
            <a:endParaRPr lang="en-US" dirty="0">
              <a:solidFill>
                <a:srgbClr val="5F5F5F"/>
              </a:solidFill>
            </a:endParaRPr>
          </a:p>
        </p:txBody>
      </p:sp>
    </p:spTree>
    <p:extLst>
      <p:ext uri="{BB962C8B-B14F-4D97-AF65-F5344CB8AC3E}">
        <p14:creationId xmlns:p14="http://schemas.microsoft.com/office/powerpoint/2010/main" val="1191602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r>
              <a:rPr lang="en-US" dirty="0" smtClean="0"/>
              <a:t>This is a </a:t>
            </a:r>
            <a:r>
              <a:rPr lang="en-US" b="0" dirty="0" smtClean="0"/>
              <a:t>sample</a:t>
            </a:r>
            <a:r>
              <a:rPr lang="en-US" b="1" dirty="0" smtClean="0"/>
              <a:t> Three Pictures with Captions Layout </a:t>
            </a:r>
            <a:r>
              <a:rPr lang="en-US" dirty="0" smtClean="0"/>
              <a:t>slide ideal for including three pictures with brief descriptive statements.</a:t>
            </a:r>
          </a:p>
          <a:p>
            <a:endParaRPr lang="en-US" dirty="0" smtClean="0"/>
          </a:p>
          <a:p>
            <a:r>
              <a:rPr lang="en-US" dirty="0" smtClean="0"/>
              <a:t>To </a:t>
            </a:r>
            <a:r>
              <a:rPr lang="en-US" b="1" dirty="0" smtClean="0"/>
              <a:t>Replace the Pictures </a:t>
            </a:r>
            <a:r>
              <a:rPr lang="en-US" dirty="0" smtClean="0"/>
              <a:t>on this Sample Slide (this applies to all slides in this template that contain replaceable</a:t>
            </a:r>
            <a:r>
              <a:rPr lang="en-US" baseline="0" dirty="0" smtClean="0"/>
              <a:t> </a:t>
            </a:r>
            <a:r>
              <a:rPr lang="en-US" dirty="0" smtClean="0"/>
              <a:t>pictures)</a:t>
            </a:r>
          </a:p>
          <a:p>
            <a:endParaRPr lang="en-US" dirty="0" smtClean="0"/>
          </a:p>
          <a:p>
            <a:r>
              <a:rPr lang="en-US" dirty="0" smtClean="0"/>
              <a:t>Select the sample picture and press Delete. Click the icon inside the shape to open the Insert Picture dialog box. Navigate to the location where the picture is stored, select desired picture and click on the Insert button to fit the image proportionally within the shape. </a:t>
            </a:r>
          </a:p>
          <a:p>
            <a:endParaRPr lang="en-US" dirty="0" smtClean="0"/>
          </a:p>
          <a:p>
            <a:r>
              <a:rPr lang="en-US" b="1" dirty="0" smtClean="0"/>
              <a:t>Note:</a:t>
            </a:r>
            <a:r>
              <a:rPr lang="en-US" dirty="0" smtClean="0"/>
              <a:t> Do not right-click the image to change the picture inside the picture placeholder. This will change the frame size of the picture placeholder. Instead, follow the steps outlined abov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solidFill>
                  <a:srgbClr val="5F5F5F"/>
                </a:solidFill>
              </a:rPr>
              <a:pPr/>
              <a:t>32</a:t>
            </a:fld>
            <a:endParaRPr lang="en-US" dirty="0">
              <a:solidFill>
                <a:srgbClr val="5F5F5F"/>
              </a:solidFill>
            </a:endParaRPr>
          </a:p>
        </p:txBody>
      </p:sp>
    </p:spTree>
    <p:extLst>
      <p:ext uri="{BB962C8B-B14F-4D97-AF65-F5344CB8AC3E}">
        <p14:creationId xmlns:p14="http://schemas.microsoft.com/office/powerpoint/2010/main" val="15096739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60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8C72D9AE-7182-4680-8F79-479C4181FF08}" type="slidenum">
              <a:rPr lang="en-US" smtClean="0">
                <a:solidFill>
                  <a:srgbClr val="5F5F5F"/>
                </a:solidFill>
              </a:rPr>
              <a:pPr/>
              <a:t>33</a:t>
            </a:fld>
            <a:endParaRPr lang="en-US" dirty="0">
              <a:solidFill>
                <a:srgbClr val="5F5F5F"/>
              </a:solidFill>
            </a:endParaRPr>
          </a:p>
        </p:txBody>
      </p:sp>
    </p:spTree>
    <p:extLst>
      <p:ext uri="{BB962C8B-B14F-4D97-AF65-F5344CB8AC3E}">
        <p14:creationId xmlns:p14="http://schemas.microsoft.com/office/powerpoint/2010/main" val="27362670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3588" cy="2573338"/>
          </a:xfrm>
        </p:spPr>
      </p:sp>
      <p:sp>
        <p:nvSpPr>
          <p:cNvPr id="3" name="Notes Placeholder 2"/>
          <p:cNvSpPr>
            <a:spLocks noGrp="1"/>
          </p:cNvSpPr>
          <p:nvPr>
            <p:ph type="body" idx="1"/>
          </p:nvPr>
        </p:nvSpPr>
        <p:spPr/>
        <p:txBody>
          <a:bodyPr>
            <a:normAutofit fontScale="70000" lnSpcReduction="20000"/>
          </a:bodyPr>
          <a:lstStyle/>
          <a:p>
            <a:r>
              <a:rPr lang="en-GB" dirty="0" smtClean="0"/>
              <a:t>Oracle Big Data Discovery is one component in</a:t>
            </a:r>
            <a:r>
              <a:rPr lang="en-GB" baseline="0" dirty="0" smtClean="0"/>
              <a:t> Oracle’s overall big data management and analytics strategy. Many of our customers that want to build an entire big data architecture based on a set of unified and integrated big data technologies from a single vendor.</a:t>
            </a:r>
          </a:p>
          <a:p>
            <a:endParaRPr lang="en-GB" baseline="0" dirty="0" smtClean="0"/>
          </a:p>
          <a:p>
            <a:r>
              <a:rPr lang="en-GB" baseline="0" dirty="0" smtClean="0"/>
              <a:t>[build]</a:t>
            </a:r>
          </a:p>
          <a:p>
            <a:endParaRPr lang="en-GB" baseline="0" dirty="0" smtClean="0"/>
          </a:p>
          <a:p>
            <a:r>
              <a:rPr lang="en-GB" baseline="0" dirty="0" smtClean="0"/>
              <a:t>Customers can leverage Oracle Big Data Discovery and Oracle R for </a:t>
            </a:r>
            <a:r>
              <a:rPr lang="en-GB" baseline="0" dirty="0" err="1" smtClean="0"/>
              <a:t>Hadoop</a:t>
            </a:r>
            <a:r>
              <a:rPr lang="en-GB" baseline="0" dirty="0" smtClean="0"/>
              <a:t> together to experiment, prototype and collaborate on new data sets in the big data lab. </a:t>
            </a:r>
          </a:p>
          <a:p>
            <a:endParaRPr lang="en-GB" baseline="0" dirty="0" smtClean="0"/>
          </a:p>
          <a:p>
            <a:r>
              <a:rPr lang="en-GB" baseline="0" dirty="0" smtClean="0"/>
              <a:t>[build]</a:t>
            </a:r>
          </a:p>
          <a:p>
            <a:endParaRPr lang="en-GB" baseline="0" dirty="0" smtClean="0"/>
          </a:p>
          <a:p>
            <a:r>
              <a:rPr lang="en-GB" baseline="0" dirty="0" smtClean="0"/>
              <a:t>As new discoveries are uncovered and published in </a:t>
            </a:r>
            <a:r>
              <a:rPr lang="en-GB" baseline="0" dirty="0" err="1" smtClean="0"/>
              <a:t>Hadoop</a:t>
            </a:r>
            <a:r>
              <a:rPr lang="en-GB" baseline="0" dirty="0" smtClean="0"/>
              <a:t>, they can then be secured and governed through the data warehouse for access by thousands of users across the enterprise. </a:t>
            </a:r>
          </a:p>
          <a:p>
            <a:endParaRPr lang="en-GB" baseline="0" dirty="0" smtClean="0"/>
          </a:p>
          <a:p>
            <a:r>
              <a:rPr lang="en-GB" baseline="0" dirty="0" smtClean="0"/>
              <a:t>[build]</a:t>
            </a:r>
          </a:p>
          <a:p>
            <a:endParaRPr lang="en-GB" baseline="0" dirty="0" smtClean="0"/>
          </a:p>
          <a:p>
            <a:r>
              <a:rPr lang="en-GB" baseline="0" dirty="0" smtClean="0"/>
              <a:t>Customers can choose to quickly copy data between </a:t>
            </a:r>
            <a:r>
              <a:rPr lang="en-GB" baseline="0" dirty="0" err="1" smtClean="0"/>
              <a:t>hadoop</a:t>
            </a:r>
            <a:r>
              <a:rPr lang="en-GB" baseline="0" dirty="0" smtClean="0"/>
              <a:t> and the data warehouse at high speed </a:t>
            </a:r>
          </a:p>
          <a:p>
            <a:endParaRPr lang="en-GB" baseline="0" dirty="0" smtClean="0"/>
          </a:p>
          <a:p>
            <a:r>
              <a:rPr lang="en-GB" baseline="0" dirty="0" smtClean="0"/>
              <a:t>[build]</a:t>
            </a:r>
          </a:p>
          <a:p>
            <a:endParaRPr lang="en-GB" baseline="0" dirty="0" smtClean="0"/>
          </a:p>
          <a:p>
            <a:r>
              <a:rPr lang="en-GB" baseline="0" dirty="0" smtClean="0"/>
              <a:t>or leverage a product like Oracle Big Data SQL to query the data in HDFS without moving it at all. </a:t>
            </a:r>
          </a:p>
          <a:p>
            <a:endParaRPr lang="en-GB" baseline="0" dirty="0" smtClean="0"/>
          </a:p>
          <a:p>
            <a:r>
              <a:rPr lang="en-GB" baseline="0" dirty="0" smtClean="0"/>
              <a:t>Big data SQL allows any application built on Oracle SQL to seamlessly leverage data in </a:t>
            </a:r>
            <a:r>
              <a:rPr lang="en-GB" baseline="0" dirty="0" err="1" smtClean="0"/>
              <a:t>Hadoop</a:t>
            </a:r>
            <a:r>
              <a:rPr lang="en-GB" baseline="0" dirty="0" smtClean="0"/>
              <a:t> with no changes</a:t>
            </a:r>
          </a:p>
          <a:p>
            <a:endParaRPr lang="en-GB" baseline="0" dirty="0" smtClean="0"/>
          </a:p>
          <a:p>
            <a:r>
              <a:rPr lang="en-GB" baseline="0" dirty="0" smtClean="0"/>
              <a:t>[build]</a:t>
            </a:r>
          </a:p>
          <a:p>
            <a:endParaRPr lang="en-GB" baseline="0" dirty="0" smtClean="0"/>
          </a:p>
          <a:p>
            <a:r>
              <a:rPr lang="en-GB" baseline="0" dirty="0" smtClean="0"/>
              <a:t>so tools like Oracle BI Foundation Suite can benefit from all the hard work performed in the big data lab.</a:t>
            </a:r>
          </a:p>
          <a:p>
            <a:endParaRPr lang="en-GB" baseline="0" dirty="0" smtClean="0"/>
          </a:p>
          <a:p>
            <a:r>
              <a:rPr lang="en-GB" baseline="0" dirty="0" smtClean="0"/>
              <a:t>[build]</a:t>
            </a:r>
          </a:p>
          <a:p>
            <a:endParaRPr lang="en-GB" baseline="0" dirty="0" smtClean="0"/>
          </a:p>
          <a:p>
            <a:r>
              <a:rPr lang="en-GB" baseline="0" dirty="0" smtClean="0"/>
              <a:t>Finally, all of these architecture components can be purchased as engineered systems allowing customers quickly deploy applications and gain all the performance benefits and lower total cost of ownership from hardware and software designed to work together.</a:t>
            </a:r>
            <a:endParaRPr lang="en-GB" dirty="0"/>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latin typeface="Calibri"/>
              </a:rPr>
              <a:pPr/>
              <a:t>34</a:t>
            </a:fld>
            <a:endParaRPr lang="en-US">
              <a:solidFill>
                <a:prstClr val="black"/>
              </a:solidFill>
              <a:latin typeface="Calibri"/>
            </a:endParaRPr>
          </a:p>
        </p:txBody>
      </p:sp>
    </p:spTree>
    <p:extLst>
      <p:ext uri="{BB962C8B-B14F-4D97-AF65-F5344CB8AC3E}">
        <p14:creationId xmlns:p14="http://schemas.microsoft.com/office/powerpoint/2010/main" val="3593078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r>
              <a:rPr lang="en-US" dirty="0" smtClean="0"/>
              <a:t>This</a:t>
            </a:r>
            <a:r>
              <a:rPr lang="en-US" baseline="0" dirty="0" smtClean="0"/>
              <a:t> is a </a:t>
            </a:r>
            <a:r>
              <a:rPr lang="en-US" b="1" baseline="0" dirty="0" smtClean="0"/>
              <a:t>Safe Harbor Front </a:t>
            </a:r>
            <a:r>
              <a:rPr lang="en-US" baseline="0" dirty="0" smtClean="0"/>
              <a:t>slide, one of two Safe Harbor Statement slides included in this template. </a:t>
            </a:r>
          </a:p>
          <a:p>
            <a:endParaRPr lang="en-US" baseline="0" dirty="0" smtClean="0"/>
          </a:p>
          <a:p>
            <a:r>
              <a:rPr lang="en-US" dirty="0" smtClean="0"/>
              <a:t>One of the Safe Harbor slides must be used if your presentation covers material affected by Oracle’s Revenue Recognition Policy </a:t>
            </a:r>
          </a:p>
          <a:p>
            <a:endParaRPr lang="en-US" dirty="0" smtClean="0"/>
          </a:p>
          <a:p>
            <a:r>
              <a:rPr lang="en-US" dirty="0" smtClean="0"/>
              <a:t>To learn more about this policy, e-mail: </a:t>
            </a:r>
            <a:r>
              <a:rPr lang="en-US" dirty="0" smtClean="0">
                <a:hlinkClick r:id="rId3"/>
              </a:rPr>
              <a:t>Revrec-americasiebc_us@oracle.com </a:t>
            </a:r>
            <a:endParaRPr lang="en-US" dirty="0" smtClean="0"/>
          </a:p>
          <a:p>
            <a:endParaRPr lang="en-US" dirty="0" smtClean="0"/>
          </a:p>
          <a:p>
            <a:r>
              <a:rPr lang="en-US" sz="1100" kern="1200" dirty="0" smtClean="0">
                <a:solidFill>
                  <a:schemeClr val="tx1"/>
                </a:solidFill>
                <a:latin typeface="+mn-lt"/>
                <a:ea typeface="+mn-ea"/>
                <a:cs typeface="+mn-cs"/>
              </a:rPr>
              <a:t>For internal communication, Safe Harbor Statements are not required. However, there is an applicable disclaimer (Exhibit E) that should be used, found in the Oracle Revenue Recognition Policy for Future Product Communications. Copy and paste this link into a web browser, to find out more information.  </a:t>
            </a:r>
          </a:p>
          <a:p>
            <a:endParaRPr lang="en-US" sz="1100" kern="1200" dirty="0" smtClean="0">
              <a:solidFill>
                <a:schemeClr val="tx1"/>
              </a:solidFill>
              <a:latin typeface="+mn-lt"/>
              <a:ea typeface="+mn-ea"/>
              <a:cs typeface="+mn-cs"/>
            </a:endParaRPr>
          </a:p>
          <a:p>
            <a:r>
              <a:rPr lang="en-US" sz="1100" u="sng" kern="1200" dirty="0" smtClean="0">
                <a:solidFill>
                  <a:schemeClr val="tx1"/>
                </a:solidFill>
                <a:latin typeface="+mn-lt"/>
                <a:ea typeface="+mn-ea"/>
                <a:cs typeface="+mn-cs"/>
                <a:hlinkClick r:id="rId4"/>
              </a:rPr>
              <a:t>http://my.oracle.com/site/fin/gfo/GlobalProcesses/cnt452504.pdf</a:t>
            </a:r>
            <a:endParaRPr lang="en-US" sz="1100" u="sng" kern="1200" dirty="0" smtClean="0">
              <a:solidFill>
                <a:schemeClr val="tx1"/>
              </a:solidFill>
              <a:latin typeface="+mn-lt"/>
              <a:ea typeface="+mn-ea"/>
              <a:cs typeface="+mn-cs"/>
            </a:endParaRPr>
          </a:p>
          <a:p>
            <a:endParaRPr lang="en-US" sz="1100" u="sng"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600"/>
              </a:spcBef>
              <a:spcAft>
                <a:spcPts val="0"/>
              </a:spcAft>
              <a:buClrTx/>
              <a:buSzTx/>
              <a:buFontTx/>
              <a:buNone/>
              <a:tabLst/>
              <a:defRPr/>
            </a:pPr>
            <a:r>
              <a:rPr lang="en-US" sz="1100" kern="1200" dirty="0" smtClean="0">
                <a:solidFill>
                  <a:schemeClr val="tx1"/>
                </a:solidFill>
                <a:latin typeface="+mn-lt"/>
                <a:ea typeface="+mn-ea"/>
                <a:cs typeface="+mn-cs"/>
              </a:rPr>
              <a:t>For all external communications such as press release, roadmaps, PowerPoint presentations, Safe Harbor Statements are required. You can refer to the link mentioned above to find out additional information/disclaimers required depending on your audience.</a:t>
            </a:r>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pPr/>
              <a:t>2</a:t>
            </a:fld>
            <a:endParaRPr lang="en-US" dirty="0"/>
          </a:p>
        </p:txBody>
      </p:sp>
    </p:spTree>
    <p:extLst>
      <p:ext uri="{BB962C8B-B14F-4D97-AF65-F5344CB8AC3E}">
        <p14:creationId xmlns:p14="http://schemas.microsoft.com/office/powerpoint/2010/main" val="11312676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3587" cy="2573338"/>
          </a:xfrm>
        </p:spPr>
      </p:sp>
      <p:sp>
        <p:nvSpPr>
          <p:cNvPr id="3" name="Notes Placeholder 2"/>
          <p:cNvSpPr>
            <a:spLocks noGrp="1"/>
          </p:cNvSpPr>
          <p:nvPr>
            <p:ph type="body" idx="1"/>
          </p:nvPr>
        </p:nvSpPr>
        <p:spPr/>
        <p:txBody>
          <a:bodyPr/>
          <a:lstStyle/>
          <a:p>
            <a:pPr defTabSz="955585">
              <a:spcBef>
                <a:spcPts val="626"/>
              </a:spcBef>
              <a:defRPr/>
            </a:pPr>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40214802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eaLnBrk="0" hangingPunct="0">
              <a:defRPr sz="2000" b="1">
                <a:solidFill>
                  <a:schemeClr val="tx1"/>
                </a:solidFill>
                <a:latin typeface="Arial" charset="0"/>
              </a:defRPr>
            </a:lvl1pPr>
            <a:lvl2pPr marL="742883" indent="-285724" eaLnBrk="0" hangingPunct="0">
              <a:defRPr sz="2000" b="1">
                <a:solidFill>
                  <a:schemeClr val="tx1"/>
                </a:solidFill>
                <a:latin typeface="Arial" charset="0"/>
              </a:defRPr>
            </a:lvl2pPr>
            <a:lvl3pPr marL="1142898" indent="-228580" eaLnBrk="0" hangingPunct="0">
              <a:defRPr sz="2000" b="1">
                <a:solidFill>
                  <a:schemeClr val="tx1"/>
                </a:solidFill>
                <a:latin typeface="Arial" charset="0"/>
              </a:defRPr>
            </a:lvl3pPr>
            <a:lvl4pPr marL="1600057" indent="-228580" eaLnBrk="0" hangingPunct="0">
              <a:defRPr sz="2000" b="1">
                <a:solidFill>
                  <a:schemeClr val="tx1"/>
                </a:solidFill>
                <a:latin typeface="Arial" charset="0"/>
              </a:defRPr>
            </a:lvl4pPr>
            <a:lvl5pPr marL="2057217" indent="-228580" eaLnBrk="0" hangingPunct="0">
              <a:defRPr sz="2000" b="1">
                <a:solidFill>
                  <a:schemeClr val="tx1"/>
                </a:solidFill>
                <a:latin typeface="Arial" charset="0"/>
              </a:defRPr>
            </a:lvl5pPr>
            <a:lvl6pPr marL="2514376" indent="-22858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535" indent="-22858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8695" indent="-22858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5854" indent="-22858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fld id="{F199BB67-275A-4A25-9167-14A1B933D178}" type="slidenum">
              <a:rPr lang="en-US" sz="1200" b="0">
                <a:solidFill>
                  <a:srgbClr val="5F5F5F"/>
                </a:solidFill>
                <a:latin typeface="Times" pitchFamily="18" charset="0"/>
              </a:rPr>
              <a:pPr/>
              <a:t>38</a:t>
            </a:fld>
            <a:endParaRPr lang="en-US" sz="1200" b="0" dirty="0">
              <a:solidFill>
                <a:srgbClr val="5F5F5F"/>
              </a:solidFill>
              <a:latin typeface="Times" pitchFamily="18" charset="0"/>
            </a:endParaRPr>
          </a:p>
        </p:txBody>
      </p:sp>
      <p:sp>
        <p:nvSpPr>
          <p:cNvPr id="20483" name="Rectangle 2"/>
          <p:cNvSpPr>
            <a:spLocks noGrp="1" noRot="1" noChangeAspect="1" noChangeArrowheads="1" noTextEdit="1"/>
          </p:cNvSpPr>
          <p:nvPr>
            <p:ph type="sldImg"/>
          </p:nvPr>
        </p:nvSpPr>
        <p:spPr>
          <a:xfrm>
            <a:off x="384175" y="684213"/>
            <a:ext cx="6092825" cy="3429000"/>
          </a:xfrm>
          <a:ln/>
        </p:spPr>
      </p:sp>
      <p:sp>
        <p:nvSpPr>
          <p:cNvPr id="20484" name="Rectangle 3"/>
          <p:cNvSpPr>
            <a:spLocks noGrp="1" noChangeArrowheads="1"/>
          </p:cNvSpPr>
          <p:nvPr>
            <p:ph type="body" idx="1"/>
          </p:nvPr>
        </p:nvSpPr>
        <p:spPr>
          <a:xfrm>
            <a:off x="915990" y="4341814"/>
            <a:ext cx="5026025" cy="4117975"/>
          </a:xfrm>
          <a:noFill/>
        </p:spPr>
        <p:txBody>
          <a:bodyPr lIns="88657" tIns="44327" rIns="88657" bIns="44327"/>
          <a:lstStyle/>
          <a:p>
            <a:pPr eaLnBrk="1" hangingPunct="1">
              <a:lnSpc>
                <a:spcPct val="80000"/>
              </a:lnSpc>
            </a:pPr>
            <a:r>
              <a:rPr lang="hr-HR" dirty="0" smtClean="0"/>
              <a:t>Ako se niste prepoznali</a:t>
            </a:r>
            <a:r>
              <a:rPr lang="hr-HR" baseline="0" dirty="0" smtClean="0"/>
              <a:t> potencijalne primjene u vašoj organizaciji evo još par </a:t>
            </a:r>
            <a:r>
              <a:rPr lang="hr-HR" baseline="0" dirty="0" err="1" smtClean="0"/>
              <a:t>ideaj</a:t>
            </a:r>
            <a:r>
              <a:rPr lang="hr-HR" baseline="0" dirty="0" smtClean="0"/>
              <a:t>.</a:t>
            </a:r>
          </a:p>
          <a:p>
            <a:pPr eaLnBrk="1" hangingPunct="1">
              <a:lnSpc>
                <a:spcPct val="80000"/>
              </a:lnSpc>
            </a:pPr>
            <a:r>
              <a:rPr lang="hr-HR" baseline="0" dirty="0" smtClean="0"/>
              <a:t>Poslovna pravila. </a:t>
            </a:r>
            <a:endParaRPr lang="en-US" dirty="0"/>
          </a:p>
        </p:txBody>
      </p:sp>
    </p:spTree>
    <p:extLst>
      <p:ext uri="{BB962C8B-B14F-4D97-AF65-F5344CB8AC3E}">
        <p14:creationId xmlns:p14="http://schemas.microsoft.com/office/powerpoint/2010/main" val="41857243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custDataLst>
              <p:tags r:id="rId1"/>
            </p:custDataLst>
          </p:nvPr>
        </p:nvSpPr>
        <p:spPr/>
        <p:txBody>
          <a:bodyPr/>
          <a:lstStyle/>
          <a:p>
            <a:fld id="{36E82501-53DA-4152-84B0-51135B15EEA8}" type="slidenum">
              <a:rPr lang="en-US" smtClean="0">
                <a:solidFill>
                  <a:srgbClr val="5F5F5F"/>
                </a:solidFill>
              </a:rPr>
              <a:pPr/>
              <a:t>42</a:t>
            </a:fld>
            <a:endParaRPr lang="en-US">
              <a:solidFill>
                <a:srgbClr val="5F5F5F"/>
              </a:solidFill>
            </a:endParaRPr>
          </a:p>
        </p:txBody>
      </p:sp>
      <p:sp>
        <p:nvSpPr>
          <p:cNvPr id="7" name="Slide Image Placeholder 6"/>
          <p:cNvSpPr>
            <a:spLocks noGrp="1" noRot="1" noChangeAspect="1"/>
          </p:cNvSpPr>
          <p:nvPr>
            <p:ph type="sldImg"/>
          </p:nvPr>
        </p:nvSpPr>
        <p:spPr>
          <a:xfrm>
            <a:off x="382588" y="381000"/>
            <a:ext cx="4572000" cy="2573338"/>
          </a:xfrm>
        </p:spPr>
      </p:sp>
    </p:spTree>
    <p:extLst>
      <p:ext uri="{BB962C8B-B14F-4D97-AF65-F5344CB8AC3E}">
        <p14:creationId xmlns:p14="http://schemas.microsoft.com/office/powerpoint/2010/main" val="37937735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2825" cy="3429000"/>
          </a:xfrm>
          <a:prstGeom prst="rect">
            <a:avLst/>
          </a:prstGeo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FD7DBFB-73D0-4BB0-AAA7-B4B004F125D0}" type="slidenum">
              <a:rPr lang="en-US" smtClean="0">
                <a:solidFill>
                  <a:prstClr val="black"/>
                </a:solidFill>
              </a:rPr>
              <a:pPr>
                <a:defRPr/>
              </a:pPr>
              <a:t>43</a:t>
            </a:fld>
            <a:endParaRPr lang="en-US">
              <a:solidFill>
                <a:prstClr val="black"/>
              </a:solidFill>
            </a:endParaRPr>
          </a:p>
        </p:txBody>
      </p:sp>
    </p:spTree>
    <p:extLst>
      <p:ext uri="{BB962C8B-B14F-4D97-AF65-F5344CB8AC3E}">
        <p14:creationId xmlns:p14="http://schemas.microsoft.com/office/powerpoint/2010/main" val="3424569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Slide Number Placeholder 3"/>
          <p:cNvSpPr>
            <a:spLocks noGrp="1"/>
          </p:cNvSpPr>
          <p:nvPr>
            <p:ph type="sldNum" sz="quarter" idx="5"/>
          </p:nvPr>
        </p:nvSpPr>
        <p:spPr/>
        <p:txBody>
          <a:bodyPr/>
          <a:lstStyle/>
          <a:p>
            <a:fld id="{1503D747-5E94-41D5-A7E4-A123621572AB}" type="slidenum">
              <a:rPr lang="en-US" smtClean="0">
                <a:solidFill>
                  <a:prstClr val="black"/>
                </a:solidFill>
              </a:rPr>
              <a:pPr/>
              <a:t>44</a:t>
            </a:fld>
            <a:endParaRPr lang="en-US" smtClean="0">
              <a:solidFill>
                <a:prstClr val="black"/>
              </a:solidFill>
            </a:endParaRPr>
          </a:p>
        </p:txBody>
      </p:sp>
      <p:sp>
        <p:nvSpPr>
          <p:cNvPr id="6" name="Slide Image Placeholder 5"/>
          <p:cNvSpPr>
            <a:spLocks noGrp="1" noRot="1" noChangeAspect="1"/>
          </p:cNvSpPr>
          <p:nvPr>
            <p:ph type="sldImg"/>
            <p:custDataLst>
              <p:tags r:id="rId1"/>
            </p:custDataLst>
          </p:nvPr>
        </p:nvSpPr>
        <p:spPr>
          <a:xfrm>
            <a:off x="382588" y="381000"/>
            <a:ext cx="4572000" cy="2573338"/>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1663812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custDataLst>
              <p:tags r:id="rId1"/>
            </p:custDataLst>
          </p:nvPr>
        </p:nvSpPr>
        <p:spPr/>
        <p:txBody>
          <a:bodyPr>
            <a:normAutofit/>
          </a:bodyPr>
          <a:lstStyle/>
          <a:p>
            <a:r>
              <a:rPr lang="en-US" dirty="0" smtClean="0"/>
              <a:t>Over the years, Oracle has increasingly invested in making the database and SQL more powerful….</a:t>
            </a:r>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5166699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normAutofit/>
          </a:bodyPr>
          <a:lstStyle/>
          <a:p>
            <a:r>
              <a:rPr lang="en-US" dirty="0" smtClean="0"/>
              <a:t>Typical Data Mining and Predictive analytics use cases:</a:t>
            </a:r>
          </a:p>
          <a:p>
            <a:endParaRPr lang="en-US" dirty="0" smtClean="0"/>
          </a:p>
          <a:p>
            <a:pPr marL="125413" indent="-228600">
              <a:spcBef>
                <a:spcPts val="0"/>
              </a:spcBef>
              <a:buFont typeface="Arial" pitchFamily="34" charset="0"/>
              <a:buChar char="•"/>
            </a:pPr>
            <a:r>
              <a:rPr lang="en-US" dirty="0" smtClean="0"/>
              <a:t>Targeting the right customer with the right offer</a:t>
            </a:r>
          </a:p>
          <a:p>
            <a:pPr marL="125413" indent="-228600">
              <a:spcBef>
                <a:spcPts val="0"/>
              </a:spcBef>
              <a:buFont typeface="Arial" pitchFamily="34" charset="0"/>
              <a:buChar char="•"/>
            </a:pPr>
            <a:r>
              <a:rPr lang="en-US" dirty="0" smtClean="0"/>
              <a:t>How is a customer likely to respond to an offer?</a:t>
            </a:r>
          </a:p>
          <a:p>
            <a:pPr marL="125413" indent="-228600">
              <a:spcBef>
                <a:spcPts val="0"/>
              </a:spcBef>
              <a:buFont typeface="Arial" pitchFamily="34" charset="0"/>
              <a:buChar char="•"/>
            </a:pPr>
            <a:r>
              <a:rPr lang="en-US" dirty="0" smtClean="0">
                <a:sym typeface="Wingdings" pitchFamily="2" charset="2"/>
              </a:rPr>
              <a:t>Finding the most profitable growth opportunities</a:t>
            </a:r>
          </a:p>
          <a:p>
            <a:pPr marL="125413" indent="-228600">
              <a:spcBef>
                <a:spcPts val="0"/>
              </a:spcBef>
              <a:buFont typeface="Arial" pitchFamily="34" charset="0"/>
              <a:buChar char="•"/>
            </a:pPr>
            <a:r>
              <a:rPr lang="en-US" dirty="0" smtClean="0">
                <a:sym typeface="Wingdings" pitchFamily="2" charset="2"/>
              </a:rPr>
              <a:t>Finding and preventing customer churn </a:t>
            </a:r>
          </a:p>
          <a:p>
            <a:pPr marL="125413" indent="-228600">
              <a:spcBef>
                <a:spcPts val="0"/>
              </a:spcBef>
              <a:buFont typeface="Arial" pitchFamily="34" charset="0"/>
              <a:buChar char="•"/>
            </a:pPr>
            <a:r>
              <a:rPr lang="en-US" dirty="0" smtClean="0">
                <a:sym typeface="Wingdings" pitchFamily="2" charset="2"/>
              </a:rPr>
              <a:t>Maximizing cross-business impact</a:t>
            </a:r>
          </a:p>
          <a:p>
            <a:pPr marL="125413" indent="-228600">
              <a:spcBef>
                <a:spcPts val="0"/>
              </a:spcBef>
              <a:buFont typeface="Arial" pitchFamily="34" charset="0"/>
              <a:buChar char="•"/>
            </a:pPr>
            <a:r>
              <a:rPr lang="en-US" dirty="0" smtClean="0">
                <a:sym typeface="Wingdings" pitchFamily="2" charset="2"/>
              </a:rPr>
              <a:t>Security and suspicious activity detection</a:t>
            </a:r>
          </a:p>
          <a:p>
            <a:pPr marL="125413" indent="-228600">
              <a:spcBef>
                <a:spcPts val="0"/>
              </a:spcBef>
              <a:buFont typeface="Arial" pitchFamily="34" charset="0"/>
              <a:buChar char="•"/>
            </a:pPr>
            <a:r>
              <a:rPr lang="en-US" dirty="0" smtClean="0">
                <a:sym typeface="Wingdings" pitchFamily="2" charset="2"/>
              </a:rPr>
              <a:t>Understanding sentiments in customer conversations</a:t>
            </a:r>
          </a:p>
          <a:p>
            <a:pPr marL="125413" indent="-228600">
              <a:spcBef>
                <a:spcPts val="0"/>
              </a:spcBef>
              <a:buFont typeface="Arial" pitchFamily="34" charset="0"/>
              <a:buChar char="•"/>
            </a:pPr>
            <a:r>
              <a:rPr lang="en-US" dirty="0" smtClean="0">
                <a:sym typeface="Wingdings" pitchFamily="2" charset="2"/>
              </a:rPr>
              <a:t>Reducing medical errors &amp; improving quality of health</a:t>
            </a:r>
          </a:p>
          <a:p>
            <a:pPr marL="125413" indent="-228600">
              <a:spcBef>
                <a:spcPts val="0"/>
              </a:spcBef>
              <a:buFont typeface="Arial" pitchFamily="34" charset="0"/>
              <a:buChar char="•"/>
            </a:pPr>
            <a:r>
              <a:rPr lang="en-US" dirty="0" smtClean="0">
                <a:sym typeface="Wingdings" pitchFamily="2" charset="2"/>
              </a:rPr>
              <a:t>Understanding influencers in social networks</a:t>
            </a:r>
          </a:p>
          <a:p>
            <a:endParaRPr lang="en-US" dirty="0"/>
          </a:p>
        </p:txBody>
      </p:sp>
      <p:sp>
        <p:nvSpPr>
          <p:cNvPr id="4" name="Slide Number Placeholder 3"/>
          <p:cNvSpPr>
            <a:spLocks noGrp="1"/>
          </p:cNvSpPr>
          <p:nvPr>
            <p:ph type="sldNum" sz="quarter" idx="10"/>
          </p:nvPr>
        </p:nvSpPr>
        <p:spPr/>
        <p:txBody>
          <a:bodyPr/>
          <a:lstStyle/>
          <a:p>
            <a:pPr>
              <a:defRPr/>
            </a:pPr>
            <a:fld id="{C87FD523-6A9D-431F-9006-8F984D4E0CCC}"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3006883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custDataLst>
              <p:tags r:id="rId1"/>
            </p:custDataLst>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4411959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41A6FA7-17F7-4072-9885-F29D965D4FD7}" type="slidenum">
              <a:rPr lang="en-US">
                <a:solidFill>
                  <a:prstClr val="black"/>
                </a:solidFill>
              </a:rPr>
              <a:pPr/>
              <a:t>16</a:t>
            </a:fld>
            <a:endParaRPr lang="en-US">
              <a:solidFill>
                <a:prstClr val="black"/>
              </a:solidFill>
            </a:endParaRPr>
          </a:p>
        </p:txBody>
      </p:sp>
      <p:sp>
        <p:nvSpPr>
          <p:cNvPr id="3274754" name="Rectangle 2"/>
          <p:cNvSpPr>
            <a:spLocks noGrp="1" noRot="1" noChangeAspect="1" noChangeArrowheads="1" noTextEdit="1"/>
          </p:cNvSpPr>
          <p:nvPr>
            <p:ph type="sldImg"/>
          </p:nvPr>
        </p:nvSpPr>
        <p:spPr bwMode="auto">
          <a:xfrm>
            <a:off x="384175" y="685800"/>
            <a:ext cx="6094413" cy="3429000"/>
          </a:xfrm>
          <a:prstGeom prst="rect">
            <a:avLst/>
          </a:prstGeom>
          <a:solidFill>
            <a:srgbClr val="FFFFFF"/>
          </a:solidFill>
          <a:ln>
            <a:solidFill>
              <a:srgbClr val="000000"/>
            </a:solidFill>
            <a:miter lim="800000"/>
            <a:headEnd/>
            <a:tailEnd/>
          </a:ln>
        </p:spPr>
      </p:sp>
      <p:sp>
        <p:nvSpPr>
          <p:cNvPr id="3274755" name="Rectangle 3"/>
          <p:cNvSpPr>
            <a:spLocks noGrp="1" noChangeArrowheads="1"/>
          </p:cNvSpPr>
          <p:nvPr>
            <p:ph type="body" idx="1"/>
          </p:nvPr>
        </p:nvSpPr>
        <p:spPr bwMode="auto">
          <a:xfrm>
            <a:off x="913883" y="4342818"/>
            <a:ext cx="5030237" cy="4114409"/>
          </a:xfrm>
          <a:prstGeom prst="rect">
            <a:avLst/>
          </a:prstGeom>
          <a:solidFill>
            <a:srgbClr val="FFFFFF"/>
          </a:solidFill>
          <a:ln>
            <a:solidFill>
              <a:srgbClr val="000000"/>
            </a:solidFill>
            <a:miter lim="800000"/>
            <a:headEnd/>
            <a:tailEnd/>
          </a:ln>
        </p:spPr>
        <p:txBody>
          <a:bodyPr lIns="91423" tIns="45711" rIns="91423" bIns="45711"/>
          <a:lstStyle/>
          <a:p>
            <a:endParaRPr lang="en-US"/>
          </a:p>
        </p:txBody>
      </p:sp>
    </p:spTree>
    <p:extLst>
      <p:ext uri="{BB962C8B-B14F-4D97-AF65-F5344CB8AC3E}">
        <p14:creationId xmlns:p14="http://schemas.microsoft.com/office/powerpoint/2010/main" val="356976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bwMode="auto">
          <a:noFill/>
          <a:ln>
            <a:miter lim="800000"/>
            <a:headEnd/>
            <a:tailEnd/>
          </a:ln>
        </p:spPr>
        <p:txBody>
          <a:bodyPr/>
          <a:lstStyle/>
          <a:p>
            <a:fld id="{2727E330-1EE2-49CF-851E-776298B53905}" type="slidenum">
              <a:rPr lang="en-US" altLang="en-US" smtClean="0">
                <a:solidFill>
                  <a:prstClr val="black"/>
                </a:solidFill>
                <a:ea typeface="ＭＳ Ｐゴシック" pitchFamily="34" charset="-128"/>
              </a:rPr>
              <a:pPr/>
              <a:t>19</a:t>
            </a:fld>
            <a:endParaRPr lang="en-US" altLang="en-US" smtClean="0">
              <a:solidFill>
                <a:prstClr val="black"/>
              </a:solidFill>
              <a:ea typeface="ＭＳ Ｐゴシック" pitchFamily="34" charset="-128"/>
            </a:endParaRPr>
          </a:p>
        </p:txBody>
      </p:sp>
      <p:sp>
        <p:nvSpPr>
          <p:cNvPr id="44035" name="Rectangle 2"/>
          <p:cNvSpPr>
            <a:spLocks noGrp="1" noRot="1" noChangeAspect="1" noChangeArrowheads="1" noTextEdit="1"/>
          </p:cNvSpPr>
          <p:nvPr>
            <p:ph type="sldImg"/>
            <p:custDataLst>
              <p:tags r:id="rId1"/>
            </p:custDataLst>
          </p:nvPr>
        </p:nvSpPr>
        <p:spPr bwMode="auto">
          <a:xfrm>
            <a:off x="382588" y="685800"/>
            <a:ext cx="6092825" cy="3429000"/>
          </a:xfrm>
          <a:noFill/>
          <a:ln>
            <a:solidFill>
              <a:srgbClr val="000000"/>
            </a:solidFill>
            <a:miter lim="800000"/>
            <a:headEnd/>
            <a:tailEnd/>
          </a:ln>
        </p:spPr>
      </p:sp>
      <p:sp>
        <p:nvSpPr>
          <p:cNvPr id="44036" name="Rectangle 3"/>
          <p:cNvSpPr>
            <a:spLocks noGrp="1" noChangeArrowheads="1"/>
          </p:cNvSpPr>
          <p:nvPr>
            <p:ph type="body" idx="1"/>
          </p:nvPr>
        </p:nvSpPr>
        <p:spPr bwMode="auto">
          <a:noFill/>
        </p:spPr>
        <p:txBody>
          <a:bodyPr/>
          <a:lstStyle/>
          <a:p>
            <a:endParaRPr lang="en-US" altLang="en-US" smtClean="0">
              <a:ea typeface="ＭＳ Ｐゴシック" pitchFamily="34" charset="-128"/>
            </a:endParaRPr>
          </a:p>
        </p:txBody>
      </p:sp>
    </p:spTree>
    <p:extLst>
      <p:ext uri="{BB962C8B-B14F-4D97-AF65-F5344CB8AC3E}">
        <p14:creationId xmlns:p14="http://schemas.microsoft.com/office/powerpoint/2010/main" val="3087938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custDataLst>
              <p:tags r:id="rId1"/>
            </p:custDataLst>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C72D9AE-7182-4680-8F79-479C4181FF08}" type="slidenum">
              <a:rPr lang="en-US" smtClean="0">
                <a:solidFill>
                  <a:srgbClr val="5F5F5F"/>
                </a:solidFill>
              </a:rPr>
              <a:pPr/>
              <a:t>20</a:t>
            </a:fld>
            <a:endParaRPr lang="en-US" dirty="0">
              <a:solidFill>
                <a:srgbClr val="5F5F5F"/>
              </a:solidFill>
            </a:endParaRPr>
          </a:p>
        </p:txBody>
      </p:sp>
    </p:spTree>
    <p:extLst>
      <p:ext uri="{BB962C8B-B14F-4D97-AF65-F5344CB8AC3E}">
        <p14:creationId xmlns:p14="http://schemas.microsoft.com/office/powerpoint/2010/main" val="1397341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custDataLst>
              <p:tags r:id="rId1"/>
            </p:custDataLst>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C72D9AE-7182-4680-8F79-479C4181FF08}" type="slidenum">
              <a:rPr lang="en-US" smtClean="0">
                <a:solidFill>
                  <a:srgbClr val="5F5F5F"/>
                </a:solidFill>
              </a:rPr>
              <a:pPr/>
              <a:t>21</a:t>
            </a:fld>
            <a:endParaRPr lang="en-US" dirty="0">
              <a:solidFill>
                <a:srgbClr val="5F5F5F"/>
              </a:solidFill>
            </a:endParaRPr>
          </a:p>
        </p:txBody>
      </p:sp>
    </p:spTree>
    <p:extLst>
      <p:ext uri="{BB962C8B-B14F-4D97-AF65-F5344CB8AC3E}">
        <p14:creationId xmlns:p14="http://schemas.microsoft.com/office/powerpoint/2010/main" val="20377338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custDataLst>
              <p:tags r:id="rId1"/>
            </p:custDataLst>
          </p:nvPr>
        </p:nvSpPr>
        <p:spPr/>
        <p:txBody>
          <a:bodyPr/>
          <a:lstStyle/>
          <a:p>
            <a:fld id="{36E82501-53DA-4152-84B0-51135B15EEA8}" type="slidenum">
              <a:rPr lang="en-US" smtClean="0">
                <a:solidFill>
                  <a:prstClr val="black"/>
                </a:solidFill>
              </a:rPr>
              <a:pPr/>
              <a:t>22</a:t>
            </a:fld>
            <a:endParaRPr lang="en-US">
              <a:solidFill>
                <a:prstClr val="black"/>
              </a:solidFill>
            </a:endParaRPr>
          </a:p>
        </p:txBody>
      </p:sp>
      <p:sp>
        <p:nvSpPr>
          <p:cNvPr id="7" name="Slide Image Placeholder 6"/>
          <p:cNvSpPr>
            <a:spLocks noGrp="1" noRot="1" noChangeAspect="1"/>
          </p:cNvSpPr>
          <p:nvPr>
            <p:ph type="sldImg"/>
          </p:nvPr>
        </p:nvSpPr>
        <p:spPr>
          <a:xfrm>
            <a:off x="382588" y="381000"/>
            <a:ext cx="4572000" cy="2573338"/>
          </a:xfrm>
        </p:spPr>
      </p:sp>
    </p:spTree>
    <p:extLst>
      <p:ext uri="{BB962C8B-B14F-4D97-AF65-F5344CB8AC3E}">
        <p14:creationId xmlns:p14="http://schemas.microsoft.com/office/powerpoint/2010/main" val="7733076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jpeg"/><Relationship Id="rId1" Type="http://schemas.openxmlformats.org/officeDocument/2006/relationships/slideMaster" Target="../slideMasters/slideMaster3.xml"/><Relationship Id="rId4" Type="http://schemas.openxmlformats.org/officeDocument/2006/relationships/image" Target="../media/image44.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e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6.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jpe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jpeg"/><Relationship Id="rId1" Type="http://schemas.openxmlformats.org/officeDocument/2006/relationships/slideMaster" Target="../slideMasters/slideMaster4.xml"/><Relationship Id="rId4" Type="http://schemas.openxmlformats.org/officeDocument/2006/relationships/image" Target="../media/image44.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e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6.jpe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jpeg"/><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jpeg"/><Relationship Id="rId1" Type="http://schemas.openxmlformats.org/officeDocument/2006/relationships/slideMaster" Target="../slideMasters/slideMaster5.xml"/><Relationship Id="rId4" Type="http://schemas.openxmlformats.org/officeDocument/2006/relationships/image" Target="../media/image44.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eg"/><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6.xml"/><Relationship Id="rId4" Type="http://schemas.openxmlformats.org/officeDocument/2006/relationships/image" Target="../media/image33.png"/></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6.xml"/><Relationship Id="rId4" Type="http://schemas.openxmlformats.org/officeDocument/2006/relationships/image" Target="../media/image33.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jpeg"/><Relationship Id="rId1" Type="http://schemas.openxmlformats.org/officeDocument/2006/relationships/slideMaster" Target="../slideMasters/slideMaster6.xml"/><Relationship Id="rId4" Type="http://schemas.openxmlformats.org/officeDocument/2006/relationships/image" Target="../media/image33.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jpeg"/><Relationship Id="rId1" Type="http://schemas.openxmlformats.org/officeDocument/2006/relationships/slideMaster" Target="../slideMasters/slideMaster6.xml"/><Relationship Id="rId4" Type="http://schemas.openxmlformats.org/officeDocument/2006/relationships/image" Target="../media/image44.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eg"/><Relationship Id="rId1" Type="http://schemas.openxmlformats.org/officeDocument/2006/relationships/slideMaster" Target="../slideMasters/slideMaster6.xml"/><Relationship Id="rId4" Type="http://schemas.openxmlformats.org/officeDocument/2006/relationships/image" Target="../media/image33.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6.jpe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7.xml"/><Relationship Id="rId4" Type="http://schemas.openxmlformats.org/officeDocument/2006/relationships/image" Target="../media/image33.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33.pn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33.pn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jpeg"/><Relationship Id="rId1" Type="http://schemas.openxmlformats.org/officeDocument/2006/relationships/slideMaster" Target="../slideMasters/slideMaster7.xml"/><Relationship Id="rId4" Type="http://schemas.openxmlformats.org/officeDocument/2006/relationships/image" Target="../media/image44.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eg"/><Relationship Id="rId1" Type="http://schemas.openxmlformats.org/officeDocument/2006/relationships/slideMaster" Target="../slideMasters/slideMaster7.xml"/><Relationship Id="rId4" Type="http://schemas.openxmlformats.org/officeDocument/2006/relationships/image" Target="../media/image33.pn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6.jpeg"/><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0.xml"/><Relationship Id="rId1" Type="http://schemas.openxmlformats.org/officeDocument/2006/relationships/themeOverride" Target="../theme/themeOverride1.xml"/><Relationship Id="rId4" Type="http://schemas.openxmlformats.org/officeDocument/2006/relationships/image" Target="../media/image1.png"/></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0.xml"/><Relationship Id="rId1" Type="http://schemas.openxmlformats.org/officeDocument/2006/relationships/themeOverride" Target="../theme/themeOverride2.xml"/><Relationship Id="rId4" Type="http://schemas.openxmlformats.org/officeDocument/2006/relationships/image" Target="../media/image1.png"/></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0.xml"/><Relationship Id="rId1" Type="http://schemas.openxmlformats.org/officeDocument/2006/relationships/themeOverride" Target="../theme/themeOverride3.xml"/><Relationship Id="rId4" Type="http://schemas.openxmlformats.org/officeDocument/2006/relationships/image" Target="../media/image1.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0.xml"/><Relationship Id="rId1" Type="http://schemas.openxmlformats.org/officeDocument/2006/relationships/themeOverride" Target="../theme/themeOverride4.xml"/><Relationship Id="rId4" Type="http://schemas.openxmlformats.org/officeDocument/2006/relationships/image" Target="../media/image1.png"/></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0.xml"/><Relationship Id="rId1" Type="http://schemas.openxmlformats.org/officeDocument/2006/relationships/themeOverride" Target="../theme/themeOverride5.xml"/><Relationship Id="rId4" Type="http://schemas.openxmlformats.org/officeDocument/2006/relationships/image" Target="../media/image1.png"/></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3.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jpeg"/><Relationship Id="rId1" Type="http://schemas.openxmlformats.org/officeDocument/2006/relationships/slideMaster" Target="../slideMasters/slideMaster14.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0.jpeg"/><Relationship Id="rId1" Type="http://schemas.openxmlformats.org/officeDocument/2006/relationships/slideMaster" Target="../slideMasters/slideMaster15.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16.xml"/><Relationship Id="rId4" Type="http://schemas.openxmlformats.org/officeDocument/2006/relationships/image" Target="../media/image33.png"/></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33.png"/></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jpeg"/><Relationship Id="rId1" Type="http://schemas.openxmlformats.org/officeDocument/2006/relationships/slideMaster" Target="../slideMasters/slideMaster16.xml"/><Relationship Id="rId4" Type="http://schemas.openxmlformats.org/officeDocument/2006/relationships/image" Target="../media/image3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16.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6.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1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44.png"/></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33.png"/></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jpeg"/><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6.jpeg"/><Relationship Id="rId1" Type="http://schemas.openxmlformats.org/officeDocument/2006/relationships/slideMaster" Target="../slideMasters/slideMaster16.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7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jpe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jpe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6" y="739778"/>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6" y="3429452"/>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51AB1A54-131B-434B-AAD1-AD1F7D7DAA2B}"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11" name="TextBox 10"/>
          <p:cNvSpPr txBox="1"/>
          <p:nvPr/>
        </p:nvSpPr>
        <p:spPr>
          <a:xfrm>
            <a:off x="5989641" y="6556248"/>
            <a:ext cx="2787651" cy="182880"/>
          </a:xfrm>
          <a:prstGeom prst="rect">
            <a:avLst/>
          </a:prstGeom>
          <a:noFill/>
        </p:spPr>
        <p:txBody>
          <a:bodyPr wrap="none" lIns="0" tIns="0" rIns="0" bIns="0" rtlCol="0" anchor="ctr" anchorCtr="0">
            <a:noAutofit/>
          </a:bodyPr>
          <a:lstStyle/>
          <a:p>
            <a:pPr defTabSz="914323"/>
            <a:r>
              <a:rPr sz="800" dirty="0">
                <a:solidFill>
                  <a:srgbClr val="5F5F5F">
                    <a:lumMod val="60000"/>
                    <a:lumOff val="40000"/>
                  </a:srgbClr>
                </a:solidFill>
              </a:rPr>
              <a:t>Copyright © </a:t>
            </a:r>
            <a:r>
              <a:rPr sz="800" dirty="0" smtClean="0">
                <a:solidFill>
                  <a:srgbClr val="5F5F5F">
                    <a:lumMod val="60000"/>
                    <a:lumOff val="40000"/>
                  </a:srgbClr>
                </a:solidFill>
              </a:rPr>
              <a:t>201</a:t>
            </a:r>
            <a:r>
              <a:rPr lang="en-US" sz="800" dirty="0" smtClean="0">
                <a:solidFill>
                  <a:srgbClr val="5F5F5F">
                    <a:lumMod val="60000"/>
                    <a:lumOff val="40000"/>
                  </a:srgbClr>
                </a:solidFill>
              </a:rPr>
              <a:t>6</a:t>
            </a:r>
            <a:r>
              <a:rPr sz="800" dirty="0" smtClean="0">
                <a:solidFill>
                  <a:srgbClr val="5F5F5F">
                    <a:lumMod val="60000"/>
                    <a:lumOff val="40000"/>
                  </a:srgbClr>
                </a:solidFill>
              </a:rPr>
              <a:t>Oracle </a:t>
            </a:r>
            <a:r>
              <a:rPr sz="800" dirty="0">
                <a:solidFill>
                  <a:srgbClr val="5F5F5F">
                    <a:lumMod val="60000"/>
                    <a:lumOff val="40000"/>
                  </a:srgbClr>
                </a:solidFill>
              </a:rPr>
              <a:t>and/or its affiliates. All rights reserved.  |</a:t>
            </a:r>
          </a:p>
        </p:txBody>
      </p:sp>
      <p:pic>
        <p:nvPicPr>
          <p:cNvPr id="14" name="Oracle red badge logo" descr="Oracle logo in white on red staging backgroun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531814" y="6263640"/>
            <a:ext cx="1622861" cy="594360"/>
          </a:xfrm>
          <a:prstGeom prst="rect">
            <a:avLst/>
          </a:prstGeom>
        </p:spPr>
      </p:pic>
    </p:spTree>
    <p:extLst>
      <p:ext uri="{BB962C8B-B14F-4D97-AF65-F5344CB8AC3E}">
        <p14:creationId xmlns:p14="http://schemas.microsoft.com/office/powerpoint/2010/main" val="399320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3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defTabSz="914323"/>
            <a:endParaRPr dirty="0">
              <a:solidFill>
                <a:srgbClr val="FFFFFF"/>
              </a:solidFill>
            </a:endParaRPr>
          </a:p>
        </p:txBody>
      </p:sp>
      <p:grpSp>
        <p:nvGrpSpPr>
          <p:cNvPr id="7" name="Group 6"/>
          <p:cNvGrpSpPr/>
          <p:nvPr/>
        </p:nvGrpSpPr>
        <p:grpSpPr bwMode="gray">
          <a:xfrm>
            <a:off x="-285" y="0"/>
            <a:ext cx="12189400" cy="6858000"/>
            <a:chOff x="-287" y="0"/>
            <a:chExt cx="12189399" cy="6858000"/>
          </a:xfrm>
        </p:grpSpPr>
        <p:sp>
          <p:nvSpPr>
            <p:cNvPr id="9" name="Rectangle 8"/>
            <p:cNvSpPr/>
            <p:nvPr/>
          </p:nvSpPr>
          <p:spPr bwMode="gray">
            <a:xfrm>
              <a:off x="-287" y="0"/>
              <a:ext cx="193962"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10" name="Rectangle 9"/>
            <p:cNvSpPr/>
            <p:nvPr/>
          </p:nvSpPr>
          <p:spPr bwMode="gray">
            <a:xfrm>
              <a:off x="11995151" y="5854"/>
              <a:ext cx="193960"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11" name="Rectangle 10"/>
            <p:cNvSpPr/>
            <p:nvPr/>
          </p:nvSpPr>
          <p:spPr bwMode="gray">
            <a:xfrm>
              <a:off x="-286" y="6400800"/>
              <a:ext cx="12189396"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12" name="Rectangle 11"/>
            <p:cNvSpPr/>
            <p:nvPr/>
          </p:nvSpPr>
          <p:spPr bwMode="gray">
            <a:xfrm>
              <a:off x="-286" y="0"/>
              <a:ext cx="12189398" cy="192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grpSp>
      <p:sp>
        <p:nvSpPr>
          <p:cNvPr id="2" name="Title 1"/>
          <p:cNvSpPr>
            <a:spLocks noGrp="1"/>
          </p:cNvSpPr>
          <p:nvPr>
            <p:ph type="title"/>
          </p:nvPr>
        </p:nvSpPr>
        <p:spPr>
          <a:xfrm>
            <a:off x="531816" y="2600324"/>
            <a:ext cx="11125199" cy="1371600"/>
          </a:xfrm>
        </p:spPr>
        <p:txBody>
          <a:bodyPr anchor="b">
            <a:noAutofit/>
          </a:bodyPr>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6" y="4038599"/>
            <a:ext cx="11125199" cy="914400"/>
          </a:xfrm>
        </p:spPr>
        <p:txBody>
          <a:bodyPr anchor="t">
            <a:noAutofit/>
          </a:bodyPr>
          <a:lstStyle>
            <a:lvl1pPr marL="0" indent="0">
              <a:spcBef>
                <a:spcPts val="0"/>
              </a:spcBef>
              <a:buNone/>
              <a:defRPr sz="2400" b="1">
                <a:solidFill>
                  <a:schemeClr val="tx1"/>
                </a:solidFill>
              </a:defRPr>
            </a:lvl1pPr>
            <a:lvl2pPr marL="457161" indent="0">
              <a:buNone/>
              <a:defRPr sz="1900">
                <a:solidFill>
                  <a:schemeClr val="tx1">
                    <a:tint val="75000"/>
                  </a:schemeClr>
                </a:solidFill>
              </a:defRPr>
            </a:lvl2pPr>
            <a:lvl3pPr marL="914323" indent="0">
              <a:buNone/>
              <a:defRPr sz="1600">
                <a:solidFill>
                  <a:schemeClr val="tx1">
                    <a:tint val="75000"/>
                  </a:schemeClr>
                </a:solidFill>
              </a:defRPr>
            </a:lvl3pPr>
            <a:lvl4pPr marL="1371485" indent="0">
              <a:buNone/>
              <a:defRPr sz="1500">
                <a:solidFill>
                  <a:schemeClr val="tx1">
                    <a:tint val="75000"/>
                  </a:schemeClr>
                </a:solidFill>
              </a:defRPr>
            </a:lvl4pPr>
            <a:lvl5pPr marL="1828648" indent="0">
              <a:buNone/>
              <a:defRPr sz="1500">
                <a:solidFill>
                  <a:schemeClr val="tx1">
                    <a:tint val="75000"/>
                  </a:schemeClr>
                </a:solidFill>
              </a:defRPr>
            </a:lvl5pPr>
            <a:lvl6pPr marL="2285809" indent="0">
              <a:buNone/>
              <a:defRPr sz="1500">
                <a:solidFill>
                  <a:schemeClr val="tx1">
                    <a:tint val="75000"/>
                  </a:schemeClr>
                </a:solidFill>
              </a:defRPr>
            </a:lvl6pPr>
            <a:lvl7pPr marL="2742971" indent="0">
              <a:buNone/>
              <a:defRPr sz="1500">
                <a:solidFill>
                  <a:schemeClr val="tx1">
                    <a:tint val="75000"/>
                  </a:schemeClr>
                </a:solidFill>
              </a:defRPr>
            </a:lvl7pPr>
            <a:lvl8pPr marL="3200133" indent="0">
              <a:buNone/>
              <a:defRPr sz="1500">
                <a:solidFill>
                  <a:schemeClr val="tx1">
                    <a:tint val="75000"/>
                  </a:schemeClr>
                </a:solidFill>
              </a:defRPr>
            </a:lvl8pPr>
            <a:lvl9pPr marL="3657296"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noAutofit/>
          </a:bodyPr>
          <a:lstStyle>
            <a:lvl1pPr>
              <a:defRPr>
                <a:solidFill>
                  <a:schemeClr val="bg1">
                    <a:lumMod val="60000"/>
                    <a:lumOff val="40000"/>
                  </a:schemeClr>
                </a:solidFill>
              </a:defRPr>
            </a:lvl1pPr>
          </a:lstStyle>
          <a:p>
            <a:fld id="{19816439-F3A6-4E53-9E59-0015DD1FA257}"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14" name="TextBox 13"/>
          <p:cNvSpPr txBox="1"/>
          <p:nvPr/>
        </p:nvSpPr>
        <p:spPr>
          <a:xfrm>
            <a:off x="5989641" y="6556248"/>
            <a:ext cx="2787651" cy="182880"/>
          </a:xfrm>
          <a:prstGeom prst="rect">
            <a:avLst/>
          </a:prstGeom>
          <a:noFill/>
        </p:spPr>
        <p:txBody>
          <a:bodyPr wrap="none" lIns="0" tIns="0" rIns="0" bIns="0" rtlCol="0" anchor="ctr" anchorCtr="0">
            <a:noAutofit/>
          </a:bodyPr>
          <a:lstStyle/>
          <a:p>
            <a:pPr defTabSz="914323"/>
            <a:r>
              <a:rPr sz="800" dirty="0">
                <a:solidFill>
                  <a:srgbClr val="5F5F5F">
                    <a:lumMod val="60000"/>
                    <a:lumOff val="40000"/>
                  </a:srgbClr>
                </a:solidFill>
              </a:rPr>
              <a:t>Copyright © </a:t>
            </a:r>
            <a:r>
              <a:rPr sz="800" dirty="0" smtClean="0">
                <a:solidFill>
                  <a:srgbClr val="5F5F5F">
                    <a:lumMod val="60000"/>
                    <a:lumOff val="40000"/>
                  </a:srgbClr>
                </a:solidFill>
              </a:rPr>
              <a:t>201</a:t>
            </a:r>
            <a:r>
              <a:rPr lang="en-US" sz="800" dirty="0" smtClean="0">
                <a:solidFill>
                  <a:srgbClr val="5F5F5F">
                    <a:lumMod val="60000"/>
                    <a:lumOff val="40000"/>
                  </a:srgbClr>
                </a:solidFill>
              </a:rPr>
              <a:t>6</a:t>
            </a:r>
            <a:r>
              <a:rPr lang="en-US" sz="800" baseline="0" dirty="0" smtClean="0">
                <a:solidFill>
                  <a:srgbClr val="5F5F5F">
                    <a:lumMod val="60000"/>
                    <a:lumOff val="40000"/>
                  </a:srgbClr>
                </a:solidFill>
              </a:rPr>
              <a:t> </a:t>
            </a:r>
            <a:r>
              <a:rPr sz="800" dirty="0" smtClean="0">
                <a:solidFill>
                  <a:srgbClr val="5F5F5F">
                    <a:lumMod val="60000"/>
                    <a:lumOff val="40000"/>
                  </a:srgbClr>
                </a:solidFill>
              </a:rPr>
              <a:t>Oracle </a:t>
            </a:r>
            <a:r>
              <a:rPr sz="800" dirty="0">
                <a:solidFill>
                  <a:srgbClr val="5F5F5F">
                    <a:lumMod val="60000"/>
                    <a:lumOff val="40000"/>
                  </a:srgbClr>
                </a:solidFill>
              </a:rPr>
              <a:t>and/or its affiliates. All rights reserved.  |</a:t>
            </a:r>
          </a:p>
        </p:txBody>
      </p:sp>
      <p:sp>
        <p:nvSpPr>
          <p:cNvPr id="6" name="Slide Number Placeholder 5"/>
          <p:cNvSpPr>
            <a:spLocks noGrp="1"/>
          </p:cNvSpPr>
          <p:nvPr>
            <p:ph type="sldNum" sz="quarter" idx="12"/>
          </p:nvPr>
        </p:nvSpPr>
        <p:spPr/>
        <p:txBody>
          <a:bodyPr>
            <a:noAutofit/>
          </a:bodyPr>
          <a:lstStyle>
            <a:lvl1pPr>
              <a:defRPr>
                <a:solidFill>
                  <a:schemeClr val="bg1">
                    <a:lumMod val="60000"/>
                    <a:lumOff val="40000"/>
                  </a:schemeClr>
                </a:solidFill>
              </a:defRPr>
            </a:lvl1p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5"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4" y="6263640"/>
            <a:ext cx="1622861" cy="594360"/>
          </a:xfrm>
          <a:prstGeom prst="rect">
            <a:avLst/>
          </a:prstGeom>
        </p:spPr>
      </p:pic>
    </p:spTree>
    <p:extLst>
      <p:ext uri="{BB962C8B-B14F-4D97-AF65-F5344CB8AC3E}">
        <p14:creationId xmlns:p14="http://schemas.microsoft.com/office/powerpoint/2010/main" val="1117667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154D1DD-7A94-3A44-A2B9-66FA7B1686B1}"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4011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ustom Section Header with Picture and Proclama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028" y="0"/>
            <a:ext cx="11649724" cy="6556247"/>
          </a:xfrm>
          <a:prstGeom prst="rect">
            <a:avLst/>
          </a:prstGeom>
        </p:spPr>
      </p:pic>
    </p:spTree>
    <p:extLst>
      <p:ext uri="{BB962C8B-B14F-4D97-AF65-F5344CB8AC3E}">
        <p14:creationId xmlns:p14="http://schemas.microsoft.com/office/powerpoint/2010/main" val="1225615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bleed 4-color photo can be inserted here"/>
          <p:cNvSpPr/>
          <p:nvPr userDrawn="1"/>
        </p:nvSpPr>
        <p:spPr bwMode="hidden">
          <a:xfrm>
            <a:off x="285"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028" y="219001"/>
            <a:ext cx="11535344" cy="6488631"/>
          </a:xfrm>
          <a:prstGeom prst="rect">
            <a:avLst/>
          </a:prstGeom>
        </p:spPr>
      </p:pic>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96325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3F7589B-9BD6-8B45-A3F1-2069890F0F3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25439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8029322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216978-AAC9-904E-ABF1-80828AE7CA1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718279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4605984-D551-B648-83CC-28ABAB9E27F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8447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765FA284-DFBA-B546-A779-7827ED570E3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400594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25CFA18C-E322-D848-90AE-048444F0565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64776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D23F527-3A46-1444-AC47-E74332FAE46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49041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4" name="Text Placeholder 3"/>
          <p:cNvSpPr>
            <a:spLocks noGrp="1"/>
          </p:cNvSpPr>
          <p:nvPr>
            <p:ph type="body" sz="half" idx="2"/>
          </p:nvPr>
        </p:nvSpPr>
        <p:spPr>
          <a:xfrm>
            <a:off x="531814" y="3657600"/>
            <a:ext cx="4800599" cy="1645920"/>
          </a:xfrm>
        </p:spPr>
        <p:txBody>
          <a:bodyPr>
            <a:noAutofit/>
          </a:bodyPr>
          <a:lstStyle>
            <a:lvl1pPr marL="0" indent="0">
              <a:spcBef>
                <a:spcPts val="0"/>
              </a:spcBef>
              <a:buNone/>
              <a:defRPr sz="2400" b="1"/>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lang="en-US" smtClean="0"/>
              <a:t>Click to edit Master text styles</a:t>
            </a:r>
          </a:p>
        </p:txBody>
      </p:sp>
      <p:sp>
        <p:nvSpPr>
          <p:cNvPr id="3" name="Picture Placeholder 2" descr="A photo of your product can be included here"/>
          <p:cNvSpPr>
            <a:spLocks noGrp="1"/>
          </p:cNvSpPr>
          <p:nvPr>
            <p:ph type="pic" idx="1"/>
          </p:nvPr>
        </p:nvSpPr>
        <p:spPr>
          <a:xfrm>
            <a:off x="5588456" y="533400"/>
            <a:ext cx="6068558" cy="5410200"/>
          </a:xfrm>
          <a:noFill/>
        </p:spPr>
        <p:txBody>
          <a:bodyPr tIns="182864">
            <a:noAutofit/>
          </a:bodyPr>
          <a:lstStyle>
            <a:lvl1pPr marL="0" indent="0" algn="ctr">
              <a:buNone/>
              <a:defRPr sz="24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6CFF0A86-8A92-4FBC-80CD-36517BAA55B7}"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67037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E1F5459C-11CD-4246-BAA2-A0CD8B7930C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363539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B793641-39FE-9941-B493-4C6CA22258AD}"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16053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E6E0838-3E10-424A-93AC-472DD16011EC}"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11216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CB2A62B-A9A1-BD4B-8067-86DD35117CE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2"/>
                </a:solidFill>
              </a:defRPr>
            </a:lvl1pPr>
          </a:lstStyle>
          <a:p>
            <a:r>
              <a:rPr lang="en-US" dirty="0" smtClean="0"/>
              <a:t>XX</a:t>
            </a:r>
            <a:endParaRPr lang="en-US" dirty="0"/>
          </a:p>
        </p:txBody>
      </p:sp>
    </p:spTree>
    <p:extLst>
      <p:ext uri="{BB962C8B-B14F-4D97-AF65-F5344CB8AC3E}">
        <p14:creationId xmlns:p14="http://schemas.microsoft.com/office/powerpoint/2010/main" val="276777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3CFFFFBC-830B-BE48-A60F-3A3B7341FF90}" type="datetime1">
              <a:rPr lang="en-US" smtClean="0">
                <a:solidFill>
                  <a:srgbClr val="58595B"/>
                </a:solidFill>
              </a:rPr>
              <a:pPr/>
              <a:t>11/10/2016</a:t>
            </a:fld>
            <a:endParaRPr dirty="0">
              <a:solidFill>
                <a:srgbClr val="58595B"/>
              </a:solidFill>
            </a:endParaRPr>
          </a:p>
        </p:txBody>
      </p:sp>
      <p:sp>
        <p:nvSpPr>
          <p:cNvPr id="8" name="Footer Placeholder 7"/>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9" name="Slide Number Placeholder 8"/>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27288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39A174-1ADF-1E48-B6DD-36515CA54732}"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975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F9DE5E5-CA66-5940-9D1C-9F6D8D7529FE}"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5692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19AFBF-606B-E543-8502-3BFA1F086CBC}"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09287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0AF893-3E10-FD41-AEC9-8B3D0A4A185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79206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325C25-20DE-A84C-A42C-F77161DB4A9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23818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mote Speaker Pictur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EE11BFD-AD4C-4A98-9D38-1958507EA4E5}" type="datetime1">
              <a:rPr lang="en-US" smtClean="0">
                <a:solidFill>
                  <a:srgbClr val="5F5F5F">
                    <a:lumMod val="60000"/>
                    <a:lumOff val="40000"/>
                  </a:srgbClr>
                </a:solidFill>
              </a:rPr>
              <a:pPr/>
              <a:t>11/10/2016</a:t>
            </a:fld>
            <a:endParaRPr lang="en-US" dirty="0">
              <a:solidFill>
                <a:srgbClr val="5F5F5F">
                  <a:lumMod val="60000"/>
                  <a:lumOff val="40000"/>
                </a:srgbClr>
              </a:solidFill>
            </a:endParaRPr>
          </a:p>
        </p:txBody>
      </p:sp>
      <p:sp>
        <p:nvSpPr>
          <p:cNvPr id="5" name="Slide Number Placeholder 4"/>
          <p:cNvSpPr>
            <a:spLocks noGrp="1"/>
          </p:cNvSpPr>
          <p:nvPr>
            <p:ph type="sldNum" sz="quarter" idx="12"/>
          </p:nvPr>
        </p:nvSpPr>
        <p:spPr/>
        <p:txBody>
          <a:bodyPr/>
          <a:lstStyle/>
          <a:p>
            <a:fld id="{C51EAA63-D034-42AE-91FA-B13B9518C7BE}" type="slidenum">
              <a:rPr lang="en-US" smtClean="0">
                <a:solidFill>
                  <a:srgbClr val="5F5F5F">
                    <a:lumMod val="60000"/>
                    <a:lumOff val="40000"/>
                  </a:srgbClr>
                </a:solidFill>
              </a:rPr>
              <a:pPr/>
              <a:t>‹#›</a:t>
            </a:fld>
            <a:endParaRPr lang="en-US" dirty="0">
              <a:solidFill>
                <a:srgbClr val="5F5F5F">
                  <a:lumMod val="60000"/>
                  <a:lumOff val="40000"/>
                </a:srgbClr>
              </a:solidFill>
            </a:endParaRPr>
          </a:p>
        </p:txBody>
      </p:sp>
      <p:sp>
        <p:nvSpPr>
          <p:cNvPr id="6" name="Picture Placeholder 2" descr="If presenting remotely, you can insert your photo here"/>
          <p:cNvSpPr>
            <a:spLocks noGrp="1" noChangeAspect="1"/>
          </p:cNvSpPr>
          <p:nvPr>
            <p:ph type="pic" idx="1"/>
          </p:nvPr>
        </p:nvSpPr>
        <p:spPr>
          <a:xfrm>
            <a:off x="2286001" y="1828800"/>
            <a:ext cx="3474720" cy="3841445"/>
          </a:xfrm>
          <a:noFill/>
        </p:spPr>
        <p:txBody>
          <a:bodyPr tIns="182864">
            <a:noAutofit/>
          </a:bodyPr>
          <a:lstStyle>
            <a:lvl1pPr marL="0" indent="0" algn="ctr">
              <a:buNone/>
              <a:defRPr sz="24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11" name="Text Placeholder 10"/>
          <p:cNvSpPr>
            <a:spLocks noGrp="1"/>
          </p:cNvSpPr>
          <p:nvPr>
            <p:ph type="body" sz="quarter" idx="14"/>
          </p:nvPr>
        </p:nvSpPr>
        <p:spPr>
          <a:xfrm>
            <a:off x="6035042" y="1828799"/>
            <a:ext cx="5102352" cy="3840480"/>
          </a:xfrm>
        </p:spPr>
        <p:txBody>
          <a:bodyPr anchor="ctr" anchorCtr="0"/>
          <a:lstStyle>
            <a:lvl1pPr>
              <a:spcBef>
                <a:spcPts val="0"/>
              </a:spcBef>
              <a:spcAft>
                <a:spcPts val="800"/>
              </a:spcAft>
              <a:buClr>
                <a:schemeClr val="bg1"/>
              </a:buClr>
              <a:defRPr b="1"/>
            </a:lvl1pPr>
            <a:lvl2pPr marL="228581">
              <a:spcBef>
                <a:spcPts val="0"/>
              </a:spcBef>
              <a:buClr>
                <a:schemeClr val="bg1"/>
              </a:buClr>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9625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95EB4F4-FDFD-ED43-860C-BD557FEEC804}"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46395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40CA68-5E1D-2648-A796-3AC679BBE128}"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572255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DA38B655-5B37-774F-952B-2EF42A45362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850231"/>
            <a:ext cx="5246688" cy="396954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03483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E63E8679-970F-0E44-9FB8-4B88F38302E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747673" y="1013144"/>
            <a:ext cx="3962137" cy="5252348"/>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3" name="Picture 12"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134456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8B482C15-144D-5047-A5F1-7D99D84BBFB0}"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975104"/>
            <a:ext cx="5248656" cy="3328416"/>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22607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F8E68280-77B5-7046-8002-0C2A6FF60231}"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9" name="Picture 18"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185816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p:cNvSpPr/>
          <p:nvPr/>
        </p:nvSpPr>
        <p:spPr bwMode="hidden">
          <a:xfrm>
            <a:off x="0" y="0"/>
            <a:ext cx="12188825" cy="6858000"/>
          </a:xfrm>
          <a:prstGeom prst="rect">
            <a:avLst/>
          </a:prstGeom>
          <a:gradFill>
            <a:gsLst>
              <a:gs pos="34000">
                <a:srgbClr val="46575E">
                  <a:alpha val="50000"/>
                </a:srgbClr>
              </a:gs>
              <a:gs pos="52000">
                <a:srgbClr val="46575E">
                  <a:alpha val="40000"/>
                </a:srgbClr>
              </a:gs>
              <a:gs pos="100000">
                <a:srgbClr val="46575E">
                  <a:alpha val="4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15" name="Group 14"/>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Rectangle 20"/>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pic>
        <p:nvPicPr>
          <p:cNvPr id="23" name="Picture 22"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5" name="Date Placeholder 4"/>
          <p:cNvSpPr>
            <a:spLocks noGrp="1"/>
          </p:cNvSpPr>
          <p:nvPr>
            <p:ph type="dt" sz="half" idx="10"/>
          </p:nvPr>
        </p:nvSpPr>
        <p:spPr/>
        <p:txBody>
          <a:bodyPr/>
          <a:lstStyle>
            <a:lvl1pPr>
              <a:defRPr>
                <a:solidFill>
                  <a:srgbClr val="5F5F5F"/>
                </a:solidFill>
              </a:defRPr>
            </a:lvl1pPr>
          </a:lstStyle>
          <a:p>
            <a:fld id="{D061FBC3-B3BC-0343-8C44-083187317F83}"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spTree>
    <p:extLst>
      <p:ext uri="{BB962C8B-B14F-4D97-AF65-F5344CB8AC3E}">
        <p14:creationId xmlns:p14="http://schemas.microsoft.com/office/powerpoint/2010/main" val="1364251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7E3EDE-07F9-F543-A57F-B068A6C6C2E7}"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871359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AF0846-A068-BC48-8252-2B37F39F59F8}"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329494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68BD323E-1AA8-9945-A9F0-CB54A017EE50}"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502892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581" indent="-228581"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076" indent="-292076">
              <a:spcBef>
                <a:spcPts val="0"/>
              </a:spcBef>
              <a:buClr>
                <a:schemeClr val="tx1"/>
              </a:buClr>
              <a:buFont typeface="Arial" panose="020B0604020202020204" pitchFamily="34" charset="0"/>
              <a:buChar char="–"/>
              <a:defRPr sz="24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FFFBC65A-03AE-423D-B3EC-68D1D32BF9D6}"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94509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382726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47FD4AC-A98F-AB42-882B-C012365E1081}" type="datetime1">
              <a:rPr lang="en-US" smtClean="0">
                <a:solidFill>
                  <a:srgbClr val="58595B"/>
                </a:solidFill>
              </a:rPr>
              <a:pPr/>
              <a:t>11/10/2016</a:t>
            </a:fld>
            <a:endParaRPr lang="en-US">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lang="en-US">
              <a:solidFill>
                <a:srgbClr val="58595B"/>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8595B"/>
                </a:solidFill>
              </a:rPr>
              <a:pPr/>
              <a:t>‹#›</a:t>
            </a:fld>
            <a:endParaRPr lang="en-US">
              <a:solidFill>
                <a:srgbClr val="58595B"/>
              </a:solidFill>
            </a:endParaRPr>
          </a:p>
        </p:txBody>
      </p:sp>
    </p:spTree>
    <p:extLst>
      <p:ext uri="{BB962C8B-B14F-4D97-AF65-F5344CB8AC3E}">
        <p14:creationId xmlns:p14="http://schemas.microsoft.com/office/powerpoint/2010/main" val="2486704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276A67-317E-FC4B-BB72-4636858DDF2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9322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90"/>
            <a:ext cx="10969924" cy="1025071"/>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1072183" y="1358904"/>
            <a:ext cx="10969943" cy="46143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1072183" y="800808"/>
            <a:ext cx="10969943" cy="406400"/>
          </a:xfrm>
        </p:spPr>
        <p:txBody>
          <a:bodyPr>
            <a:noAutofit/>
          </a:bodyPr>
          <a:lstStyle>
            <a:lvl1pPr marL="0" indent="0">
              <a:spcAft>
                <a:spcPts val="0"/>
              </a:spcAft>
              <a:buFontTx/>
              <a:buNone/>
              <a:defRPr sz="2700">
                <a:solidFill>
                  <a:schemeClr val="accent1"/>
                </a:solidFill>
              </a:defRPr>
            </a:lvl1pPr>
            <a:lvl2pPr marL="609392" indent="0">
              <a:buFontTx/>
              <a:buNone/>
              <a:defRPr/>
            </a:lvl2pPr>
            <a:lvl3pPr marL="1218784" indent="0">
              <a:buFontTx/>
              <a:buNone/>
              <a:defRPr/>
            </a:lvl3pPr>
            <a:lvl4pPr marL="1828176" indent="0">
              <a:buFontTx/>
              <a:buNone/>
              <a:defRPr/>
            </a:lvl4pPr>
            <a:lvl5pPr marL="2437568"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1003225407"/>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2" y="2288587"/>
            <a:ext cx="5713413" cy="373121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23"/>
            <a:endParaRPr lang="en-US" sz="1800">
              <a:solidFill>
                <a:srgbClr val="FFFFFF"/>
              </a:solidFill>
            </a:endParaRPr>
          </a:p>
        </p:txBody>
      </p:sp>
      <p:sp>
        <p:nvSpPr>
          <p:cNvPr id="8" name="Rectangle 7"/>
          <p:cNvSpPr/>
          <p:nvPr userDrawn="1"/>
        </p:nvSpPr>
        <p:spPr bwMode="auto">
          <a:xfrm>
            <a:off x="2031" y="1542201"/>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5" tIns="61368" rIns="122735" bIns="61368" anchor="ctr"/>
          <a:lstStyle/>
          <a:p>
            <a:pPr marL="158710" indent="-158710" algn="ctr" defTabSz="914323">
              <a:defRPr/>
            </a:pPr>
            <a:endParaRPr lang="en-US" sz="53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7"/>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2228111724"/>
      </p:ext>
    </p:extLst>
  </p:cSld>
  <p:clrMapOvr>
    <a:masterClrMapping/>
  </p:clrMapOvr>
  <p:transition spd="med">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2183" y="327387"/>
            <a:ext cx="10969924" cy="541860"/>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43" indent="0">
              <a:buFontTx/>
              <a:buNone/>
              <a:defRPr/>
            </a:lvl2pPr>
            <a:lvl3pPr marL="1218885" indent="0">
              <a:buFontTx/>
              <a:buNone/>
              <a:defRPr/>
            </a:lvl3pPr>
            <a:lvl4pPr marL="1828328" indent="0">
              <a:buFontTx/>
              <a:buNone/>
              <a:defRPr/>
            </a:lvl4pPr>
            <a:lvl5pPr marL="2437771" indent="0">
              <a:buFontTx/>
              <a:buNone/>
              <a:defRPr/>
            </a:lvl5pPr>
          </a:lstStyle>
          <a:p>
            <a:pPr lvl="0"/>
            <a:r>
              <a:rPr lang="en-US" smtClean="0"/>
              <a:t>Click to edit Master text styles</a:t>
            </a:r>
          </a:p>
        </p:txBody>
      </p:sp>
    </p:spTree>
    <p:extLst>
      <p:ext uri="{BB962C8B-B14F-4D97-AF65-F5344CB8AC3E}">
        <p14:creationId xmlns:p14="http://schemas.microsoft.com/office/powerpoint/2010/main" val="1384362760"/>
      </p:ext>
    </p:extLst>
  </p:cSld>
  <p:clrMapOvr>
    <a:masterClrMapping/>
  </p:clrMapOvr>
  <p:transition spd="med">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77103" y="1552230"/>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hasCustomPrompt="1"/>
          </p:nvPr>
        </p:nvSpPr>
        <p:spPr>
          <a:xfrm>
            <a:off x="1077105" y="878140"/>
            <a:ext cx="10849323" cy="424921"/>
          </a:xfrm>
        </p:spPr>
        <p:txBody>
          <a:bodyPr/>
          <a:lstStyle>
            <a:lvl1pPr marL="0" indent="0">
              <a:buNone/>
              <a:defRPr sz="3200">
                <a:solidFill>
                  <a:schemeClr val="tx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Tree>
    <p:extLst>
      <p:ext uri="{BB962C8B-B14F-4D97-AF65-F5344CB8AC3E}">
        <p14:creationId xmlns:p14="http://schemas.microsoft.com/office/powerpoint/2010/main" val="2924987012"/>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9"/>
            <a:ext cx="10969924" cy="1025071"/>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4158973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DB0592DB-01ED-A44A-830D-2A57CD1AF06B}"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5035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4D813C46-5AAA-0045-A784-1D6C400A7C04}"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509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8" name="Picture Placeholder 15" descr="Customer photo can be included here"/>
          <p:cNvSpPr>
            <a:spLocks noGrp="1" noChangeAspect="1"/>
          </p:cNvSpPr>
          <p:nvPr>
            <p:ph type="pic" sz="quarter" idx="14" hasCustomPrompt="1"/>
          </p:nvPr>
        </p:nvSpPr>
        <p:spPr>
          <a:xfrm>
            <a:off x="531814" y="1905000"/>
            <a:ext cx="2194560" cy="3072384"/>
          </a:xfrm>
          <a:noFill/>
        </p:spPr>
        <p:txBody>
          <a:bodyPr tIns="91432">
            <a:noAutofit/>
          </a:bodyPr>
          <a:lstStyle>
            <a:lvl1pPr marL="0" indent="0" algn="ctr">
              <a:spcBef>
                <a:spcPts val="0"/>
              </a:spcBef>
              <a:buNone/>
              <a:defRPr sz="1900" baseline="0">
                <a:solidFill>
                  <a:schemeClr val="tx1"/>
                </a:solidFill>
              </a:defRPr>
            </a:lvl1pPr>
          </a:lstStyle>
          <a:p>
            <a:r>
              <a:rPr dirty="0"/>
              <a:t>Click icon to insert picture</a:t>
            </a:r>
          </a:p>
        </p:txBody>
      </p:sp>
      <p:sp>
        <p:nvSpPr>
          <p:cNvPr id="2" name="Title 1"/>
          <p:cNvSpPr>
            <a:spLocks noGrp="1"/>
          </p:cNvSpPr>
          <p:nvPr>
            <p:ph type="title" hasCustomPrompt="1"/>
          </p:nvPr>
        </p:nvSpPr>
        <p:spPr>
          <a:xfrm>
            <a:off x="3198812" y="1905000"/>
            <a:ext cx="8456613" cy="2209800"/>
          </a:xfrm>
        </p:spPr>
        <p:txBody>
          <a:bodyPr anchor="t"/>
          <a:lstStyle>
            <a:lvl1pPr marL="228581" indent="-228581"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076" indent="-292076">
              <a:spcBef>
                <a:spcPts val="0"/>
              </a:spcBef>
              <a:buClr>
                <a:schemeClr val="tx1"/>
              </a:buClr>
              <a:buFont typeface="Arial" panose="020B0604020202020204" pitchFamily="34" charset="0"/>
              <a:buChar char="–"/>
              <a:defRPr sz="24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FFFBC65A-03AE-423D-B3EC-68D1D32BF9D6}"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02776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Custom Title Slide: Grey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58595B"/>
                </a:solidFill>
              </a:rPr>
              <a:pPr/>
              <a:t>11/10/2016</a:t>
            </a:fld>
            <a:endParaRPr lang="en-US" dirty="0">
              <a:solidFill>
                <a:srgbClr val="58595B"/>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58595B"/>
                </a:solidFill>
              </a:rPr>
              <a:t>Confidential – Oracle Internal/Restricted/Highly Restricted</a:t>
            </a:r>
            <a:endParaRPr lang="en-US" dirty="0">
              <a:solidFill>
                <a:srgbClr val="58595B"/>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7008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Custom Title Slide: Red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573141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Custom Title Slide with Primary Event Impress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31814" y="739775"/>
            <a:ext cx="804531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04531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04531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715060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Custom 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4" name="Rectangle 13"/>
          <p:cNvSpPr/>
          <p:nvPr userDrawn="1"/>
        </p:nvSpPr>
        <p:spPr bwMode="white">
          <a:xfrm>
            <a:off x="9984628" y="4608094"/>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10056441" y="4815117"/>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Tree>
    <p:extLst>
      <p:ext uri="{BB962C8B-B14F-4D97-AF65-F5344CB8AC3E}">
        <p14:creationId xmlns:p14="http://schemas.microsoft.com/office/powerpoint/2010/main" val="17037130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1" name="Rectangle 20" descr="Full slide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5904" cy="6858000"/>
          </a:xfrm>
          <a:prstGeom prst="rect">
            <a:avLst/>
          </a:prstGeom>
        </p:spPr>
      </p:pic>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7" name="Rectangle 16"/>
          <p:cNvSpPr/>
          <p:nvPr userDrawn="1"/>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20" name="Rectangle 19"/>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Tree>
    <p:extLst>
      <p:ext uri="{BB962C8B-B14F-4D97-AF65-F5344CB8AC3E}">
        <p14:creationId xmlns:p14="http://schemas.microsoft.com/office/powerpoint/2010/main" val="2372436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cstate="print"/>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0890851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9096940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5190EDF2-7744-3443-B3CB-57655E386FA4}"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6326052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8926090-F7DD-7C47-A7A5-57C7ADACE0E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82707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996FA26-999E-144A-B9D6-0275E6EB9A1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76399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9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sz="half" idx="2"/>
          </p:nvPr>
        </p:nvSpPr>
        <p:spPr>
          <a:xfrm>
            <a:off x="6246816" y="1524001"/>
            <a:ext cx="5410197" cy="4419600"/>
          </a:xfrm>
        </p:spPr>
        <p:txBody>
          <a:bodyPr>
            <a:noAutofit/>
          </a:bodyPr>
          <a:lstStyle>
            <a:lvl1pPr>
              <a:defRPr sz="2800"/>
            </a:lvl1pPr>
            <a:lvl2pPr>
              <a:defRPr sz="2400"/>
            </a:lvl2pPr>
            <a:lvl3pPr>
              <a:defRPr sz="2000"/>
            </a:lvl3pPr>
            <a:lvl4pPr>
              <a:defRPr sz="19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F189F9BA-FB97-45D5-8F27-56629FBBC98C}"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52016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154D1DD-7A94-3A44-A2B9-66FA7B1686B1}"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51551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ustom Section Header with Picture and Proclama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028" y="0"/>
            <a:ext cx="11649724" cy="6556247"/>
          </a:xfrm>
          <a:prstGeom prst="rect">
            <a:avLst/>
          </a:prstGeom>
        </p:spPr>
      </p:pic>
    </p:spTree>
    <p:extLst>
      <p:ext uri="{BB962C8B-B14F-4D97-AF65-F5344CB8AC3E}">
        <p14:creationId xmlns:p14="http://schemas.microsoft.com/office/powerpoint/2010/main" val="411810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bleed 4-color photo can be inserted here"/>
          <p:cNvSpPr/>
          <p:nvPr userDrawn="1"/>
        </p:nvSpPr>
        <p:spPr bwMode="hidden">
          <a:xfrm>
            <a:off x="285"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028" y="219001"/>
            <a:ext cx="11535344" cy="6488631"/>
          </a:xfrm>
          <a:prstGeom prst="rect">
            <a:avLst/>
          </a:prstGeom>
        </p:spPr>
      </p:pic>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0591221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3F7589B-9BD6-8B45-A3F1-2069890F0F3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83285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149969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216978-AAC9-904E-ABF1-80828AE7CA1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832608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4605984-D551-B648-83CC-28ABAB9E27F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7705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765FA284-DFBA-B546-A779-7827ED570E3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12946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25CFA18C-E322-D848-90AE-048444F0565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146142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D23F527-3A46-1444-AC47-E74332FAE46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76696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900"/>
            </a:lvl3pPr>
            <a:lvl4pPr>
              <a:defRPr sz="16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9" name="Straight Connector 8"/>
          <p:cNvCxnSpPr/>
          <p:nvPr/>
        </p:nvCxnSpPr>
        <p:spPr bwMode="ltGray">
          <a:xfrm>
            <a:off x="4189411"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sz="half" idx="2"/>
          </p:nvPr>
        </p:nvSpPr>
        <p:spPr>
          <a:xfrm>
            <a:off x="4357054" y="1524001"/>
            <a:ext cx="3474720" cy="4419600"/>
          </a:xfrm>
        </p:spPr>
        <p:txBody>
          <a:bodyPr>
            <a:noAutofit/>
          </a:bodyPr>
          <a:lstStyle>
            <a:lvl1pPr>
              <a:defRPr sz="2400"/>
            </a:lvl1pPr>
            <a:lvl2pPr>
              <a:defRPr sz="2000"/>
            </a:lvl2pPr>
            <a:lvl3pPr>
              <a:defRPr sz="1900"/>
            </a:lvl3pPr>
            <a:lvl4pPr>
              <a:defRPr sz="16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900"/>
            </a:lvl3pPr>
            <a:lvl4pPr>
              <a:defRPr sz="16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AA91E92C-9068-4C32-AE92-C97502324FE4}"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5337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E1F5459C-11CD-4246-BAA2-A0CD8B7930C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1533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B793641-39FE-9941-B493-4C6CA22258AD}"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80966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E6E0838-3E10-424A-93AC-472DD16011EC}"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18878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CB2A62B-A9A1-BD4B-8067-86DD35117CE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2"/>
                </a:solidFill>
              </a:defRPr>
            </a:lvl1pPr>
          </a:lstStyle>
          <a:p>
            <a:r>
              <a:rPr lang="en-US" dirty="0" smtClean="0"/>
              <a:t>XX</a:t>
            </a:r>
            <a:endParaRPr lang="en-US" dirty="0"/>
          </a:p>
        </p:txBody>
      </p:sp>
    </p:spTree>
    <p:extLst>
      <p:ext uri="{BB962C8B-B14F-4D97-AF65-F5344CB8AC3E}">
        <p14:creationId xmlns:p14="http://schemas.microsoft.com/office/powerpoint/2010/main" val="58961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3CFFFFBC-830B-BE48-A60F-3A3B7341FF90}" type="datetime1">
              <a:rPr lang="en-US" smtClean="0">
                <a:solidFill>
                  <a:srgbClr val="58595B"/>
                </a:solidFill>
              </a:rPr>
              <a:pPr/>
              <a:t>11/10/2016</a:t>
            </a:fld>
            <a:endParaRPr dirty="0">
              <a:solidFill>
                <a:srgbClr val="58595B"/>
              </a:solidFill>
            </a:endParaRPr>
          </a:p>
        </p:txBody>
      </p:sp>
      <p:sp>
        <p:nvSpPr>
          <p:cNvPr id="8" name="Footer Placeholder 7"/>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9" name="Slide Number Placeholder 8"/>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26286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39A174-1ADF-1E48-B6DD-36515CA54732}"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3663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F9DE5E5-CA66-5940-9D1C-9F6D8D7529FE}"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79097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19AFBF-606B-E543-8502-3BFA1F086CBC}"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4720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0AF893-3E10-FD41-AEC9-8B3D0A4A185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362571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325C25-20DE-A84C-A42C-F77161DB4A9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86456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3"/>
            <a:ext cx="5410199" cy="2133599"/>
          </a:xfrm>
        </p:spPr>
        <p:txBody>
          <a:bodyPr>
            <a:noAutofit/>
          </a:bodyPr>
          <a:lstStyle>
            <a:lvl1pPr>
              <a:defRPr sz="2400"/>
            </a:lvl1pPr>
            <a:lvl2pPr>
              <a:defRPr sz="2000"/>
            </a:lvl2pPr>
            <a:lvl3pPr>
              <a:defRPr sz="1900"/>
            </a:lvl3pPr>
            <a:lvl4pPr>
              <a:defRPr sz="16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6" y="1524003"/>
            <a:ext cx="5410197" cy="2133599"/>
          </a:xfrm>
        </p:spPr>
        <p:txBody>
          <a:bodyPr>
            <a:noAutofit/>
          </a:bodyPr>
          <a:lstStyle>
            <a:lvl1pPr>
              <a:defRPr sz="2400"/>
            </a:lvl1pPr>
            <a:lvl2pPr>
              <a:defRPr sz="2000"/>
            </a:lvl2pPr>
            <a:lvl3pPr>
              <a:defRPr sz="1900"/>
            </a:lvl3pPr>
            <a:lvl4pPr>
              <a:defRPr sz="16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5EDC5EE-48A0-4FB5-B27F-88FDBE6F1684}"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
        <p:nvSpPr>
          <p:cNvPr id="8" name="Content Placeholder 2"/>
          <p:cNvSpPr>
            <a:spLocks noGrp="1"/>
          </p:cNvSpPr>
          <p:nvPr>
            <p:ph sz="half" idx="13"/>
          </p:nvPr>
        </p:nvSpPr>
        <p:spPr>
          <a:xfrm>
            <a:off x="531813" y="3810003"/>
            <a:ext cx="5410199" cy="2133599"/>
          </a:xfrm>
        </p:spPr>
        <p:txBody>
          <a:bodyPr>
            <a:noAutofit/>
          </a:bodyPr>
          <a:lstStyle>
            <a:lvl1pPr>
              <a:defRPr sz="2400"/>
            </a:lvl1pPr>
            <a:lvl2pPr>
              <a:defRPr sz="2000"/>
            </a:lvl2pPr>
            <a:lvl3pPr>
              <a:defRPr sz="1900"/>
            </a:lvl3pPr>
            <a:lvl4pPr>
              <a:defRPr sz="16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6" y="3810003"/>
            <a:ext cx="5410197" cy="2133599"/>
          </a:xfrm>
        </p:spPr>
        <p:txBody>
          <a:bodyPr>
            <a:noAutofit/>
          </a:bodyPr>
          <a:lstStyle>
            <a:lvl1pPr>
              <a:defRPr sz="2400"/>
            </a:lvl1pPr>
            <a:lvl2pPr>
              <a:defRPr sz="2000"/>
            </a:lvl2pPr>
            <a:lvl3pPr>
              <a:defRPr sz="1900"/>
            </a:lvl3pPr>
            <a:lvl4pPr>
              <a:defRPr sz="16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22633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95EB4F4-FDFD-ED43-860C-BD557FEEC804}"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73094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40CA68-5E1D-2648-A796-3AC679BBE128}"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63044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DA38B655-5B37-774F-952B-2EF42A45362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850231"/>
            <a:ext cx="5246688" cy="396954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94924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E63E8679-970F-0E44-9FB8-4B88F38302E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747673" y="1013144"/>
            <a:ext cx="3962137" cy="5252348"/>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3" name="Picture 12"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278516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8B482C15-144D-5047-A5F1-7D99D84BBFB0}"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975104"/>
            <a:ext cx="5248656" cy="3328416"/>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10363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F8E68280-77B5-7046-8002-0C2A6FF60231}"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9" name="Picture 18"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240822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p:cNvSpPr/>
          <p:nvPr/>
        </p:nvSpPr>
        <p:spPr bwMode="hidden">
          <a:xfrm>
            <a:off x="0" y="0"/>
            <a:ext cx="12188825" cy="6858000"/>
          </a:xfrm>
          <a:prstGeom prst="rect">
            <a:avLst/>
          </a:prstGeom>
          <a:gradFill>
            <a:gsLst>
              <a:gs pos="34000">
                <a:srgbClr val="46575E">
                  <a:alpha val="50000"/>
                </a:srgbClr>
              </a:gs>
              <a:gs pos="52000">
                <a:srgbClr val="46575E">
                  <a:alpha val="40000"/>
                </a:srgbClr>
              </a:gs>
              <a:gs pos="100000">
                <a:srgbClr val="46575E">
                  <a:alpha val="4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15" name="Group 14"/>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Rectangle 20"/>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pic>
        <p:nvPicPr>
          <p:cNvPr id="23" name="Picture 22"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5" name="Date Placeholder 4"/>
          <p:cNvSpPr>
            <a:spLocks noGrp="1"/>
          </p:cNvSpPr>
          <p:nvPr>
            <p:ph type="dt" sz="half" idx="10"/>
          </p:nvPr>
        </p:nvSpPr>
        <p:spPr/>
        <p:txBody>
          <a:bodyPr/>
          <a:lstStyle>
            <a:lvl1pPr>
              <a:defRPr>
                <a:solidFill>
                  <a:srgbClr val="5F5F5F"/>
                </a:solidFill>
              </a:defRPr>
            </a:lvl1pPr>
          </a:lstStyle>
          <a:p>
            <a:fld id="{D061FBC3-B3BC-0343-8C44-083187317F83}"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spTree>
    <p:extLst>
      <p:ext uri="{BB962C8B-B14F-4D97-AF65-F5344CB8AC3E}">
        <p14:creationId xmlns:p14="http://schemas.microsoft.com/office/powerpoint/2010/main" val="2538775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7E3EDE-07F9-F543-A57F-B068A6C6C2E7}"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148856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AF0846-A068-BC48-8252-2B37F39F59F8}"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76083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68BD323E-1AA8-9945-A9F0-CB54A017EE50}"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65040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dirty="0"/>
          </a:p>
        </p:txBody>
      </p:sp>
      <p:sp>
        <p:nvSpPr>
          <p:cNvPr id="12" name="Text Placeholder 11"/>
          <p:cNvSpPr>
            <a:spLocks noGrp="1"/>
          </p:cNvSpPr>
          <p:nvPr>
            <p:ph type="body" sz="quarter" idx="15"/>
          </p:nvPr>
        </p:nvSpPr>
        <p:spPr>
          <a:xfrm>
            <a:off x="2436810" y="1524001"/>
            <a:ext cx="3505202" cy="2011680"/>
          </a:xfrm>
        </p:spPr>
        <p:txBody>
          <a:bodyPr anchor="ctr">
            <a:noAutofit/>
          </a:bodyPr>
          <a:lstStyle>
            <a:lvl1pPr marL="0" indent="0">
              <a:spcBef>
                <a:spcPts val="1200"/>
              </a:spcBef>
              <a:buFont typeface="Arial" panose="020B0604020202020204" pitchFamily="34" charset="0"/>
              <a:buNone/>
              <a:defRPr sz="2400"/>
            </a:lvl1pPr>
            <a:lvl2pPr marL="171435" indent="-171435">
              <a:spcBef>
                <a:spcPts val="1200"/>
              </a:spcBef>
              <a:buFont typeface="Arial" panose="020B0604020202020204" pitchFamily="34" charset="0"/>
              <a:buChar char="•"/>
              <a:defRPr sz="2000"/>
            </a:lvl2pPr>
            <a:lvl3pPr marL="171435" indent="-171435">
              <a:spcBef>
                <a:spcPts val="1200"/>
              </a:spcBef>
              <a:buFont typeface="Arial" panose="020B0604020202020204" pitchFamily="34" charset="0"/>
              <a:buChar char="•"/>
              <a:defRPr sz="2000"/>
            </a:lvl3pPr>
            <a:lvl4pPr marL="171435" indent="-171435">
              <a:spcBef>
                <a:spcPts val="1200"/>
              </a:spcBef>
              <a:buFont typeface="Arial" panose="020B0604020202020204" pitchFamily="34" charset="0"/>
              <a:buChar char="•"/>
              <a:defRPr sz="2000"/>
            </a:lvl4pPr>
            <a:lvl5pPr marL="171435" indent="-171435">
              <a:spcBef>
                <a:spcPts val="1200"/>
              </a:spcBef>
              <a:buFont typeface="Arial" panose="020B0604020202020204" pitchFamily="34" charset="0"/>
              <a:buChar char="•"/>
              <a:defRPr sz="2000"/>
            </a:lvl5pPr>
            <a:lvl6pPr marL="171435" indent="-171435">
              <a:spcBef>
                <a:spcPts val="1200"/>
              </a:spcBef>
              <a:buFont typeface="Arial" panose="020B0604020202020204" pitchFamily="34" charset="0"/>
              <a:buChar char="•"/>
              <a:defRPr sz="2000"/>
            </a:lvl6pPr>
            <a:lvl7pPr marL="171435" indent="-171435">
              <a:spcBef>
                <a:spcPts val="1200"/>
              </a:spcBef>
              <a:buFont typeface="Arial" panose="020B0604020202020204" pitchFamily="34" charset="0"/>
              <a:buChar char="•"/>
              <a:defRPr sz="2000"/>
            </a:lvl7pPr>
            <a:lvl8pPr marL="171435" indent="-171435">
              <a:spcBef>
                <a:spcPts val="1200"/>
              </a:spcBef>
              <a:buFont typeface="Arial" panose="020B0604020202020204" pitchFamily="34" charset="0"/>
              <a:buChar char="•"/>
              <a:defRPr sz="2000"/>
            </a:lvl8pPr>
            <a:lvl9pPr marL="171435" indent="-171435">
              <a:spcBef>
                <a:spcPts val="1200"/>
              </a:spcBef>
              <a:buFont typeface="Arial" panose="020B0604020202020204" pitchFamily="34" charset="0"/>
              <a:buChar char="•"/>
              <a:defRPr sz="2000"/>
            </a:lvl9pPr>
          </a:lstStyle>
          <a:p>
            <a:pPr lvl="0"/>
            <a:r>
              <a:rPr lang="en-US" smtClean="0"/>
              <a:t>Click to edit Master text styles</a:t>
            </a: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2" cy="2011680"/>
          </a:xfrm>
        </p:spPr>
        <p:txBody>
          <a:bodyPr anchor="ctr">
            <a:noAutofit/>
          </a:bodyPr>
          <a:lstStyle>
            <a:lvl1pPr marL="0" indent="0">
              <a:spcBef>
                <a:spcPts val="1200"/>
              </a:spcBef>
              <a:buFont typeface="Arial" panose="020B0604020202020204" pitchFamily="34" charset="0"/>
              <a:buNone/>
              <a:defRPr sz="2400"/>
            </a:lvl1pPr>
            <a:lvl2pPr marL="171435" indent="-171435">
              <a:spcBef>
                <a:spcPts val="1200"/>
              </a:spcBef>
              <a:buFont typeface="Arial" panose="020B0604020202020204" pitchFamily="34" charset="0"/>
              <a:buChar char="•"/>
              <a:defRPr sz="2000"/>
            </a:lvl2pPr>
            <a:lvl3pPr marL="171435" indent="-171435">
              <a:spcBef>
                <a:spcPts val="1200"/>
              </a:spcBef>
              <a:buFont typeface="Arial" panose="020B0604020202020204" pitchFamily="34" charset="0"/>
              <a:buChar char="•"/>
              <a:defRPr sz="2000"/>
            </a:lvl3pPr>
            <a:lvl4pPr marL="171435" indent="-171435">
              <a:spcBef>
                <a:spcPts val="1200"/>
              </a:spcBef>
              <a:buFont typeface="Arial" panose="020B0604020202020204" pitchFamily="34" charset="0"/>
              <a:buChar char="•"/>
              <a:defRPr sz="2000"/>
            </a:lvl4pPr>
            <a:lvl5pPr marL="171435" indent="-171435">
              <a:spcBef>
                <a:spcPts val="1200"/>
              </a:spcBef>
              <a:buFont typeface="Arial" panose="020B0604020202020204" pitchFamily="34" charset="0"/>
              <a:buChar char="•"/>
              <a:defRPr sz="2000"/>
            </a:lvl5pPr>
            <a:lvl6pPr marL="171435" indent="-171435">
              <a:spcBef>
                <a:spcPts val="1200"/>
              </a:spcBef>
              <a:buFont typeface="Arial" panose="020B0604020202020204" pitchFamily="34" charset="0"/>
              <a:buChar char="•"/>
              <a:defRPr sz="2000"/>
            </a:lvl6pPr>
            <a:lvl7pPr marL="171435" indent="-171435">
              <a:spcBef>
                <a:spcPts val="1200"/>
              </a:spcBef>
              <a:buFont typeface="Arial" panose="020B0604020202020204" pitchFamily="34" charset="0"/>
              <a:buChar char="•"/>
              <a:defRPr sz="2000"/>
            </a:lvl7pPr>
            <a:lvl8pPr marL="171435" indent="-171435">
              <a:spcBef>
                <a:spcPts val="1200"/>
              </a:spcBef>
              <a:buFont typeface="Arial" panose="020B0604020202020204" pitchFamily="34" charset="0"/>
              <a:buChar char="•"/>
              <a:defRPr sz="2000"/>
            </a:lvl8pPr>
            <a:lvl9pPr marL="171435" indent="-171435">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7" name="Text Placeholder 11"/>
          <p:cNvSpPr>
            <a:spLocks noGrp="1"/>
          </p:cNvSpPr>
          <p:nvPr>
            <p:ph type="body" sz="quarter" idx="17"/>
          </p:nvPr>
        </p:nvSpPr>
        <p:spPr>
          <a:xfrm>
            <a:off x="2436810" y="3931920"/>
            <a:ext cx="3505202" cy="2011680"/>
          </a:xfrm>
        </p:spPr>
        <p:txBody>
          <a:bodyPr anchor="ctr">
            <a:noAutofit/>
          </a:bodyPr>
          <a:lstStyle>
            <a:lvl1pPr marL="0" indent="0">
              <a:spcBef>
                <a:spcPts val="1200"/>
              </a:spcBef>
              <a:buFont typeface="Arial" panose="020B0604020202020204" pitchFamily="34" charset="0"/>
              <a:buNone/>
              <a:defRPr sz="2400"/>
            </a:lvl1pPr>
            <a:lvl2pPr marL="171435" indent="-171435">
              <a:spcBef>
                <a:spcPts val="1200"/>
              </a:spcBef>
              <a:buFont typeface="Arial" panose="020B0604020202020204" pitchFamily="34" charset="0"/>
              <a:buChar char="•"/>
              <a:defRPr sz="2000"/>
            </a:lvl2pPr>
            <a:lvl3pPr marL="171435" indent="-171435">
              <a:spcBef>
                <a:spcPts val="1200"/>
              </a:spcBef>
              <a:buFont typeface="Arial" panose="020B0604020202020204" pitchFamily="34" charset="0"/>
              <a:buChar char="•"/>
              <a:defRPr sz="2000"/>
            </a:lvl3pPr>
            <a:lvl4pPr marL="171435" indent="-171435">
              <a:spcBef>
                <a:spcPts val="1200"/>
              </a:spcBef>
              <a:buFont typeface="Arial" panose="020B0604020202020204" pitchFamily="34" charset="0"/>
              <a:buChar char="•"/>
              <a:defRPr sz="2000"/>
            </a:lvl4pPr>
            <a:lvl5pPr marL="171435" indent="-171435">
              <a:spcBef>
                <a:spcPts val="1200"/>
              </a:spcBef>
              <a:buFont typeface="Arial" panose="020B0604020202020204" pitchFamily="34" charset="0"/>
              <a:buChar char="•"/>
              <a:defRPr sz="2000"/>
            </a:lvl5pPr>
            <a:lvl6pPr marL="171435" indent="-171435">
              <a:spcBef>
                <a:spcPts val="1200"/>
              </a:spcBef>
              <a:buFont typeface="Arial" panose="020B0604020202020204" pitchFamily="34" charset="0"/>
              <a:buChar char="•"/>
              <a:defRPr sz="2000"/>
            </a:lvl6pPr>
            <a:lvl7pPr marL="171435" indent="-171435">
              <a:spcBef>
                <a:spcPts val="1200"/>
              </a:spcBef>
              <a:buFont typeface="Arial" panose="020B0604020202020204" pitchFamily="34" charset="0"/>
              <a:buChar char="•"/>
              <a:defRPr sz="2000"/>
            </a:lvl7pPr>
            <a:lvl8pPr marL="171435" indent="-171435">
              <a:spcBef>
                <a:spcPts val="1200"/>
              </a:spcBef>
              <a:buFont typeface="Arial" panose="020B0604020202020204" pitchFamily="34" charset="0"/>
              <a:buChar char="•"/>
              <a:defRPr sz="2000"/>
            </a:lvl8pPr>
            <a:lvl9pPr marL="171435" indent="-171435">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2" cy="2011680"/>
          </a:xfrm>
        </p:spPr>
        <p:txBody>
          <a:bodyPr anchor="ctr">
            <a:noAutofit/>
          </a:bodyPr>
          <a:lstStyle>
            <a:lvl1pPr marL="0" indent="0">
              <a:spcBef>
                <a:spcPts val="1200"/>
              </a:spcBef>
              <a:buFont typeface="Arial" panose="020B0604020202020204" pitchFamily="34" charset="0"/>
              <a:buNone/>
              <a:defRPr sz="2400"/>
            </a:lvl1pPr>
            <a:lvl2pPr marL="171435" indent="-171435">
              <a:spcBef>
                <a:spcPts val="1200"/>
              </a:spcBef>
              <a:buFont typeface="Arial" panose="020B0604020202020204" pitchFamily="34" charset="0"/>
              <a:buChar char="•"/>
              <a:defRPr sz="2000"/>
            </a:lvl2pPr>
            <a:lvl3pPr marL="171435" indent="-171435">
              <a:spcBef>
                <a:spcPts val="1200"/>
              </a:spcBef>
              <a:buFont typeface="Arial" panose="020B0604020202020204" pitchFamily="34" charset="0"/>
              <a:buChar char="•"/>
              <a:defRPr sz="2000"/>
            </a:lvl3pPr>
            <a:lvl4pPr marL="171435" indent="-171435">
              <a:spcBef>
                <a:spcPts val="1200"/>
              </a:spcBef>
              <a:buFont typeface="Arial" panose="020B0604020202020204" pitchFamily="34" charset="0"/>
              <a:buChar char="•"/>
              <a:defRPr sz="2000"/>
            </a:lvl4pPr>
            <a:lvl5pPr marL="171435" indent="-171435">
              <a:spcBef>
                <a:spcPts val="1200"/>
              </a:spcBef>
              <a:buFont typeface="Arial" panose="020B0604020202020204" pitchFamily="34" charset="0"/>
              <a:buChar char="•"/>
              <a:defRPr sz="2000"/>
            </a:lvl5pPr>
            <a:lvl6pPr marL="171435" indent="-171435">
              <a:spcBef>
                <a:spcPts val="1200"/>
              </a:spcBef>
              <a:buFont typeface="Arial" panose="020B0604020202020204" pitchFamily="34" charset="0"/>
              <a:buChar char="•"/>
              <a:defRPr sz="2000"/>
            </a:lvl6pPr>
            <a:lvl7pPr marL="171435" indent="-171435">
              <a:spcBef>
                <a:spcPts val="1200"/>
              </a:spcBef>
              <a:buFont typeface="Arial" panose="020B0604020202020204" pitchFamily="34" charset="0"/>
              <a:buChar char="•"/>
              <a:defRPr sz="2000"/>
            </a:lvl7pPr>
            <a:lvl8pPr marL="171435" indent="-171435">
              <a:spcBef>
                <a:spcPts val="1200"/>
              </a:spcBef>
              <a:buFont typeface="Arial" panose="020B0604020202020204" pitchFamily="34" charset="0"/>
              <a:buChar char="•"/>
              <a:defRPr sz="2000"/>
            </a:lvl8pPr>
            <a:lvl9pPr marL="171435" indent="-171435">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A3CED5-6656-4A7A-BB77-071ABD96C5A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42812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415182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47FD4AC-A98F-AB42-882B-C012365E1081}" type="datetime1">
              <a:rPr lang="en-US" smtClean="0">
                <a:solidFill>
                  <a:srgbClr val="58595B"/>
                </a:solidFill>
              </a:rPr>
              <a:pPr/>
              <a:t>11/10/2016</a:t>
            </a:fld>
            <a:endParaRPr lang="en-US">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lang="en-US">
              <a:solidFill>
                <a:srgbClr val="58595B"/>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8595B"/>
                </a:solidFill>
              </a:rPr>
              <a:pPr/>
              <a:t>‹#›</a:t>
            </a:fld>
            <a:endParaRPr lang="en-US">
              <a:solidFill>
                <a:srgbClr val="58595B"/>
              </a:solidFill>
            </a:endParaRPr>
          </a:p>
        </p:txBody>
      </p:sp>
    </p:spTree>
    <p:extLst>
      <p:ext uri="{BB962C8B-B14F-4D97-AF65-F5344CB8AC3E}">
        <p14:creationId xmlns:p14="http://schemas.microsoft.com/office/powerpoint/2010/main" val="58064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276A67-317E-FC4B-BB72-4636858DDF2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96995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90"/>
            <a:ext cx="10969924" cy="1025071"/>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1072183" y="1358904"/>
            <a:ext cx="10969943" cy="46143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1072183" y="800808"/>
            <a:ext cx="10969943" cy="406400"/>
          </a:xfrm>
        </p:spPr>
        <p:txBody>
          <a:bodyPr>
            <a:noAutofit/>
          </a:bodyPr>
          <a:lstStyle>
            <a:lvl1pPr marL="0" indent="0">
              <a:spcAft>
                <a:spcPts val="0"/>
              </a:spcAft>
              <a:buFontTx/>
              <a:buNone/>
              <a:defRPr sz="2700">
                <a:solidFill>
                  <a:schemeClr val="accent1"/>
                </a:solidFill>
              </a:defRPr>
            </a:lvl1pPr>
            <a:lvl2pPr marL="609392" indent="0">
              <a:buFontTx/>
              <a:buNone/>
              <a:defRPr/>
            </a:lvl2pPr>
            <a:lvl3pPr marL="1218784" indent="0">
              <a:buFontTx/>
              <a:buNone/>
              <a:defRPr/>
            </a:lvl3pPr>
            <a:lvl4pPr marL="1828176" indent="0">
              <a:buFontTx/>
              <a:buNone/>
              <a:defRPr/>
            </a:lvl4pPr>
            <a:lvl5pPr marL="2437568"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946869701"/>
      </p:ext>
    </p:extLst>
  </p:cSld>
  <p:clrMapOvr>
    <a:masterClrMapping/>
  </p:clrMapOvr>
  <p:transitio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2" y="2288587"/>
            <a:ext cx="5713413" cy="373121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23"/>
            <a:endParaRPr lang="en-US" sz="1800">
              <a:solidFill>
                <a:srgbClr val="FFFFFF"/>
              </a:solidFill>
            </a:endParaRPr>
          </a:p>
        </p:txBody>
      </p:sp>
      <p:sp>
        <p:nvSpPr>
          <p:cNvPr id="8" name="Rectangle 7"/>
          <p:cNvSpPr/>
          <p:nvPr userDrawn="1"/>
        </p:nvSpPr>
        <p:spPr bwMode="auto">
          <a:xfrm>
            <a:off x="2031" y="1542201"/>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5" tIns="61368" rIns="122735" bIns="61368" anchor="ctr"/>
          <a:lstStyle/>
          <a:p>
            <a:pPr marL="158710" indent="-158710" algn="ctr" defTabSz="914323">
              <a:defRPr/>
            </a:pPr>
            <a:endParaRPr lang="en-US" sz="53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7"/>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185874238"/>
      </p:ext>
    </p:extLst>
  </p:cSld>
  <p:clrMapOvr>
    <a:masterClrMapping/>
  </p:clrMapOvr>
  <p:transition spd="med">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2183" y="327387"/>
            <a:ext cx="10969924" cy="541860"/>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43" indent="0">
              <a:buFontTx/>
              <a:buNone/>
              <a:defRPr/>
            </a:lvl2pPr>
            <a:lvl3pPr marL="1218885" indent="0">
              <a:buFontTx/>
              <a:buNone/>
              <a:defRPr/>
            </a:lvl3pPr>
            <a:lvl4pPr marL="1828328" indent="0">
              <a:buFontTx/>
              <a:buNone/>
              <a:defRPr/>
            </a:lvl4pPr>
            <a:lvl5pPr marL="2437771"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964598446"/>
      </p:ext>
    </p:extLst>
  </p:cSld>
  <p:clrMapOvr>
    <a:masterClrMapping/>
  </p:clrMapOvr>
  <p:transition spd="med">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77103" y="1552230"/>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hasCustomPrompt="1"/>
          </p:nvPr>
        </p:nvSpPr>
        <p:spPr>
          <a:xfrm>
            <a:off x="1077105" y="878140"/>
            <a:ext cx="10849323" cy="424921"/>
          </a:xfrm>
        </p:spPr>
        <p:txBody>
          <a:bodyPr/>
          <a:lstStyle>
            <a:lvl1pPr marL="0" indent="0">
              <a:buNone/>
              <a:defRPr sz="3200">
                <a:solidFill>
                  <a:schemeClr val="tx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Tree>
    <p:extLst>
      <p:ext uri="{BB962C8B-B14F-4D97-AF65-F5344CB8AC3E}">
        <p14:creationId xmlns:p14="http://schemas.microsoft.com/office/powerpoint/2010/main" val="4052967242"/>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2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9"/>
            <a:ext cx="10969924" cy="1025071"/>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408156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DB0592DB-01ED-A44A-830D-2A57CD1AF06B}"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841130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4D813C46-5AAA-0045-A784-1D6C400A7C04}"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659845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2" name="Title 1" descr="A large metric can be called out here in font size 166pt, Calibri"/>
          <p:cNvSpPr>
            <a:spLocks noGrp="1"/>
          </p:cNvSpPr>
          <p:nvPr>
            <p:ph type="title" hasCustomPrompt="1"/>
          </p:nvPr>
        </p:nvSpPr>
        <p:spPr>
          <a:xfrm>
            <a:off x="760415" y="1524000"/>
            <a:ext cx="4076699" cy="2743200"/>
          </a:xfrm>
        </p:spPr>
        <p:txBody>
          <a:bodyPr anchor="ctr"/>
          <a:lstStyle>
            <a:lvl1pPr algn="r">
              <a:defRPr sz="16700" b="1">
                <a:solidFill>
                  <a:schemeClr val="accent5"/>
                </a:solidFill>
              </a:defRPr>
            </a:lvl1pPr>
          </a:lstStyle>
          <a:p>
            <a:r>
              <a:rPr lang="en-US" dirty="0" smtClean="0"/>
              <a:t>XX</a:t>
            </a:r>
            <a:endParaRPr lang="en-US" dirty="0"/>
          </a:p>
        </p:txBody>
      </p:sp>
      <p:sp>
        <p:nvSpPr>
          <p:cNvPr id="12" name="Text Placeholder 11"/>
          <p:cNvSpPr>
            <a:spLocks noGrp="1"/>
          </p:cNvSpPr>
          <p:nvPr>
            <p:ph type="body" sz="quarter" idx="15"/>
          </p:nvPr>
        </p:nvSpPr>
        <p:spPr>
          <a:xfrm>
            <a:off x="5256214" y="1524000"/>
            <a:ext cx="5029201" cy="2743200"/>
          </a:xfrm>
        </p:spPr>
        <p:txBody>
          <a:bodyPr anchor="ctr">
            <a:noAutofit/>
          </a:bodyPr>
          <a:lstStyle>
            <a:lvl1pPr marL="0" indent="0">
              <a:spcBef>
                <a:spcPts val="1200"/>
              </a:spcBef>
              <a:buFont typeface="Arial" panose="020B0604020202020204" pitchFamily="34" charset="0"/>
              <a:buNone/>
              <a:defRPr sz="2800"/>
            </a:lvl1pPr>
            <a:lvl2pPr marL="171435" indent="-171435">
              <a:spcBef>
                <a:spcPts val="1200"/>
              </a:spcBef>
              <a:buFont typeface="Arial" panose="020B0604020202020204" pitchFamily="34" charset="0"/>
              <a:buChar char="•"/>
              <a:defRPr sz="2000"/>
            </a:lvl2pPr>
            <a:lvl3pPr marL="171435" indent="-171435">
              <a:spcBef>
                <a:spcPts val="1200"/>
              </a:spcBef>
              <a:buFont typeface="Arial" panose="020B0604020202020204" pitchFamily="34" charset="0"/>
              <a:buChar char="•"/>
              <a:defRPr sz="2000"/>
            </a:lvl3pPr>
            <a:lvl4pPr marL="171435" indent="-171435">
              <a:spcBef>
                <a:spcPts val="1200"/>
              </a:spcBef>
              <a:buFont typeface="Arial" panose="020B0604020202020204" pitchFamily="34" charset="0"/>
              <a:buChar char="•"/>
              <a:defRPr sz="2000"/>
            </a:lvl4pPr>
            <a:lvl5pPr marL="171435" indent="-171435">
              <a:spcBef>
                <a:spcPts val="1200"/>
              </a:spcBef>
              <a:buFont typeface="Arial" panose="020B0604020202020204" pitchFamily="34" charset="0"/>
              <a:buChar char="•"/>
              <a:defRPr sz="2000"/>
            </a:lvl5pPr>
            <a:lvl6pPr marL="171435" indent="-171435">
              <a:spcBef>
                <a:spcPts val="1200"/>
              </a:spcBef>
              <a:buFont typeface="Arial" panose="020B0604020202020204" pitchFamily="34" charset="0"/>
              <a:buChar char="•"/>
              <a:defRPr sz="2000"/>
            </a:lvl6pPr>
            <a:lvl7pPr marL="171435" indent="-171435">
              <a:spcBef>
                <a:spcPts val="1200"/>
              </a:spcBef>
              <a:buFont typeface="Arial" panose="020B0604020202020204" pitchFamily="34" charset="0"/>
              <a:buChar char="•"/>
              <a:defRPr sz="2000"/>
            </a:lvl7pPr>
            <a:lvl8pPr marL="171435" indent="-171435">
              <a:spcBef>
                <a:spcPts val="1200"/>
              </a:spcBef>
              <a:buFont typeface="Arial" panose="020B0604020202020204" pitchFamily="34" charset="0"/>
              <a:buChar char="•"/>
              <a:defRPr sz="2000"/>
            </a:lvl8pPr>
            <a:lvl9pPr marL="171435" indent="-171435">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A3CED5-6656-4A7A-BB77-071ABD96C5A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73938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Custom Title Slide: Grey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58595B"/>
                </a:solidFill>
              </a:rPr>
              <a:pPr/>
              <a:t>11/10/2016</a:t>
            </a:fld>
            <a:endParaRPr lang="en-US" dirty="0">
              <a:solidFill>
                <a:srgbClr val="58595B"/>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58595B"/>
                </a:solidFill>
              </a:rPr>
              <a:t>Confidential – Oracle Internal/Restricted/Highly Restricted</a:t>
            </a:r>
            <a:endParaRPr lang="en-US" dirty="0">
              <a:solidFill>
                <a:srgbClr val="58595B"/>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54253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Custom Title Slide: Red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9004644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Custom Title Slide with Primary Event Impress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31814" y="739775"/>
            <a:ext cx="804531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04531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04531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009219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Custom 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4" name="Rectangle 13"/>
          <p:cNvSpPr/>
          <p:nvPr userDrawn="1"/>
        </p:nvSpPr>
        <p:spPr bwMode="white">
          <a:xfrm>
            <a:off x="9984628" y="4608094"/>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10056441" y="4815117"/>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Tree>
    <p:extLst>
      <p:ext uri="{BB962C8B-B14F-4D97-AF65-F5344CB8AC3E}">
        <p14:creationId xmlns:p14="http://schemas.microsoft.com/office/powerpoint/2010/main" val="74145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1" name="Rectangle 20" descr="Full slide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5904" cy="6858000"/>
          </a:xfrm>
          <a:prstGeom prst="rect">
            <a:avLst/>
          </a:prstGeom>
        </p:spPr>
      </p:pic>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7" name="Rectangle 16"/>
          <p:cNvSpPr/>
          <p:nvPr userDrawn="1"/>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20" name="Rectangle 19"/>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Tree>
    <p:extLst>
      <p:ext uri="{BB962C8B-B14F-4D97-AF65-F5344CB8AC3E}">
        <p14:creationId xmlns:p14="http://schemas.microsoft.com/office/powerpoint/2010/main" val="3363223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cstate="print"/>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8072916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292841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5190EDF2-7744-3443-B3CB-57655E386FA4}"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313047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8926090-F7DD-7C47-A7A5-57C7ADACE0E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638483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996FA26-999E-144A-B9D6-0275E6EB9A1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233342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6" y="739778"/>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p>
            <a:fld id="{BCD2CDC6-9352-4ED5-B272-74DDB6DCFEAF}"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11" name="TextBox 10"/>
          <p:cNvSpPr txBox="1"/>
          <p:nvPr/>
        </p:nvSpPr>
        <p:spPr>
          <a:xfrm>
            <a:off x="5989641" y="6556248"/>
            <a:ext cx="2787651" cy="182880"/>
          </a:xfrm>
          <a:prstGeom prst="rect">
            <a:avLst/>
          </a:prstGeom>
          <a:noFill/>
        </p:spPr>
        <p:txBody>
          <a:bodyPr wrap="none" lIns="0" tIns="0" rIns="0" bIns="0" rtlCol="0" anchor="ctr" anchorCtr="0">
            <a:noAutofit/>
          </a:bodyPr>
          <a:lstStyle/>
          <a:p>
            <a:pPr defTabSz="914323"/>
            <a:r>
              <a:rPr sz="800" dirty="0">
                <a:solidFill>
                  <a:srgbClr val="5F5F5F">
                    <a:lumMod val="60000"/>
                    <a:lumOff val="40000"/>
                  </a:srgbClr>
                </a:solidFill>
              </a:rPr>
              <a:t>Copyright © </a:t>
            </a:r>
            <a:r>
              <a:rPr sz="800" dirty="0" smtClean="0">
                <a:solidFill>
                  <a:srgbClr val="5F5F5F">
                    <a:lumMod val="60000"/>
                    <a:lumOff val="40000"/>
                  </a:srgbClr>
                </a:solidFill>
              </a:rPr>
              <a:t>201</a:t>
            </a:r>
            <a:r>
              <a:rPr lang="en-US" sz="800" dirty="0" smtClean="0">
                <a:solidFill>
                  <a:srgbClr val="5F5F5F">
                    <a:lumMod val="60000"/>
                    <a:lumOff val="40000"/>
                  </a:srgbClr>
                </a:solidFill>
              </a:rPr>
              <a:t>6</a:t>
            </a:r>
            <a:r>
              <a:rPr sz="800" dirty="0" smtClean="0">
                <a:solidFill>
                  <a:srgbClr val="5F5F5F">
                    <a:lumMod val="60000"/>
                    <a:lumOff val="40000"/>
                  </a:srgbClr>
                </a:solidFill>
              </a:rPr>
              <a:t> </a:t>
            </a:r>
            <a:r>
              <a:rPr sz="800" dirty="0">
                <a:solidFill>
                  <a:srgbClr val="5F5F5F">
                    <a:lumMod val="60000"/>
                    <a:lumOff val="40000"/>
                  </a:srgbClr>
                </a:solidFill>
              </a:rPr>
              <a:t>Oracle and/or its affiliates. All rights reserved.  |</a:t>
            </a:r>
          </a:p>
        </p:txBody>
      </p:sp>
      <p:sp>
        <p:nvSpPr>
          <p:cNvPr id="6" name="Slide Number Placeholder 5"/>
          <p:cNvSpPr>
            <a:spLocks noGrp="1"/>
          </p:cNvSpPr>
          <p:nvPr>
            <p:ph type="sldNum" sz="quarter" idx="12"/>
          </p:nvPr>
        </p:nvSpPr>
        <p:spPr>
          <a:xfrm>
            <a:off x="11276012" y="6934200"/>
            <a:ext cx="381661" cy="182880"/>
          </a:xfrm>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9" name="Oracle red badge logo"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ltGray">
          <a:xfrm>
            <a:off x="531814" y="6263640"/>
            <a:ext cx="1622861" cy="594360"/>
          </a:xfrm>
          <a:prstGeom prst="rect">
            <a:avLst/>
          </a:prstGeom>
        </p:spPr>
      </p:pic>
    </p:spTree>
    <p:extLst>
      <p:ext uri="{BB962C8B-B14F-4D97-AF65-F5344CB8AC3E}">
        <p14:creationId xmlns:p14="http://schemas.microsoft.com/office/powerpoint/2010/main" val="2404157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Text Placeholder 2"/>
          <p:cNvSpPr>
            <a:spLocks noGrp="1"/>
          </p:cNvSpPr>
          <p:nvPr>
            <p:ph type="body" idx="1"/>
          </p:nvPr>
        </p:nvSpPr>
        <p:spPr>
          <a:xfrm>
            <a:off x="531812" y="1524000"/>
            <a:ext cx="5413249" cy="762000"/>
          </a:xfrm>
        </p:spPr>
        <p:txBody>
          <a:bodyPr anchor="ctr">
            <a:noAutofit/>
          </a:bodyPr>
          <a:lstStyle>
            <a:lvl1pPr marL="0" indent="0">
              <a:spcBef>
                <a:spcPts val="0"/>
              </a:spcBef>
              <a:buNone/>
              <a:defRPr sz="2800" b="1"/>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9" cy="3581400"/>
          </a:xfrm>
        </p:spPr>
        <p:txBody>
          <a:bodyPr>
            <a:noAutofit/>
          </a:bodyPr>
          <a:lstStyle>
            <a:lvl1pPr>
              <a:defRPr sz="2800"/>
            </a:lvl1pPr>
            <a:lvl2pPr>
              <a:defRPr sz="2400"/>
            </a:lvl2pPr>
            <a:lvl3pPr>
              <a:defRPr sz="2000"/>
            </a:lvl3pPr>
            <a:lvl4pPr>
              <a:defRPr sz="19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3"/>
          </p:nvPr>
        </p:nvSpPr>
        <p:spPr>
          <a:xfrm>
            <a:off x="6243764" y="1524000"/>
            <a:ext cx="5413249" cy="762000"/>
          </a:xfrm>
        </p:spPr>
        <p:txBody>
          <a:bodyPr anchor="ctr">
            <a:noAutofit/>
          </a:bodyPr>
          <a:lstStyle>
            <a:lvl1pPr marL="0" indent="0">
              <a:spcBef>
                <a:spcPts val="0"/>
              </a:spcBef>
              <a:buNone/>
              <a:defRPr sz="2800" b="1"/>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9" cy="3581400"/>
          </a:xfrm>
        </p:spPr>
        <p:txBody>
          <a:bodyPr>
            <a:noAutofit/>
          </a:bodyPr>
          <a:lstStyle>
            <a:lvl1pPr>
              <a:defRPr sz="2800"/>
            </a:lvl1pPr>
            <a:lvl2pPr>
              <a:defRPr sz="2400"/>
            </a:lvl2pPr>
            <a:lvl3pPr>
              <a:defRPr sz="2000"/>
            </a:lvl3pPr>
            <a:lvl4pPr>
              <a:defRPr sz="19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noAutofit/>
          </a:bodyPr>
          <a:lstStyle/>
          <a:p>
            <a:fld id="{35287FB7-DD26-4AD5-8D24-298016D86790}"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8" name="Footer Placeholder 7"/>
          <p:cNvSpPr>
            <a:spLocks noGrp="1"/>
          </p:cNvSpPr>
          <p:nvPr>
            <p:ph type="ftr" sz="quarter" idx="11"/>
          </p:nvPr>
        </p:nvSpPr>
        <p:spPr>
          <a:xfrm>
            <a:off x="8777290" y="6556248"/>
            <a:ext cx="2498722" cy="182880"/>
          </a:xfrm>
          <a:prstGeom prst="rect">
            <a:avLst/>
          </a:prstGeom>
        </p:spPr>
        <p:txBody>
          <a:bodyPr>
            <a:noAutofit/>
          </a:bodyPr>
          <a:lstStyle/>
          <a:p>
            <a:r>
              <a:rPr dirty="0">
                <a:solidFill>
                  <a:srgbClr val="5F5F5F">
                    <a:lumMod val="60000"/>
                    <a:lumOff val="40000"/>
                  </a:srgbClr>
                </a:solidFill>
              </a:rPr>
              <a:t>Oracle Confidential – Internal/Restricted/Highly Restricted</a:t>
            </a:r>
          </a:p>
        </p:txBody>
      </p:sp>
      <p:sp>
        <p:nvSpPr>
          <p:cNvPr id="9" name="Slide Number Placeholder 8"/>
          <p:cNvSpPr>
            <a:spLocks noGrp="1"/>
          </p:cNvSpPr>
          <p:nvPr>
            <p:ph type="sldNum" sz="quarter" idx="12"/>
          </p:nvPr>
        </p:nvSpPr>
        <p:spPr/>
        <p:txBody>
          <a:bodyPr>
            <a:noAutofit/>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78700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154D1DD-7A94-3A44-A2B9-66FA7B1686B1}"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69585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ustom Section Header with Picture and Proclama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028" y="0"/>
            <a:ext cx="11649724" cy="6556247"/>
          </a:xfrm>
          <a:prstGeom prst="rect">
            <a:avLst/>
          </a:prstGeom>
        </p:spPr>
      </p:pic>
    </p:spTree>
    <p:extLst>
      <p:ext uri="{BB962C8B-B14F-4D97-AF65-F5344CB8AC3E}">
        <p14:creationId xmlns:p14="http://schemas.microsoft.com/office/powerpoint/2010/main" val="269440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bleed 4-color photo can be inserted here"/>
          <p:cNvSpPr/>
          <p:nvPr userDrawn="1"/>
        </p:nvSpPr>
        <p:spPr bwMode="hidden">
          <a:xfrm>
            <a:off x="285"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028" y="219001"/>
            <a:ext cx="11535344" cy="6488631"/>
          </a:xfrm>
          <a:prstGeom prst="rect">
            <a:avLst/>
          </a:prstGeom>
        </p:spPr>
      </p:pic>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80161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3F7589B-9BD6-8B45-A3F1-2069890F0F3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068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595728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216978-AAC9-904E-ABF1-80828AE7CA1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32268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4605984-D551-B648-83CC-28ABAB9E27F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8238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765FA284-DFBA-B546-A779-7827ED570E3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50532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25CFA18C-E322-D848-90AE-048444F0565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195110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D23F527-3A46-1444-AC47-E74332FAE46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450595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52D99EC-ABE5-42A5-B15B-B8C044BE7365}"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33769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E1F5459C-11CD-4246-BAA2-A0CD8B7930C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09991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B793641-39FE-9941-B493-4C6CA22258AD}"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83926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E6E0838-3E10-424A-93AC-472DD16011EC}"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294984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CB2A62B-A9A1-BD4B-8067-86DD35117CE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2"/>
                </a:solidFill>
              </a:defRPr>
            </a:lvl1pPr>
          </a:lstStyle>
          <a:p>
            <a:r>
              <a:rPr lang="en-US" dirty="0" smtClean="0"/>
              <a:t>XX</a:t>
            </a:r>
            <a:endParaRPr lang="en-US" dirty="0"/>
          </a:p>
        </p:txBody>
      </p:sp>
    </p:spTree>
    <p:extLst>
      <p:ext uri="{BB962C8B-B14F-4D97-AF65-F5344CB8AC3E}">
        <p14:creationId xmlns:p14="http://schemas.microsoft.com/office/powerpoint/2010/main" val="78372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3CFFFFBC-830B-BE48-A60F-3A3B7341FF90}" type="datetime1">
              <a:rPr lang="en-US" smtClean="0">
                <a:solidFill>
                  <a:srgbClr val="58595B"/>
                </a:solidFill>
              </a:rPr>
              <a:pPr/>
              <a:t>11/10/2016</a:t>
            </a:fld>
            <a:endParaRPr dirty="0">
              <a:solidFill>
                <a:srgbClr val="58595B"/>
              </a:solidFill>
            </a:endParaRPr>
          </a:p>
        </p:txBody>
      </p:sp>
      <p:sp>
        <p:nvSpPr>
          <p:cNvPr id="8" name="Footer Placeholder 7"/>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9" name="Slide Number Placeholder 8"/>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82170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39A174-1ADF-1E48-B6DD-36515CA54732}"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7908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F9DE5E5-CA66-5940-9D1C-9F6D8D7529FE}"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2545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19AFBF-606B-E543-8502-3BFA1F086CBC}"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405431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0AF893-3E10-FD41-AEC9-8B3D0A4A185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65781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325C25-20DE-A84C-A42C-F77161DB4A9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67349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dirty="0"/>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3" name="Date Placeholder 2"/>
          <p:cNvSpPr>
            <a:spLocks noGrp="1"/>
          </p:cNvSpPr>
          <p:nvPr>
            <p:ph type="dt" sz="half" idx="10"/>
          </p:nvPr>
        </p:nvSpPr>
        <p:spPr/>
        <p:txBody>
          <a:bodyPr/>
          <a:lstStyle/>
          <a:p>
            <a:fld id="{CD2D53DD-9B43-42E6-B664-927F3AEBDA21}"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416362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95EB4F4-FDFD-ED43-860C-BD557FEEC804}"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75711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40CA68-5E1D-2648-A796-3AC679BBE128}"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54476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DA38B655-5B37-774F-952B-2EF42A45362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850231"/>
            <a:ext cx="5246688" cy="396954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937685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E63E8679-970F-0E44-9FB8-4B88F38302E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747673" y="1013144"/>
            <a:ext cx="3962137" cy="5252348"/>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3" name="Picture 12"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369097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8B482C15-144D-5047-A5F1-7D99D84BBFB0}"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975104"/>
            <a:ext cx="5248656" cy="3328416"/>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89056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F8E68280-77B5-7046-8002-0C2A6FF60231}"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9" name="Picture 18"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120231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p:cNvSpPr/>
          <p:nvPr/>
        </p:nvSpPr>
        <p:spPr bwMode="hidden">
          <a:xfrm>
            <a:off x="0" y="0"/>
            <a:ext cx="12188825" cy="6858000"/>
          </a:xfrm>
          <a:prstGeom prst="rect">
            <a:avLst/>
          </a:prstGeom>
          <a:gradFill>
            <a:gsLst>
              <a:gs pos="34000">
                <a:srgbClr val="46575E">
                  <a:alpha val="50000"/>
                </a:srgbClr>
              </a:gs>
              <a:gs pos="52000">
                <a:srgbClr val="46575E">
                  <a:alpha val="40000"/>
                </a:srgbClr>
              </a:gs>
              <a:gs pos="100000">
                <a:srgbClr val="46575E">
                  <a:alpha val="4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15" name="Group 14"/>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Rectangle 20"/>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pic>
        <p:nvPicPr>
          <p:cNvPr id="23" name="Picture 22"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5" name="Date Placeholder 4"/>
          <p:cNvSpPr>
            <a:spLocks noGrp="1"/>
          </p:cNvSpPr>
          <p:nvPr>
            <p:ph type="dt" sz="half" idx="10"/>
          </p:nvPr>
        </p:nvSpPr>
        <p:spPr/>
        <p:txBody>
          <a:bodyPr/>
          <a:lstStyle>
            <a:lvl1pPr>
              <a:defRPr>
                <a:solidFill>
                  <a:srgbClr val="5F5F5F"/>
                </a:solidFill>
              </a:defRPr>
            </a:lvl1pPr>
          </a:lstStyle>
          <a:p>
            <a:fld id="{D061FBC3-B3BC-0343-8C44-083187317F83}"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spTree>
    <p:extLst>
      <p:ext uri="{BB962C8B-B14F-4D97-AF65-F5344CB8AC3E}">
        <p14:creationId xmlns:p14="http://schemas.microsoft.com/office/powerpoint/2010/main" val="3666857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7E3EDE-07F9-F543-A57F-B068A6C6C2E7}"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71932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AF0846-A068-BC48-8252-2B37F39F59F8}"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408999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68BD323E-1AA8-9945-A9F0-CB54A017EE50}"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23448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53D265-744D-4F8C-A86B-A5B53F14B0D6}"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3" name="Footer Placeholder 2"/>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60822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356613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47FD4AC-A98F-AB42-882B-C012365E1081}" type="datetime1">
              <a:rPr lang="en-US" smtClean="0">
                <a:solidFill>
                  <a:srgbClr val="58595B"/>
                </a:solidFill>
              </a:rPr>
              <a:pPr/>
              <a:t>11/10/2016</a:t>
            </a:fld>
            <a:endParaRPr lang="en-US">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lang="en-US">
              <a:solidFill>
                <a:srgbClr val="58595B"/>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8595B"/>
                </a:solidFill>
              </a:rPr>
              <a:pPr/>
              <a:t>‹#›</a:t>
            </a:fld>
            <a:endParaRPr lang="en-US">
              <a:solidFill>
                <a:srgbClr val="58595B"/>
              </a:solidFill>
            </a:endParaRPr>
          </a:p>
        </p:txBody>
      </p:sp>
    </p:spTree>
    <p:extLst>
      <p:ext uri="{BB962C8B-B14F-4D97-AF65-F5344CB8AC3E}">
        <p14:creationId xmlns:p14="http://schemas.microsoft.com/office/powerpoint/2010/main" val="24347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276A67-317E-FC4B-BB72-4636858DDF2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417411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90"/>
            <a:ext cx="10969924" cy="1025071"/>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1072183" y="1358904"/>
            <a:ext cx="10969943" cy="46143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1072183" y="800808"/>
            <a:ext cx="10969943" cy="406400"/>
          </a:xfrm>
        </p:spPr>
        <p:txBody>
          <a:bodyPr>
            <a:noAutofit/>
          </a:bodyPr>
          <a:lstStyle>
            <a:lvl1pPr marL="0" indent="0">
              <a:spcAft>
                <a:spcPts val="0"/>
              </a:spcAft>
              <a:buFontTx/>
              <a:buNone/>
              <a:defRPr sz="2700">
                <a:solidFill>
                  <a:schemeClr val="accent1"/>
                </a:solidFill>
              </a:defRPr>
            </a:lvl1pPr>
            <a:lvl2pPr marL="609392" indent="0">
              <a:buFontTx/>
              <a:buNone/>
              <a:defRPr/>
            </a:lvl2pPr>
            <a:lvl3pPr marL="1218784" indent="0">
              <a:buFontTx/>
              <a:buNone/>
              <a:defRPr/>
            </a:lvl3pPr>
            <a:lvl4pPr marL="1828176" indent="0">
              <a:buFontTx/>
              <a:buNone/>
              <a:defRPr/>
            </a:lvl4pPr>
            <a:lvl5pPr marL="2437568"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3078172678"/>
      </p:ext>
    </p:extLst>
  </p:cSld>
  <p:clrMapOvr>
    <a:masterClrMapping/>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2" y="2288587"/>
            <a:ext cx="5713413" cy="373121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23"/>
            <a:endParaRPr lang="en-US" sz="1800">
              <a:solidFill>
                <a:srgbClr val="FFFFFF"/>
              </a:solidFill>
            </a:endParaRPr>
          </a:p>
        </p:txBody>
      </p:sp>
      <p:sp>
        <p:nvSpPr>
          <p:cNvPr id="8" name="Rectangle 7"/>
          <p:cNvSpPr/>
          <p:nvPr userDrawn="1"/>
        </p:nvSpPr>
        <p:spPr bwMode="auto">
          <a:xfrm>
            <a:off x="2031" y="1542201"/>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5" tIns="61368" rIns="122735" bIns="61368" anchor="ctr"/>
          <a:lstStyle/>
          <a:p>
            <a:pPr marL="158710" indent="-158710" algn="ctr" defTabSz="914323">
              <a:defRPr/>
            </a:pPr>
            <a:endParaRPr lang="en-US" sz="53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7"/>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2195655808"/>
      </p:ext>
    </p:extLst>
  </p:cSld>
  <p:clrMapOvr>
    <a:masterClrMapping/>
  </p:clrMapOvr>
  <p:transition spd="med">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2183" y="327387"/>
            <a:ext cx="10969924" cy="541860"/>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43" indent="0">
              <a:buFontTx/>
              <a:buNone/>
              <a:defRPr/>
            </a:lvl2pPr>
            <a:lvl3pPr marL="1218885" indent="0">
              <a:buFontTx/>
              <a:buNone/>
              <a:defRPr/>
            </a:lvl3pPr>
            <a:lvl4pPr marL="1828328" indent="0">
              <a:buFontTx/>
              <a:buNone/>
              <a:defRPr/>
            </a:lvl4pPr>
            <a:lvl5pPr marL="2437771" indent="0">
              <a:buFontTx/>
              <a:buNone/>
              <a:defRPr/>
            </a:lvl5pPr>
          </a:lstStyle>
          <a:p>
            <a:pPr lvl="0"/>
            <a:r>
              <a:rPr lang="en-US" smtClean="0"/>
              <a:t>Click to edit Master text styles</a:t>
            </a:r>
          </a:p>
        </p:txBody>
      </p:sp>
    </p:spTree>
    <p:extLst>
      <p:ext uri="{BB962C8B-B14F-4D97-AF65-F5344CB8AC3E}">
        <p14:creationId xmlns:p14="http://schemas.microsoft.com/office/powerpoint/2010/main" val="352522291"/>
      </p:ext>
    </p:extLst>
  </p:cSld>
  <p:clrMapOvr>
    <a:masterClrMapping/>
  </p:clrMapOvr>
  <p:transition spd="med">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77103" y="1552230"/>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hasCustomPrompt="1"/>
          </p:nvPr>
        </p:nvSpPr>
        <p:spPr>
          <a:xfrm>
            <a:off x="1077105" y="878140"/>
            <a:ext cx="10849323" cy="424921"/>
          </a:xfrm>
        </p:spPr>
        <p:txBody>
          <a:bodyPr/>
          <a:lstStyle>
            <a:lvl1pPr marL="0" indent="0">
              <a:buNone/>
              <a:defRPr sz="3200">
                <a:solidFill>
                  <a:schemeClr val="tx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Tree>
    <p:extLst>
      <p:ext uri="{BB962C8B-B14F-4D97-AF65-F5344CB8AC3E}">
        <p14:creationId xmlns:p14="http://schemas.microsoft.com/office/powerpoint/2010/main" val="4224375740"/>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2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9"/>
            <a:ext cx="10969924" cy="1025071"/>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2726540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DB0592DB-01ED-A44A-830D-2A57CD1AF06B}"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46693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4D813C46-5AAA-0045-A784-1D6C400A7C04}"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24617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Content Placeholder 2" descr="Chart using colors from the approved palette included here"/>
          <p:cNvSpPr>
            <a:spLocks noGrp="1"/>
          </p:cNvSpPr>
          <p:nvPr>
            <p:ph idx="1"/>
          </p:nvPr>
        </p:nvSpPr>
        <p:spPr>
          <a:xfrm>
            <a:off x="531662" y="1524000"/>
            <a:ext cx="7589520" cy="4419600"/>
          </a:xfrm>
        </p:spPr>
        <p:txBody>
          <a:bodyPr>
            <a:noAutofit/>
          </a:bodyPr>
          <a:lstStyle>
            <a:lvl1pPr>
              <a:defRPr sz="2800"/>
            </a:lvl1pPr>
            <a:lvl2pPr>
              <a:defRPr sz="2400"/>
            </a:lvl2pPr>
            <a:lvl3pPr>
              <a:defRPr sz="2000"/>
            </a:lvl3pPr>
            <a:lvl4pPr>
              <a:defRPr sz="19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879725" cy="4419600"/>
          </a:xfrm>
        </p:spPr>
        <p:txBody>
          <a:bodyPr>
            <a:noAutofit/>
          </a:bodyPr>
          <a:lstStyle>
            <a:lvl1pPr marL="0" indent="0">
              <a:buNone/>
              <a:defRPr sz="20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2C216A-5BF3-4B4A-AA09-367DB23952F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45785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Custom Title Slide: Grey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58595B"/>
                </a:solidFill>
              </a:rPr>
              <a:pPr/>
              <a:t>11/10/2016</a:t>
            </a:fld>
            <a:endParaRPr lang="en-US" dirty="0">
              <a:solidFill>
                <a:srgbClr val="58595B"/>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58595B"/>
                </a:solidFill>
              </a:rPr>
              <a:t>Confidential – Oracle Internal/Restricted/Highly Restricted</a:t>
            </a:r>
            <a:endParaRPr lang="en-US" dirty="0">
              <a:solidFill>
                <a:srgbClr val="58595B"/>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93179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Custom Title Slide: Red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552288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Custom Title Slide with Primary Event Impress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31814" y="739775"/>
            <a:ext cx="804531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04531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04531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4218397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Custom 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4" name="Rectangle 13"/>
          <p:cNvSpPr/>
          <p:nvPr userDrawn="1"/>
        </p:nvSpPr>
        <p:spPr bwMode="white">
          <a:xfrm>
            <a:off x="9984628" y="4608094"/>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10056441" y="4815117"/>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Tree>
    <p:extLst>
      <p:ext uri="{BB962C8B-B14F-4D97-AF65-F5344CB8AC3E}">
        <p14:creationId xmlns:p14="http://schemas.microsoft.com/office/powerpoint/2010/main" val="3418128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1" name="Rectangle 20" descr="Full slide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5904" cy="6858000"/>
          </a:xfrm>
          <a:prstGeom prst="rect">
            <a:avLst/>
          </a:prstGeom>
        </p:spPr>
      </p:pic>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7" name="Rectangle 16"/>
          <p:cNvSpPr/>
          <p:nvPr userDrawn="1"/>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20" name="Rectangle 19"/>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Tree>
    <p:extLst>
      <p:ext uri="{BB962C8B-B14F-4D97-AF65-F5344CB8AC3E}">
        <p14:creationId xmlns:p14="http://schemas.microsoft.com/office/powerpoint/2010/main" val="2076536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cstate="print"/>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582778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986901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5190EDF2-7744-3443-B3CB-57655E386FA4}"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769363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8926090-F7DD-7C47-A7A5-57C7ADACE0E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35773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996FA26-999E-144A-B9D6-0275E6EB9A1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53510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524000"/>
            <a:ext cx="6095999" cy="4416725"/>
          </a:xfrm>
          <a:solidFill>
            <a:schemeClr val="bg2"/>
          </a:solidFill>
        </p:spPr>
        <p:txBody>
          <a:bodyPr tIns="182864">
            <a:noAutofit/>
          </a:bodyPr>
          <a:lstStyle>
            <a:lvl1pPr marL="0" indent="0" algn="ctr">
              <a:buNone/>
              <a:defRPr sz="24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5" y="1524000"/>
            <a:ext cx="4648201" cy="4419600"/>
          </a:xfrm>
        </p:spPr>
        <p:txBody>
          <a:bodyPr>
            <a:noAutofit/>
          </a:bodyPr>
          <a:lstStyle>
            <a:lvl1pPr marL="0" indent="0">
              <a:buNone/>
              <a:defRPr sz="20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05827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154D1DD-7A94-3A44-A2B9-66FA7B1686B1}"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94872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ustom Section Header with Picture and Proclama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028" y="0"/>
            <a:ext cx="11649724" cy="6556247"/>
          </a:xfrm>
          <a:prstGeom prst="rect">
            <a:avLst/>
          </a:prstGeom>
        </p:spPr>
      </p:pic>
    </p:spTree>
    <p:extLst>
      <p:ext uri="{BB962C8B-B14F-4D97-AF65-F5344CB8AC3E}">
        <p14:creationId xmlns:p14="http://schemas.microsoft.com/office/powerpoint/2010/main" val="4265789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bleed 4-color photo can be inserted here"/>
          <p:cNvSpPr/>
          <p:nvPr userDrawn="1"/>
        </p:nvSpPr>
        <p:spPr bwMode="hidden">
          <a:xfrm>
            <a:off x="285"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028" y="219001"/>
            <a:ext cx="11535344" cy="6488631"/>
          </a:xfrm>
          <a:prstGeom prst="rect">
            <a:avLst/>
          </a:prstGeom>
        </p:spPr>
      </p:pic>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114319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3F7589B-9BD6-8B45-A3F1-2069890F0F3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82275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911733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216978-AAC9-904E-ABF1-80828AE7CA1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044901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4605984-D551-B648-83CC-28ABAB9E27F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5211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765FA284-DFBA-B546-A779-7827ED570E3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88173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25CFA18C-E322-D848-90AE-048444F0565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1476455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D23F527-3A46-1444-AC47-E74332FAE46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57114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Picture Placeholder 2" descr="Two 4-color photos can be included here"/>
          <p:cNvSpPr>
            <a:spLocks noGrp="1"/>
          </p:cNvSpPr>
          <p:nvPr>
            <p:ph type="pic" idx="1"/>
          </p:nvPr>
        </p:nvSpPr>
        <p:spPr bwMode="gray">
          <a:xfrm>
            <a:off x="531812" y="1524000"/>
            <a:ext cx="5413249" cy="3474720"/>
          </a:xfrm>
          <a:solidFill>
            <a:schemeClr val="bg2"/>
          </a:solidFill>
        </p:spPr>
        <p:txBody>
          <a:bodyPr tIns="182864">
            <a:noAutofit/>
          </a:bodyPr>
          <a:lstStyle>
            <a:lvl1pPr marL="0" indent="0" algn="ctr">
              <a:buNone/>
              <a:defRPr sz="24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4" y="5105400"/>
            <a:ext cx="5410200" cy="838200"/>
          </a:xfrm>
        </p:spPr>
        <p:txBody>
          <a:bodyPr>
            <a:noAutofit/>
          </a:bodyPr>
          <a:lstStyle>
            <a:lvl1pPr marL="0" indent="0">
              <a:buNone/>
              <a:defRPr sz="19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lang="en-US" smtClean="0"/>
              <a:t>Click to edit Master text styles</a:t>
            </a:r>
          </a:p>
        </p:txBody>
      </p:sp>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2"/>
          <p:cNvSpPr>
            <a:spLocks noGrp="1"/>
          </p:cNvSpPr>
          <p:nvPr>
            <p:ph type="pic" idx="13"/>
          </p:nvPr>
        </p:nvSpPr>
        <p:spPr bwMode="gray">
          <a:xfrm>
            <a:off x="6246811" y="1524000"/>
            <a:ext cx="5413249" cy="3474720"/>
          </a:xfrm>
          <a:solidFill>
            <a:schemeClr val="bg2"/>
          </a:solidFill>
        </p:spPr>
        <p:txBody>
          <a:bodyPr tIns="182864">
            <a:noAutofit/>
          </a:bodyPr>
          <a:lstStyle>
            <a:lvl1pPr marL="0" indent="0" algn="ctr">
              <a:buNone/>
              <a:defRPr sz="24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6246812" y="5105400"/>
            <a:ext cx="5410200" cy="838200"/>
          </a:xfrm>
        </p:spPr>
        <p:txBody>
          <a:bodyPr>
            <a:noAutofit/>
          </a:bodyPr>
          <a:lstStyle>
            <a:lvl1pPr marL="0" indent="0">
              <a:buNone/>
              <a:defRPr sz="19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4B64933-8490-48F1-856F-778E124FF883}"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90898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E1F5459C-11CD-4246-BAA2-A0CD8B7930C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02783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B793641-39FE-9941-B493-4C6CA22258AD}"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76275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E6E0838-3E10-424A-93AC-472DD16011EC}"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82860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CB2A62B-A9A1-BD4B-8067-86DD35117CE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2"/>
                </a:solidFill>
              </a:defRPr>
            </a:lvl1pPr>
          </a:lstStyle>
          <a:p>
            <a:r>
              <a:rPr lang="en-US" dirty="0" smtClean="0"/>
              <a:t>XX</a:t>
            </a:r>
            <a:endParaRPr lang="en-US" dirty="0"/>
          </a:p>
        </p:txBody>
      </p:sp>
    </p:spTree>
    <p:extLst>
      <p:ext uri="{BB962C8B-B14F-4D97-AF65-F5344CB8AC3E}">
        <p14:creationId xmlns:p14="http://schemas.microsoft.com/office/powerpoint/2010/main" val="368522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3CFFFFBC-830B-BE48-A60F-3A3B7341FF90}" type="datetime1">
              <a:rPr lang="en-US" smtClean="0">
                <a:solidFill>
                  <a:srgbClr val="58595B"/>
                </a:solidFill>
              </a:rPr>
              <a:pPr/>
              <a:t>11/10/2016</a:t>
            </a:fld>
            <a:endParaRPr dirty="0">
              <a:solidFill>
                <a:srgbClr val="58595B"/>
              </a:solidFill>
            </a:endParaRPr>
          </a:p>
        </p:txBody>
      </p:sp>
      <p:sp>
        <p:nvSpPr>
          <p:cNvPr id="8" name="Footer Placeholder 7"/>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9" name="Slide Number Placeholder 8"/>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36294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39A174-1ADF-1E48-B6DD-36515CA54732}"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061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F9DE5E5-CA66-5940-9D1C-9F6D8D7529FE}"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21633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19AFBF-606B-E543-8502-3BFA1F086CBC}"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417726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0AF893-3E10-FD41-AEC9-8B3D0A4A185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42767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325C25-20DE-A84C-A42C-F77161DB4A9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5825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Three 4-color photos can be included here"/>
          <p:cNvSpPr>
            <a:spLocks noGrp="1"/>
          </p:cNvSpPr>
          <p:nvPr>
            <p:ph type="pic" idx="1"/>
          </p:nvPr>
        </p:nvSpPr>
        <p:spPr bwMode="gray">
          <a:xfrm>
            <a:off x="531814" y="1524000"/>
            <a:ext cx="3474720" cy="3048000"/>
          </a:xfrm>
          <a:solidFill>
            <a:schemeClr val="bg2"/>
          </a:solidFill>
        </p:spPr>
        <p:txBody>
          <a:bodyPr tIns="182864">
            <a:noAutofit/>
          </a:bodyPr>
          <a:lstStyle>
            <a:lvl1pPr marL="0" indent="0" algn="ctr">
              <a:buNone/>
              <a:defRPr sz="24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4" y="4701398"/>
            <a:ext cx="3474720" cy="1242204"/>
          </a:xfrm>
        </p:spPr>
        <p:txBody>
          <a:bodyPr>
            <a:noAutofit/>
          </a:bodyPr>
          <a:lstStyle>
            <a:lvl1pPr marL="0" indent="0">
              <a:buNone/>
              <a:defRPr sz="19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lang="en-US" smtClean="0"/>
              <a:t>Click to edit Master text styles</a:t>
            </a:r>
          </a:p>
        </p:txBody>
      </p:sp>
      <p:cxnSp>
        <p:nvCxnSpPr>
          <p:cNvPr id="11" name="Straight Connector 10"/>
          <p:cNvCxnSpPr/>
          <p:nvPr/>
        </p:nvCxnSpPr>
        <p:spPr bwMode="ltGray">
          <a:xfrm>
            <a:off x="4189411"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2"/>
          <p:cNvSpPr>
            <a:spLocks noGrp="1"/>
          </p:cNvSpPr>
          <p:nvPr>
            <p:ph type="pic" idx="13"/>
          </p:nvPr>
        </p:nvSpPr>
        <p:spPr bwMode="gray">
          <a:xfrm>
            <a:off x="4357054" y="1524000"/>
            <a:ext cx="3474720" cy="3048000"/>
          </a:xfrm>
          <a:solidFill>
            <a:schemeClr val="bg2"/>
          </a:solidFill>
        </p:spPr>
        <p:txBody>
          <a:bodyPr tIns="182864">
            <a:noAutofit/>
          </a:bodyPr>
          <a:lstStyle>
            <a:lvl1pPr marL="0" indent="0" algn="ctr">
              <a:buNone/>
              <a:defRPr sz="24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4357054" y="4701398"/>
            <a:ext cx="3474720" cy="1242204"/>
          </a:xfrm>
        </p:spPr>
        <p:txBody>
          <a:bodyPr>
            <a:noAutofit/>
          </a:bodyPr>
          <a:lstStyle>
            <a:lvl1pPr marL="0" indent="0">
              <a:buNone/>
              <a:defRPr sz="19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lang="en-US" smtClean="0"/>
              <a:t>Click to edit Master text styles</a:t>
            </a:r>
          </a:p>
        </p:txBody>
      </p: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3" name="Picture Placeholder 2"/>
          <p:cNvSpPr>
            <a:spLocks noGrp="1"/>
          </p:cNvSpPr>
          <p:nvPr>
            <p:ph type="pic" idx="15"/>
          </p:nvPr>
        </p:nvSpPr>
        <p:spPr bwMode="gray">
          <a:xfrm>
            <a:off x="8182292" y="1524000"/>
            <a:ext cx="3474720" cy="3048000"/>
          </a:xfrm>
          <a:solidFill>
            <a:schemeClr val="bg2"/>
          </a:solidFill>
        </p:spPr>
        <p:txBody>
          <a:bodyPr tIns="182864">
            <a:noAutofit/>
          </a:bodyPr>
          <a:lstStyle>
            <a:lvl1pPr marL="0" indent="0" algn="ctr">
              <a:buNone/>
              <a:defRPr sz="24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14" name="Text Placeholder 3"/>
          <p:cNvSpPr>
            <a:spLocks noGrp="1"/>
          </p:cNvSpPr>
          <p:nvPr>
            <p:ph type="body" sz="half" idx="16"/>
          </p:nvPr>
        </p:nvSpPr>
        <p:spPr>
          <a:xfrm>
            <a:off x="8182292" y="4701398"/>
            <a:ext cx="3474720" cy="1242204"/>
          </a:xfrm>
        </p:spPr>
        <p:txBody>
          <a:bodyPr>
            <a:noAutofit/>
          </a:bodyPr>
          <a:lstStyle>
            <a:lvl1pPr marL="0" indent="0">
              <a:buNone/>
              <a:defRPr sz="1900"/>
            </a:lvl1pPr>
            <a:lvl2pPr marL="457161" indent="0">
              <a:buNone/>
              <a:defRPr sz="1200"/>
            </a:lvl2pPr>
            <a:lvl3pPr marL="914323" indent="0">
              <a:buNone/>
              <a:defRPr sz="1100"/>
            </a:lvl3pPr>
            <a:lvl4pPr marL="1371485" indent="0">
              <a:buNone/>
              <a:defRPr sz="900"/>
            </a:lvl4pPr>
            <a:lvl5pPr marL="1828648" indent="0">
              <a:buNone/>
              <a:defRPr sz="900"/>
            </a:lvl5pPr>
            <a:lvl6pPr marL="2285809" indent="0">
              <a:buNone/>
              <a:defRPr sz="900"/>
            </a:lvl6pPr>
            <a:lvl7pPr marL="2742971" indent="0">
              <a:buNone/>
              <a:defRPr sz="900"/>
            </a:lvl7pPr>
            <a:lvl8pPr marL="3200133" indent="0">
              <a:buNone/>
              <a:defRPr sz="900"/>
            </a:lvl8pPr>
            <a:lvl9pPr marL="365729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6F5346-BDDE-46E4-B222-C487F9E706DD}"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79085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95EB4F4-FDFD-ED43-860C-BD557FEEC804}"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34625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40CA68-5E1D-2648-A796-3AC679BBE128}"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696720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DA38B655-5B37-774F-952B-2EF42A45362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850231"/>
            <a:ext cx="5246688" cy="396954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82320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E63E8679-970F-0E44-9FB8-4B88F38302E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747673" y="1013144"/>
            <a:ext cx="3962137" cy="5252348"/>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3" name="Picture 12"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422908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8B482C15-144D-5047-A5F1-7D99D84BBFB0}"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975104"/>
            <a:ext cx="5248656" cy="3328416"/>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18415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F8E68280-77B5-7046-8002-0C2A6FF60231}"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9" name="Picture 18"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319315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p:cNvSpPr/>
          <p:nvPr/>
        </p:nvSpPr>
        <p:spPr bwMode="hidden">
          <a:xfrm>
            <a:off x="0" y="0"/>
            <a:ext cx="12188825" cy="6858000"/>
          </a:xfrm>
          <a:prstGeom prst="rect">
            <a:avLst/>
          </a:prstGeom>
          <a:gradFill>
            <a:gsLst>
              <a:gs pos="34000">
                <a:srgbClr val="46575E">
                  <a:alpha val="50000"/>
                </a:srgbClr>
              </a:gs>
              <a:gs pos="52000">
                <a:srgbClr val="46575E">
                  <a:alpha val="40000"/>
                </a:srgbClr>
              </a:gs>
              <a:gs pos="100000">
                <a:srgbClr val="46575E">
                  <a:alpha val="4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15" name="Group 14"/>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Rectangle 20"/>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pic>
        <p:nvPicPr>
          <p:cNvPr id="23" name="Picture 22"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5" name="Date Placeholder 4"/>
          <p:cNvSpPr>
            <a:spLocks noGrp="1"/>
          </p:cNvSpPr>
          <p:nvPr>
            <p:ph type="dt" sz="half" idx="10"/>
          </p:nvPr>
        </p:nvSpPr>
        <p:spPr/>
        <p:txBody>
          <a:bodyPr/>
          <a:lstStyle>
            <a:lvl1pPr>
              <a:defRPr>
                <a:solidFill>
                  <a:srgbClr val="5F5F5F"/>
                </a:solidFill>
              </a:defRPr>
            </a:lvl1pPr>
          </a:lstStyle>
          <a:p>
            <a:fld id="{D061FBC3-B3BC-0343-8C44-083187317F83}"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spTree>
    <p:extLst>
      <p:ext uri="{BB962C8B-B14F-4D97-AF65-F5344CB8AC3E}">
        <p14:creationId xmlns:p14="http://schemas.microsoft.com/office/powerpoint/2010/main" val="21992487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7E3EDE-07F9-F543-A57F-B068A6C6C2E7}"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54305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AF0846-A068-BC48-8252-2B37F39F59F8}"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428274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68BD323E-1AA8-9945-A9F0-CB54A017EE50}"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78224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rtphone and Tablet: Horizonta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dirty="0"/>
          </a:p>
        </p:txBody>
      </p:sp>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9" y="1522829"/>
            <a:ext cx="6495365" cy="4567423"/>
          </a:xfrm>
          <a:prstGeom prst="rect">
            <a:avLst/>
          </a:prstGeom>
        </p:spPr>
      </p:pic>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64">
            <a:noAutofit/>
          </a:bodyPr>
          <a:lstStyle>
            <a:lvl1pPr marL="0" indent="0" algn="ctr">
              <a:buNone/>
              <a:defRPr sz="20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6A15AD86-CD0E-461B-AA18-D070A5CB2CA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2" name="Picture 11" descr="Photos, screen captures, graphics can be inserted in a white mobile phone and tablet"/>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770063" y="1828801"/>
            <a:ext cx="1840875" cy="3887139"/>
          </a:xfrm>
          <a:prstGeom prst="rect">
            <a:avLst/>
          </a:prstGeom>
        </p:spPr>
      </p:pic>
      <p:sp>
        <p:nvSpPr>
          <p:cNvPr id="13" name="Picture Placeholder 2"/>
          <p:cNvSpPr>
            <a:spLocks noGrp="1"/>
          </p:cNvSpPr>
          <p:nvPr>
            <p:ph type="pic" idx="1"/>
          </p:nvPr>
        </p:nvSpPr>
        <p:spPr bwMode="gray">
          <a:xfrm>
            <a:off x="1888693" y="2372664"/>
            <a:ext cx="1618488" cy="2834640"/>
          </a:xfrm>
          <a:solidFill>
            <a:schemeClr val="bg2"/>
          </a:solidFill>
          <a:ln w="12700">
            <a:solidFill>
              <a:schemeClr val="bg2"/>
            </a:solidFill>
          </a:ln>
        </p:spPr>
        <p:txBody>
          <a:bodyPr tIns="182864">
            <a:noAutofit/>
          </a:bodyPr>
          <a:lstStyle>
            <a:lvl1pPr marL="0" indent="0" algn="ctr">
              <a:buNone/>
              <a:defRPr sz="20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Tree>
    <p:extLst>
      <p:ext uri="{BB962C8B-B14F-4D97-AF65-F5344CB8AC3E}">
        <p14:creationId xmlns:p14="http://schemas.microsoft.com/office/powerpoint/2010/main" val="74544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17027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47FD4AC-A98F-AB42-882B-C012365E1081}" type="datetime1">
              <a:rPr lang="en-US" smtClean="0">
                <a:solidFill>
                  <a:srgbClr val="58595B"/>
                </a:solidFill>
              </a:rPr>
              <a:pPr/>
              <a:t>11/10/2016</a:t>
            </a:fld>
            <a:endParaRPr lang="en-US">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lang="en-US">
              <a:solidFill>
                <a:srgbClr val="58595B"/>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8595B"/>
                </a:solidFill>
              </a:rPr>
              <a:pPr/>
              <a:t>‹#›</a:t>
            </a:fld>
            <a:endParaRPr lang="en-US">
              <a:solidFill>
                <a:srgbClr val="58595B"/>
              </a:solidFill>
            </a:endParaRPr>
          </a:p>
        </p:txBody>
      </p:sp>
    </p:spTree>
    <p:extLst>
      <p:ext uri="{BB962C8B-B14F-4D97-AF65-F5344CB8AC3E}">
        <p14:creationId xmlns:p14="http://schemas.microsoft.com/office/powerpoint/2010/main" val="227737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276A67-317E-FC4B-BB72-4636858DDF2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69666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90"/>
            <a:ext cx="10969924" cy="1025071"/>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1072183" y="1358904"/>
            <a:ext cx="10969943" cy="46143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1072183" y="800808"/>
            <a:ext cx="10969943" cy="406400"/>
          </a:xfrm>
        </p:spPr>
        <p:txBody>
          <a:bodyPr>
            <a:noAutofit/>
          </a:bodyPr>
          <a:lstStyle>
            <a:lvl1pPr marL="0" indent="0">
              <a:spcAft>
                <a:spcPts val="0"/>
              </a:spcAft>
              <a:buFontTx/>
              <a:buNone/>
              <a:defRPr sz="2700">
                <a:solidFill>
                  <a:schemeClr val="accent1"/>
                </a:solidFill>
              </a:defRPr>
            </a:lvl1pPr>
            <a:lvl2pPr marL="609392" indent="0">
              <a:buFontTx/>
              <a:buNone/>
              <a:defRPr/>
            </a:lvl2pPr>
            <a:lvl3pPr marL="1218784" indent="0">
              <a:buFontTx/>
              <a:buNone/>
              <a:defRPr/>
            </a:lvl3pPr>
            <a:lvl4pPr marL="1828176" indent="0">
              <a:buFontTx/>
              <a:buNone/>
              <a:defRPr/>
            </a:lvl4pPr>
            <a:lvl5pPr marL="2437568"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3623066994"/>
      </p:ext>
    </p:extLst>
  </p:cSld>
  <p:clrMapOvr>
    <a:masterClrMapping/>
  </p:clrMapOvr>
  <p:transition spd="med">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2" y="2288587"/>
            <a:ext cx="5713413" cy="373121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23"/>
            <a:endParaRPr lang="en-US" sz="1800">
              <a:solidFill>
                <a:srgbClr val="FFFFFF"/>
              </a:solidFill>
            </a:endParaRPr>
          </a:p>
        </p:txBody>
      </p:sp>
      <p:sp>
        <p:nvSpPr>
          <p:cNvPr id="8" name="Rectangle 7"/>
          <p:cNvSpPr/>
          <p:nvPr userDrawn="1"/>
        </p:nvSpPr>
        <p:spPr bwMode="auto">
          <a:xfrm>
            <a:off x="2031" y="1542201"/>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5" tIns="61368" rIns="122735" bIns="61368" anchor="ctr"/>
          <a:lstStyle/>
          <a:p>
            <a:pPr marL="158710" indent="-158710" algn="ctr" defTabSz="914323">
              <a:defRPr/>
            </a:pPr>
            <a:endParaRPr lang="en-US" sz="53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7"/>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038402400"/>
      </p:ext>
    </p:extLst>
  </p:cSld>
  <p:clrMapOvr>
    <a:masterClrMapping/>
  </p:clrMapOvr>
  <p:transition spd="med">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2183" y="327387"/>
            <a:ext cx="10969924" cy="541860"/>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43" indent="0">
              <a:buFontTx/>
              <a:buNone/>
              <a:defRPr/>
            </a:lvl2pPr>
            <a:lvl3pPr marL="1218885" indent="0">
              <a:buFontTx/>
              <a:buNone/>
              <a:defRPr/>
            </a:lvl3pPr>
            <a:lvl4pPr marL="1828328" indent="0">
              <a:buFontTx/>
              <a:buNone/>
              <a:defRPr/>
            </a:lvl4pPr>
            <a:lvl5pPr marL="2437771"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156971876"/>
      </p:ext>
    </p:extLst>
  </p:cSld>
  <p:clrMapOvr>
    <a:masterClrMapping/>
  </p:clrMapOvr>
  <p:transition spd="med">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77103" y="1552230"/>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hasCustomPrompt="1"/>
          </p:nvPr>
        </p:nvSpPr>
        <p:spPr>
          <a:xfrm>
            <a:off x="1077105" y="878140"/>
            <a:ext cx="10849323" cy="424921"/>
          </a:xfrm>
        </p:spPr>
        <p:txBody>
          <a:bodyPr/>
          <a:lstStyle>
            <a:lvl1pPr marL="0" indent="0">
              <a:buNone/>
              <a:defRPr sz="3200">
                <a:solidFill>
                  <a:schemeClr val="tx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Tree>
    <p:extLst>
      <p:ext uri="{BB962C8B-B14F-4D97-AF65-F5344CB8AC3E}">
        <p14:creationId xmlns:p14="http://schemas.microsoft.com/office/powerpoint/2010/main" val="1055554416"/>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9"/>
            <a:ext cx="10969924" cy="1025071"/>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352609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DB0592DB-01ED-A44A-830D-2A57CD1AF06B}"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95044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4D813C46-5AAA-0045-A784-1D6C400A7C04}"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27883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rtphone and Tablet: Vertical">
    <p:spTree>
      <p:nvGrpSpPr>
        <p:cNvPr id="1" name=""/>
        <p:cNvGrpSpPr/>
        <p:nvPr/>
      </p:nvGrpSpPr>
      <p:grpSpPr>
        <a:xfrm>
          <a:off x="0" y="0"/>
          <a:ext cx="0" cy="0"/>
          <a:chOff x="0" y="0"/>
          <a:chExt cx="0" cy="0"/>
        </a:xfrm>
      </p:grpSpPr>
      <p:sp>
        <p:nvSpPr>
          <p:cNvPr id="2" name="Title 1"/>
          <p:cNvSpPr>
            <a:spLocks noGrp="1"/>
          </p:cNvSpPr>
          <p:nvPr>
            <p:ph type="title"/>
          </p:nvPr>
        </p:nvSpPr>
        <p:spPr>
          <a:xfrm>
            <a:off x="531814" y="406400"/>
            <a:ext cx="5852160" cy="889000"/>
          </a:xfrm>
        </p:spPr>
        <p:txBody>
          <a:bodyPr anchor="b">
            <a:noAutofit/>
          </a:bodyPr>
          <a:lstStyle>
            <a:lvl1pPr algn="l">
              <a:defRPr sz="3600" b="0"/>
            </a:lvl1pPr>
          </a:lstStyle>
          <a:p>
            <a:r>
              <a:rPr lang="en-US" smtClean="0"/>
              <a:t>Click to edit Master title style</a:t>
            </a:r>
            <a:endParaRPr dirty="0"/>
          </a:p>
        </p:txBody>
      </p:sp>
      <p:pic>
        <p:nvPicPr>
          <p:cNvPr id="13" name="Picture 12" descr="Photos, screen captures, graphics can be inserted in a white mobile phone and tablet"/>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960812" y="1905001"/>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64">
            <a:noAutofit/>
          </a:bodyPr>
          <a:lstStyle>
            <a:lvl1pPr marL="0" indent="0" algn="ctr">
              <a:buNone/>
              <a:defRPr sz="20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pic>
        <p:nvPicPr>
          <p:cNvPr id="10" name="Picture 9"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r="7518"/>
          <a:stretch/>
        </p:blipFill>
        <p:spPr>
          <a:xfrm rot="5400000">
            <a:off x="5748379" y="1113567"/>
            <a:ext cx="6007047" cy="4567424"/>
          </a:xfrm>
          <a:prstGeom prst="rect">
            <a:avLst/>
          </a:prstGeom>
        </p:spPr>
      </p:pic>
      <p:sp>
        <p:nvSpPr>
          <p:cNvPr id="9" name="Picture Placeholder 2"/>
          <p:cNvSpPr>
            <a:spLocks noGrp="1"/>
          </p:cNvSpPr>
          <p:nvPr>
            <p:ph type="pic" idx="13"/>
          </p:nvPr>
        </p:nvSpPr>
        <p:spPr bwMode="gray">
          <a:xfrm>
            <a:off x="6747675" y="1013146"/>
            <a:ext cx="3962137" cy="5252348"/>
          </a:xfrm>
          <a:solidFill>
            <a:schemeClr val="bg2"/>
          </a:solidFill>
          <a:ln w="12700">
            <a:solidFill>
              <a:schemeClr val="bg2"/>
            </a:solidFill>
          </a:ln>
        </p:spPr>
        <p:txBody>
          <a:bodyPr tIns="182864">
            <a:noAutofit/>
          </a:bodyPr>
          <a:lstStyle>
            <a:lvl1pPr marL="0" indent="0" algn="ctr">
              <a:buNone/>
              <a:defRPr sz="20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6A15AD86-CD0E-461B-AA18-D070A5CB2CA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72063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Custom Title Slide: Grey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58595B"/>
                </a:solidFill>
              </a:rPr>
              <a:pPr/>
              <a:t>11/10/2016</a:t>
            </a:fld>
            <a:endParaRPr lang="en-US" dirty="0">
              <a:solidFill>
                <a:srgbClr val="58595B"/>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58595B"/>
                </a:solidFill>
              </a:rPr>
              <a:t>Confidential – Oracle Internal/Restricted/Highly Restricted</a:t>
            </a:r>
            <a:endParaRPr lang="en-US" dirty="0">
              <a:solidFill>
                <a:srgbClr val="58595B"/>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15037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Custom Title Slide: Red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990019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Custom Title Slide with Primary Event Impress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31814" y="739775"/>
            <a:ext cx="804531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04531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04531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319775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Custom 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4" name="Rectangle 13"/>
          <p:cNvSpPr/>
          <p:nvPr userDrawn="1"/>
        </p:nvSpPr>
        <p:spPr bwMode="white">
          <a:xfrm>
            <a:off x="9984628" y="4608094"/>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10056441" y="4815117"/>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Tree>
    <p:extLst>
      <p:ext uri="{BB962C8B-B14F-4D97-AF65-F5344CB8AC3E}">
        <p14:creationId xmlns:p14="http://schemas.microsoft.com/office/powerpoint/2010/main" val="2675831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1" name="Rectangle 20" descr="Full slide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5904" cy="6858000"/>
          </a:xfrm>
          <a:prstGeom prst="rect">
            <a:avLst/>
          </a:prstGeom>
        </p:spPr>
      </p:pic>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7" name="Rectangle 16"/>
          <p:cNvSpPr/>
          <p:nvPr userDrawn="1"/>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20" name="Rectangle 19"/>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Tree>
    <p:extLst>
      <p:ext uri="{BB962C8B-B14F-4D97-AF65-F5344CB8AC3E}">
        <p14:creationId xmlns:p14="http://schemas.microsoft.com/office/powerpoint/2010/main" val="1584181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cstate="print"/>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052422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7123666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5190EDF2-7744-3443-B3CB-57655E386FA4}"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390402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8926090-F7DD-7C47-A7A5-57C7ADACE0E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048734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996FA26-999E-144A-B9D6-0275E6EB9A1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241194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defTabSz="914323"/>
            <a:endParaRPr dirty="0">
              <a:solidFill>
                <a:srgbClr val="FFFFFF"/>
              </a:solidFill>
            </a:endParaRPr>
          </a:p>
        </p:txBody>
      </p:sp>
      <p:sp>
        <p:nvSpPr>
          <p:cNvPr id="2" name="Title 1"/>
          <p:cNvSpPr>
            <a:spLocks noGrp="1"/>
          </p:cNvSpPr>
          <p:nvPr>
            <p:ph type="ctrTitle"/>
          </p:nvPr>
        </p:nvSpPr>
        <p:spPr>
          <a:xfrm>
            <a:off x="531813" y="739778"/>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2"/>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7C7481E7-6827-45FD-8717-13B961EEBD99}" type="datetime1">
              <a:rPr lang="en-US">
                <a:solidFill>
                  <a:srgbClr val="FFFFFF">
                    <a:lumMod val="60000"/>
                    <a:lumOff val="40000"/>
                  </a:srgbClr>
                </a:solidFill>
              </a:rPr>
              <a:pPr/>
              <a:t>11/10/2016</a:t>
            </a:fld>
            <a:endParaRPr dirty="0">
              <a:solidFill>
                <a:srgbClr val="FFFFFF">
                  <a:lumMod val="60000"/>
                  <a:lumOff val="40000"/>
                </a:srgbClr>
              </a:solidFill>
            </a:endParaRPr>
          </a:p>
        </p:txBody>
      </p:sp>
      <p:sp>
        <p:nvSpPr>
          <p:cNvPr id="11" name="TextBox 10"/>
          <p:cNvSpPr txBox="1"/>
          <p:nvPr/>
        </p:nvSpPr>
        <p:spPr>
          <a:xfrm>
            <a:off x="5989641" y="6556248"/>
            <a:ext cx="2787651" cy="182880"/>
          </a:xfrm>
          <a:prstGeom prst="rect">
            <a:avLst/>
          </a:prstGeom>
          <a:noFill/>
        </p:spPr>
        <p:txBody>
          <a:bodyPr wrap="none" lIns="0" tIns="0" rIns="0" bIns="0" rtlCol="0" anchor="ctr" anchorCtr="0">
            <a:noAutofit/>
          </a:bodyPr>
          <a:lstStyle/>
          <a:p>
            <a:pPr defTabSz="914323"/>
            <a:r>
              <a:rPr sz="800" dirty="0">
                <a:solidFill>
                  <a:srgbClr val="FFFFFF">
                    <a:lumMod val="60000"/>
                    <a:lumOff val="40000"/>
                  </a:srgbClr>
                </a:solidFill>
              </a:rPr>
              <a:t>Copyright © </a:t>
            </a:r>
            <a:r>
              <a:rPr lang="en-US" sz="800" dirty="0" smtClean="0">
                <a:solidFill>
                  <a:srgbClr val="FFFFFF">
                    <a:lumMod val="60000"/>
                    <a:lumOff val="40000"/>
                  </a:srgbClr>
                </a:solidFill>
              </a:rPr>
              <a:t>2016 </a:t>
            </a:r>
            <a:r>
              <a:rPr sz="800" dirty="0" smtClean="0">
                <a:solidFill>
                  <a:srgbClr val="FFFFFF">
                    <a:lumMod val="60000"/>
                    <a:lumOff val="40000"/>
                  </a:srgbClr>
                </a:solidFill>
              </a:rPr>
              <a:t>Oracle </a:t>
            </a:r>
            <a:r>
              <a:rPr sz="800" dirty="0">
                <a:solidFill>
                  <a:srgbClr val="FFFFFF">
                    <a:lumMod val="60000"/>
                    <a:lumOff val="40000"/>
                  </a:srgbClr>
                </a:solidFill>
              </a:rPr>
              <a:t>and/or its affiliates. All rights reserved.  |</a:t>
            </a:r>
          </a:p>
        </p:txBody>
      </p:sp>
      <p:sp>
        <p:nvSpPr>
          <p:cNvPr id="6" name="Slide Number Placeholder 5"/>
          <p:cNvSpPr>
            <a:spLocks noGrp="1"/>
          </p:cNvSpPr>
          <p:nvPr>
            <p:ph type="sldNum" sz="quarter" idx="12"/>
          </p:nvPr>
        </p:nvSpPr>
        <p:spPr>
          <a:xfrm>
            <a:off x="11276012" y="6934200"/>
            <a:ext cx="381661" cy="182880"/>
          </a:xfrm>
        </p:spPr>
        <p:txBody>
          <a:bodyPr/>
          <a:lstStyle>
            <a:lvl1pPr>
              <a:defRPr>
                <a:solidFill>
                  <a:srgbClr val="BDC1C5"/>
                </a:solidFill>
              </a:defRPr>
            </a:lvl1pPr>
          </a:lstStyle>
          <a:p>
            <a:fld id="{C51EAA63-D034-42AE-91FA-B13B9518C7BE}" type="slidenum">
              <a:rPr/>
              <a:pPr/>
              <a:t>‹#›</a:t>
            </a:fld>
            <a:endParaRPr dirty="0"/>
          </a:p>
        </p:txBody>
      </p:sp>
      <p:pic>
        <p:nvPicPr>
          <p:cNvPr id="12"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4" y="6263640"/>
            <a:ext cx="1622861" cy="594360"/>
          </a:xfrm>
          <a:prstGeom prst="rect">
            <a:avLst/>
          </a:prstGeom>
        </p:spPr>
      </p:pic>
    </p:spTree>
    <p:extLst>
      <p:ext uri="{BB962C8B-B14F-4D97-AF65-F5344CB8AC3E}">
        <p14:creationId xmlns:p14="http://schemas.microsoft.com/office/powerpoint/2010/main" val="2687821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6A15AD86-CD0E-461B-AA18-D070A5CB2CA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257675" y="1584168"/>
            <a:ext cx="5829300" cy="4109595"/>
          </a:xfrm>
          <a:prstGeom prst="rect">
            <a:avLst/>
          </a:prstGeom>
        </p:spPr>
      </p:pic>
      <p:sp>
        <p:nvSpPr>
          <p:cNvPr id="16" name="Picture Placeholder 2"/>
          <p:cNvSpPr>
            <a:spLocks noGrp="1"/>
          </p:cNvSpPr>
          <p:nvPr>
            <p:ph type="pic" idx="13"/>
          </p:nvPr>
        </p:nvSpPr>
        <p:spPr bwMode="gray">
          <a:xfrm>
            <a:off x="4532312" y="1971678"/>
            <a:ext cx="5246688" cy="3324225"/>
          </a:xfrm>
          <a:solidFill>
            <a:schemeClr val="bg2"/>
          </a:solidFill>
          <a:ln w="12700">
            <a:solidFill>
              <a:schemeClr val="bg2"/>
            </a:solidFill>
          </a:ln>
        </p:spPr>
        <p:txBody>
          <a:bodyPr tIns="182864">
            <a:noAutofit/>
          </a:bodyPr>
          <a:lstStyle>
            <a:lvl1pPr marL="0" indent="0" algn="ctr">
              <a:buNone/>
              <a:defRPr sz="20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61302" y="1981200"/>
            <a:ext cx="1877251" cy="3634952"/>
          </a:xfrm>
          <a:prstGeom prst="rect">
            <a:avLst/>
          </a:prstGeom>
        </p:spPr>
      </p:pic>
      <p:sp>
        <p:nvSpPr>
          <p:cNvPr id="18" name="Picture Placeholder 2"/>
          <p:cNvSpPr>
            <a:spLocks noGrp="1"/>
          </p:cNvSpPr>
          <p:nvPr>
            <p:ph type="pic" idx="1"/>
          </p:nvPr>
        </p:nvSpPr>
        <p:spPr bwMode="gray">
          <a:xfrm>
            <a:off x="1885139" y="2363140"/>
            <a:ext cx="1631568" cy="2894661"/>
          </a:xfrm>
          <a:solidFill>
            <a:schemeClr val="bg2"/>
          </a:solidFill>
          <a:ln w="12700">
            <a:solidFill>
              <a:schemeClr val="bg2"/>
            </a:solidFill>
          </a:ln>
        </p:spPr>
        <p:txBody>
          <a:bodyPr tIns="182864">
            <a:noAutofit/>
          </a:bodyPr>
          <a:lstStyle>
            <a:lvl1pPr marL="0" indent="0" algn="ctr">
              <a:buNone/>
              <a:defRPr sz="20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Tree>
    <p:extLst>
      <p:ext uri="{BB962C8B-B14F-4D97-AF65-F5344CB8AC3E}">
        <p14:creationId xmlns:p14="http://schemas.microsoft.com/office/powerpoint/2010/main" val="86081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154D1DD-7A94-3A44-A2B9-66FA7B1686B1}"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37030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ustom Section Header with Picture and Proclama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028" y="0"/>
            <a:ext cx="11649724" cy="6556247"/>
          </a:xfrm>
          <a:prstGeom prst="rect">
            <a:avLst/>
          </a:prstGeom>
        </p:spPr>
      </p:pic>
    </p:spTree>
    <p:extLst>
      <p:ext uri="{BB962C8B-B14F-4D97-AF65-F5344CB8AC3E}">
        <p14:creationId xmlns:p14="http://schemas.microsoft.com/office/powerpoint/2010/main" val="2836354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bleed 4-color photo can be inserted here"/>
          <p:cNvSpPr/>
          <p:nvPr userDrawn="1"/>
        </p:nvSpPr>
        <p:spPr bwMode="hidden">
          <a:xfrm>
            <a:off x="285"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028" y="219001"/>
            <a:ext cx="11535344" cy="6488631"/>
          </a:xfrm>
          <a:prstGeom prst="rect">
            <a:avLst/>
          </a:prstGeom>
        </p:spPr>
      </p:pic>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65566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3F7589B-9BD6-8B45-A3F1-2069890F0F3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69931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06939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216978-AAC9-904E-ABF1-80828AE7CA1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92593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4605984-D551-B648-83CC-28ABAB9E27F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0154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765FA284-DFBA-B546-A779-7827ED570E3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818205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25CFA18C-E322-D848-90AE-048444F0565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124590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D23F527-3A46-1444-AC47-E74332FAE46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113554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sp>
        <p:nvSpPr>
          <p:cNvPr id="2" name="Title 1"/>
          <p:cNvSpPr>
            <a:spLocks noGrp="1"/>
          </p:cNvSpPr>
          <p:nvPr>
            <p:ph type="title"/>
          </p:nvPr>
        </p:nvSpPr>
        <p:spPr>
          <a:xfrm>
            <a:off x="531811" y="406400"/>
            <a:ext cx="5852160" cy="889000"/>
          </a:xfrm>
        </p:spPr>
        <p:txBody>
          <a:bodyPr anchor="b">
            <a:noAutofit/>
          </a:bodyPr>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6A15AD86-CD0E-461B-AA18-D070A5CB2CA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val="0"/>
              </a:ext>
            </a:extLst>
          </a:blip>
          <a:srcRect r="3674"/>
          <a:stretch/>
        </p:blipFill>
        <p:spPr>
          <a:xfrm rot="5400000">
            <a:off x="5794269" y="1258782"/>
            <a:ext cx="5935471" cy="4345393"/>
          </a:xfrm>
          <a:prstGeom prst="rect">
            <a:avLst/>
          </a:prstGeom>
        </p:spPr>
      </p:pic>
      <p:sp>
        <p:nvSpPr>
          <p:cNvPr id="11" name="Picture Placeholder 2"/>
          <p:cNvSpPr>
            <a:spLocks noGrp="1"/>
          </p:cNvSpPr>
          <p:nvPr>
            <p:ph type="pic" idx="13"/>
          </p:nvPr>
        </p:nvSpPr>
        <p:spPr bwMode="gray">
          <a:xfrm>
            <a:off x="7019927" y="771526"/>
            <a:ext cx="3486149" cy="5534025"/>
          </a:xfrm>
          <a:solidFill>
            <a:schemeClr val="bg2"/>
          </a:solidFill>
          <a:ln w="12700">
            <a:solidFill>
              <a:schemeClr val="bg2"/>
            </a:solidFill>
          </a:ln>
        </p:spPr>
        <p:txBody>
          <a:bodyPr tIns="182864">
            <a:noAutofit/>
          </a:bodyPr>
          <a:lstStyle>
            <a:lvl1pPr marL="0" indent="0" algn="ctr">
              <a:buNone/>
              <a:defRPr sz="20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1577" y="2019300"/>
            <a:ext cx="1877251" cy="3634952"/>
          </a:xfrm>
          <a:prstGeom prst="rect">
            <a:avLst/>
          </a:prstGeom>
        </p:spPr>
      </p:pic>
      <p:sp>
        <p:nvSpPr>
          <p:cNvPr id="18" name="Picture Placeholder 2"/>
          <p:cNvSpPr>
            <a:spLocks noGrp="1"/>
          </p:cNvSpPr>
          <p:nvPr>
            <p:ph type="pic" idx="14"/>
          </p:nvPr>
        </p:nvSpPr>
        <p:spPr bwMode="gray">
          <a:xfrm>
            <a:off x="4088968" y="2401240"/>
            <a:ext cx="1618488" cy="2894661"/>
          </a:xfrm>
          <a:solidFill>
            <a:schemeClr val="bg2"/>
          </a:solidFill>
          <a:ln w="12700">
            <a:solidFill>
              <a:schemeClr val="bg2"/>
            </a:solidFill>
          </a:ln>
        </p:spPr>
        <p:txBody>
          <a:bodyPr tIns="182864">
            <a:noAutofit/>
          </a:bodyPr>
          <a:lstStyle>
            <a:lvl1pPr marL="0" indent="0" algn="ctr">
              <a:buNone/>
              <a:defRPr sz="2000"/>
            </a:lvl1pPr>
            <a:lvl2pPr marL="457161" indent="0">
              <a:buNone/>
              <a:defRPr sz="2800"/>
            </a:lvl2pPr>
            <a:lvl3pPr marL="914323" indent="0">
              <a:buNone/>
              <a:defRPr sz="2400"/>
            </a:lvl3pPr>
            <a:lvl4pPr marL="1371485" indent="0">
              <a:buNone/>
              <a:defRPr sz="2000"/>
            </a:lvl4pPr>
            <a:lvl5pPr marL="1828648" indent="0">
              <a:buNone/>
              <a:defRPr sz="2000"/>
            </a:lvl5pPr>
            <a:lvl6pPr marL="2285809" indent="0">
              <a:buNone/>
              <a:defRPr sz="2000"/>
            </a:lvl6pPr>
            <a:lvl7pPr marL="2742971" indent="0">
              <a:buNone/>
              <a:defRPr sz="2000"/>
            </a:lvl7pPr>
            <a:lvl8pPr marL="3200133" indent="0">
              <a:buNone/>
              <a:defRPr sz="2000"/>
            </a:lvl8pPr>
            <a:lvl9pPr marL="3657296" indent="0">
              <a:buNone/>
              <a:defRPr sz="2000"/>
            </a:lvl9pPr>
          </a:lstStyle>
          <a:p>
            <a:r>
              <a:rPr lang="en-US" smtClean="0"/>
              <a:t>Click icon to add picture</a:t>
            </a:r>
            <a:endParaRPr dirty="0"/>
          </a:p>
        </p:txBody>
      </p:sp>
    </p:spTree>
    <p:extLst>
      <p:ext uri="{BB962C8B-B14F-4D97-AF65-F5344CB8AC3E}">
        <p14:creationId xmlns:p14="http://schemas.microsoft.com/office/powerpoint/2010/main" val="18766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E1F5459C-11CD-4246-BAA2-A0CD8B7930C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961659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B793641-39FE-9941-B493-4C6CA22258AD}"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21934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E6E0838-3E10-424A-93AC-472DD16011EC}"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688124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CB2A62B-A9A1-BD4B-8067-86DD35117CE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2"/>
                </a:solidFill>
              </a:defRPr>
            </a:lvl1pPr>
          </a:lstStyle>
          <a:p>
            <a:r>
              <a:rPr lang="en-US" dirty="0" smtClean="0"/>
              <a:t>XX</a:t>
            </a:r>
            <a:endParaRPr lang="en-US" dirty="0"/>
          </a:p>
        </p:txBody>
      </p:sp>
    </p:spTree>
    <p:extLst>
      <p:ext uri="{BB962C8B-B14F-4D97-AF65-F5344CB8AC3E}">
        <p14:creationId xmlns:p14="http://schemas.microsoft.com/office/powerpoint/2010/main" val="12548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3CFFFFBC-830B-BE48-A60F-3A3B7341FF90}" type="datetime1">
              <a:rPr lang="en-US" smtClean="0">
                <a:solidFill>
                  <a:srgbClr val="58595B"/>
                </a:solidFill>
              </a:rPr>
              <a:pPr/>
              <a:t>11/10/2016</a:t>
            </a:fld>
            <a:endParaRPr dirty="0">
              <a:solidFill>
                <a:srgbClr val="58595B"/>
              </a:solidFill>
            </a:endParaRPr>
          </a:p>
        </p:txBody>
      </p:sp>
      <p:sp>
        <p:nvSpPr>
          <p:cNvPr id="8" name="Footer Placeholder 7"/>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9" name="Slide Number Placeholder 8"/>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68088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39A174-1ADF-1E48-B6DD-36515CA54732}"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0486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F9DE5E5-CA66-5940-9D1C-9F6D8D7529FE}"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52586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19AFBF-606B-E543-8502-3BFA1F086CBC}"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403542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0AF893-3E10-FD41-AEC9-8B3D0A4A185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59487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325C25-20DE-A84C-A42C-F77161DB4A9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99708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defTabSz="914323"/>
            <a:endParaRPr dirty="0">
              <a:solidFill>
                <a:srgbClr val="FFFFFF"/>
              </a:solidFill>
            </a:endParaRPr>
          </a:p>
        </p:txBody>
      </p:sp>
      <p:grpSp>
        <p:nvGrpSpPr>
          <p:cNvPr id="2" name="Group 1"/>
          <p:cNvGrpSpPr/>
          <p:nvPr/>
        </p:nvGrpSpPr>
        <p:grpSpPr>
          <a:xfrm>
            <a:off x="-285" y="0"/>
            <a:ext cx="12189400" cy="6858000"/>
            <a:chOff x="-287" y="0"/>
            <a:chExt cx="12189399" cy="6858000"/>
          </a:xfrm>
        </p:grpSpPr>
        <p:sp>
          <p:nvSpPr>
            <p:cNvPr id="10" name="Rectangle 9"/>
            <p:cNvSpPr/>
            <p:nvPr/>
          </p:nvSpPr>
          <p:spPr bwMode="gray">
            <a:xfrm>
              <a:off x="-287" y="0"/>
              <a:ext cx="193962"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11" name="Rectangle 10"/>
            <p:cNvSpPr/>
            <p:nvPr/>
          </p:nvSpPr>
          <p:spPr bwMode="gray">
            <a:xfrm>
              <a:off x="11995151" y="5854"/>
              <a:ext cx="193960"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12" name="Rectangle 11"/>
            <p:cNvSpPr/>
            <p:nvPr/>
          </p:nvSpPr>
          <p:spPr bwMode="gray">
            <a:xfrm>
              <a:off x="-286" y="6400800"/>
              <a:ext cx="12189396"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13" name="Rectangle 12"/>
            <p:cNvSpPr/>
            <p:nvPr/>
          </p:nvSpPr>
          <p:spPr bwMode="gray">
            <a:xfrm>
              <a:off x="-286" y="0"/>
              <a:ext cx="12189398" cy="192024"/>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grpSp>
      <p:sp>
        <p:nvSpPr>
          <p:cNvPr id="3" name="Title 2"/>
          <p:cNvSpPr>
            <a:spLocks noGrp="1"/>
          </p:cNvSpPr>
          <p:nvPr>
            <p:ph type="title" hasCustomPrompt="1"/>
          </p:nvPr>
        </p:nvSpPr>
        <p:spPr>
          <a:xfrm>
            <a:off x="760413" y="609602"/>
            <a:ext cx="4572000" cy="2044700"/>
          </a:xfrm>
        </p:spPr>
        <p:txBody>
          <a:bodyPr/>
          <a:lstStyle>
            <a:lvl1pPr>
              <a:defRPr sz="13900" b="1"/>
            </a:lvl1pPr>
          </a:lstStyle>
          <a:p>
            <a:r>
              <a:rPr lang="en-US" dirty="0" smtClean="0"/>
              <a:t>XX</a:t>
            </a:r>
            <a:endParaRPr lang="en-US" dirty="0"/>
          </a:p>
        </p:txBody>
      </p:sp>
      <p:sp>
        <p:nvSpPr>
          <p:cNvPr id="22" name="Text Placeholder 12"/>
          <p:cNvSpPr>
            <a:spLocks noGrp="1"/>
          </p:cNvSpPr>
          <p:nvPr>
            <p:ph type="body" sz="quarter" idx="13" hasCustomPrompt="1"/>
          </p:nvPr>
        </p:nvSpPr>
        <p:spPr>
          <a:xfrm>
            <a:off x="760413" y="2666999"/>
            <a:ext cx="45720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5" name="Date Placeholder 4"/>
          <p:cNvSpPr>
            <a:spLocks noGrp="1"/>
          </p:cNvSpPr>
          <p:nvPr>
            <p:ph type="dt" sz="half" idx="10"/>
          </p:nvPr>
        </p:nvSpPr>
        <p:spPr/>
        <p:txBody>
          <a:bodyPr/>
          <a:lstStyle>
            <a:lvl1pPr>
              <a:defRPr>
                <a:solidFill>
                  <a:schemeClr val="bg1">
                    <a:lumMod val="60000"/>
                    <a:lumOff val="40000"/>
                  </a:schemeClr>
                </a:solidFill>
              </a:defRPr>
            </a:lvl1pPr>
          </a:lstStyle>
          <a:p>
            <a:fld id="{43D5EDE7-61B4-4C98-ADE6-D86346041BA3}"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14" name="TextBox 13"/>
          <p:cNvSpPr txBox="1"/>
          <p:nvPr/>
        </p:nvSpPr>
        <p:spPr>
          <a:xfrm>
            <a:off x="5989641" y="6556248"/>
            <a:ext cx="2787651" cy="182880"/>
          </a:xfrm>
          <a:prstGeom prst="rect">
            <a:avLst/>
          </a:prstGeom>
          <a:noFill/>
        </p:spPr>
        <p:txBody>
          <a:bodyPr wrap="none" lIns="0" tIns="0" rIns="0" bIns="0" rtlCol="0" anchor="ctr" anchorCtr="0">
            <a:noAutofit/>
          </a:bodyPr>
          <a:lstStyle/>
          <a:p>
            <a:pPr defTabSz="914323"/>
            <a:r>
              <a:rPr sz="800" dirty="0">
                <a:solidFill>
                  <a:srgbClr val="5F5F5F">
                    <a:lumMod val="60000"/>
                    <a:lumOff val="40000"/>
                  </a:srgbClr>
                </a:solidFill>
              </a:rPr>
              <a:t>Copyright © </a:t>
            </a:r>
            <a:r>
              <a:rPr sz="800" dirty="0" smtClean="0">
                <a:solidFill>
                  <a:srgbClr val="5F5F5F">
                    <a:lumMod val="60000"/>
                    <a:lumOff val="40000"/>
                  </a:srgbClr>
                </a:solidFill>
              </a:rPr>
              <a:t>201</a:t>
            </a:r>
            <a:r>
              <a:rPr lang="en-US" sz="800" dirty="0" smtClean="0">
                <a:solidFill>
                  <a:srgbClr val="5F5F5F">
                    <a:lumMod val="60000"/>
                    <a:lumOff val="40000"/>
                  </a:srgbClr>
                </a:solidFill>
              </a:rPr>
              <a:t>6</a:t>
            </a:r>
            <a:r>
              <a:rPr sz="800" dirty="0" smtClean="0">
                <a:solidFill>
                  <a:srgbClr val="5F5F5F">
                    <a:lumMod val="60000"/>
                    <a:lumOff val="40000"/>
                  </a:srgbClr>
                </a:solidFill>
              </a:rPr>
              <a:t> </a:t>
            </a:r>
            <a:r>
              <a:rPr sz="800" dirty="0">
                <a:solidFill>
                  <a:srgbClr val="5F5F5F">
                    <a:lumMod val="60000"/>
                    <a:lumOff val="40000"/>
                  </a:srgbClr>
                </a:solidFill>
              </a:rPr>
              <a:t>Oracle and/or its affiliates. All rights reserved.  |</a:t>
            </a:r>
          </a:p>
        </p:txBody>
      </p:sp>
      <p:sp>
        <p:nvSpPr>
          <p:cNvPr id="7" name="Slide Number Placeholder 6"/>
          <p:cNvSpPr>
            <a:spLocks noGrp="1"/>
          </p:cNvSpPr>
          <p:nvPr>
            <p:ph type="sldNum" sz="quarter" idx="12"/>
          </p:nvPr>
        </p:nvSpPr>
        <p:spPr/>
        <p:txBody>
          <a:bodyPr/>
          <a:lstStyle>
            <a:lvl1pPr>
              <a:defRPr>
                <a:solidFill>
                  <a:schemeClr val="bg1">
                    <a:lumMod val="60000"/>
                    <a:lumOff val="40000"/>
                  </a:schemeClr>
                </a:solidFill>
              </a:defRPr>
            </a:lvl1p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5"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4" y="6263640"/>
            <a:ext cx="1622861" cy="594360"/>
          </a:xfrm>
          <a:prstGeom prst="rect">
            <a:avLst/>
          </a:prstGeom>
        </p:spPr>
      </p:pic>
    </p:spTree>
    <p:extLst>
      <p:ext uri="{BB962C8B-B14F-4D97-AF65-F5344CB8AC3E}">
        <p14:creationId xmlns:p14="http://schemas.microsoft.com/office/powerpoint/2010/main" val="1381817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95EB4F4-FDFD-ED43-860C-BD557FEEC804}"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19456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40CA68-5E1D-2648-A796-3AC679BBE128}"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94067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DA38B655-5B37-774F-952B-2EF42A45362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850231"/>
            <a:ext cx="5246688" cy="396954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30316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E63E8679-970F-0E44-9FB8-4B88F38302E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747673" y="1013144"/>
            <a:ext cx="3962137" cy="5252348"/>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3" name="Picture 12"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4199207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8B482C15-144D-5047-A5F1-7D99D84BBFB0}"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975104"/>
            <a:ext cx="5248656" cy="3328416"/>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81620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F8E68280-77B5-7046-8002-0C2A6FF60231}"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9" name="Picture 18"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618517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p:cNvSpPr/>
          <p:nvPr/>
        </p:nvSpPr>
        <p:spPr bwMode="hidden">
          <a:xfrm>
            <a:off x="0" y="0"/>
            <a:ext cx="12188825" cy="6858000"/>
          </a:xfrm>
          <a:prstGeom prst="rect">
            <a:avLst/>
          </a:prstGeom>
          <a:gradFill>
            <a:gsLst>
              <a:gs pos="34000">
                <a:srgbClr val="46575E">
                  <a:alpha val="50000"/>
                </a:srgbClr>
              </a:gs>
              <a:gs pos="52000">
                <a:srgbClr val="46575E">
                  <a:alpha val="40000"/>
                </a:srgbClr>
              </a:gs>
              <a:gs pos="100000">
                <a:srgbClr val="46575E">
                  <a:alpha val="4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15" name="Group 14"/>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Rectangle 20"/>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pic>
        <p:nvPicPr>
          <p:cNvPr id="23" name="Picture 22"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5" name="Date Placeholder 4"/>
          <p:cNvSpPr>
            <a:spLocks noGrp="1"/>
          </p:cNvSpPr>
          <p:nvPr>
            <p:ph type="dt" sz="half" idx="10"/>
          </p:nvPr>
        </p:nvSpPr>
        <p:spPr/>
        <p:txBody>
          <a:bodyPr/>
          <a:lstStyle>
            <a:lvl1pPr>
              <a:defRPr>
                <a:solidFill>
                  <a:srgbClr val="5F5F5F"/>
                </a:solidFill>
              </a:defRPr>
            </a:lvl1pPr>
          </a:lstStyle>
          <a:p>
            <a:fld id="{D061FBC3-B3BC-0343-8C44-083187317F83}"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spTree>
    <p:extLst>
      <p:ext uri="{BB962C8B-B14F-4D97-AF65-F5344CB8AC3E}">
        <p14:creationId xmlns:p14="http://schemas.microsoft.com/office/powerpoint/2010/main" val="3868009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7E3EDE-07F9-F543-A57F-B068A6C6C2E7}"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3774741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AF0846-A068-BC48-8252-2B37F39F59F8}"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32472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68BD323E-1AA8-9945-A9F0-CB54A017EE50}"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41400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5" name="TextBox 4"/>
          <p:cNvSpPr txBox="1"/>
          <p:nvPr/>
        </p:nvSpPr>
        <p:spPr>
          <a:xfrm>
            <a:off x="531814" y="1371600"/>
            <a:ext cx="11125199" cy="889000"/>
          </a:xfrm>
          <a:prstGeom prst="rect">
            <a:avLst/>
          </a:prstGeom>
          <a:noFill/>
        </p:spPr>
        <p:txBody>
          <a:bodyPr wrap="none" lIns="0" tIns="0" rIns="0" bIns="0" rtlCol="0" anchor="b">
            <a:noAutofit/>
          </a:bodyPr>
          <a:lstStyle/>
          <a:p>
            <a:pPr defTabSz="914323">
              <a:lnSpc>
                <a:spcPct val="90000"/>
              </a:lnSpc>
            </a:pPr>
            <a:r>
              <a:rPr sz="3200" dirty="0">
                <a:solidFill>
                  <a:srgbClr val="5F5F5F"/>
                </a:solidFill>
              </a:rPr>
              <a:t>Safe Harbor Statement</a:t>
            </a:r>
          </a:p>
        </p:txBody>
      </p:sp>
      <p:sp>
        <p:nvSpPr>
          <p:cNvPr id="6" name="TextBox 5"/>
          <p:cNvSpPr txBox="1"/>
          <p:nvPr/>
        </p:nvSpPr>
        <p:spPr>
          <a:xfrm>
            <a:off x="531814" y="2514600"/>
            <a:ext cx="11125199" cy="2286000"/>
          </a:xfrm>
          <a:prstGeom prst="rect">
            <a:avLst/>
          </a:prstGeom>
          <a:noFill/>
        </p:spPr>
        <p:txBody>
          <a:bodyPr wrap="square" lIns="0" tIns="0" rIns="0" bIns="0" rtlCol="0" anchor="t">
            <a:noAutofit/>
          </a:bodyPr>
          <a:lstStyle/>
          <a:p>
            <a:pPr defTabSz="914323">
              <a:lnSpc>
                <a:spcPct val="90000"/>
              </a:lnSpc>
            </a:pPr>
            <a:r>
              <a:rPr sz="2400" dirty="0">
                <a:solidFill>
                  <a:srgbClr val="5F5F5F"/>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
        <p:nvSpPr>
          <p:cNvPr id="2" name="Date Placeholder 1"/>
          <p:cNvSpPr>
            <a:spLocks noGrp="1"/>
          </p:cNvSpPr>
          <p:nvPr>
            <p:ph type="dt" sz="half" idx="10"/>
          </p:nvPr>
        </p:nvSpPr>
        <p:spPr/>
        <p:txBody>
          <a:bodyPr>
            <a:noAutofit/>
          </a:bodyPr>
          <a:lstStyle/>
          <a:p>
            <a:fld id="{93A56FF2-64EC-4614-951E-8B8E4681BF2B}"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4" name="Slide Number Placeholder 3"/>
          <p:cNvSpPr>
            <a:spLocks noGrp="1"/>
          </p:cNvSpPr>
          <p:nvPr>
            <p:ph type="sldNum" sz="quarter" idx="12"/>
          </p:nvPr>
        </p:nvSpPr>
        <p:spPr/>
        <p:txBody>
          <a:bodyPr>
            <a:noAutofit/>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59788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250875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47FD4AC-A98F-AB42-882B-C012365E1081}" type="datetime1">
              <a:rPr lang="en-US" smtClean="0">
                <a:solidFill>
                  <a:srgbClr val="58595B"/>
                </a:solidFill>
              </a:rPr>
              <a:pPr/>
              <a:t>11/10/2016</a:t>
            </a:fld>
            <a:endParaRPr lang="en-US">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lang="en-US">
              <a:solidFill>
                <a:srgbClr val="58595B"/>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8595B"/>
                </a:solidFill>
              </a:rPr>
              <a:pPr/>
              <a:t>‹#›</a:t>
            </a:fld>
            <a:endParaRPr lang="en-US">
              <a:solidFill>
                <a:srgbClr val="58595B"/>
              </a:solidFill>
            </a:endParaRPr>
          </a:p>
        </p:txBody>
      </p:sp>
    </p:spTree>
    <p:extLst>
      <p:ext uri="{BB962C8B-B14F-4D97-AF65-F5344CB8AC3E}">
        <p14:creationId xmlns:p14="http://schemas.microsoft.com/office/powerpoint/2010/main" val="213831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276A67-317E-FC4B-BB72-4636858DDF2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404244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90"/>
            <a:ext cx="10969924" cy="1025071"/>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1072183" y="1358904"/>
            <a:ext cx="10969943" cy="46143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1072183" y="800808"/>
            <a:ext cx="10969943" cy="406400"/>
          </a:xfrm>
        </p:spPr>
        <p:txBody>
          <a:bodyPr>
            <a:noAutofit/>
          </a:bodyPr>
          <a:lstStyle>
            <a:lvl1pPr marL="0" indent="0">
              <a:spcAft>
                <a:spcPts val="0"/>
              </a:spcAft>
              <a:buFontTx/>
              <a:buNone/>
              <a:defRPr sz="2700">
                <a:solidFill>
                  <a:schemeClr val="accent1"/>
                </a:solidFill>
              </a:defRPr>
            </a:lvl1pPr>
            <a:lvl2pPr marL="609392" indent="0">
              <a:buFontTx/>
              <a:buNone/>
              <a:defRPr/>
            </a:lvl2pPr>
            <a:lvl3pPr marL="1218784" indent="0">
              <a:buFontTx/>
              <a:buNone/>
              <a:defRPr/>
            </a:lvl3pPr>
            <a:lvl4pPr marL="1828176" indent="0">
              <a:buFontTx/>
              <a:buNone/>
              <a:defRPr/>
            </a:lvl4pPr>
            <a:lvl5pPr marL="2437568"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801446978"/>
      </p:ext>
    </p:extLst>
  </p:cSld>
  <p:clrMapOvr>
    <a:masterClrMapping/>
  </p:clrMapOvr>
  <p:transition spd="med">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2" y="2288587"/>
            <a:ext cx="5713413" cy="373121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23"/>
            <a:endParaRPr lang="en-US" sz="1800">
              <a:solidFill>
                <a:srgbClr val="FFFFFF"/>
              </a:solidFill>
            </a:endParaRPr>
          </a:p>
        </p:txBody>
      </p:sp>
      <p:sp>
        <p:nvSpPr>
          <p:cNvPr id="8" name="Rectangle 7"/>
          <p:cNvSpPr/>
          <p:nvPr userDrawn="1"/>
        </p:nvSpPr>
        <p:spPr bwMode="auto">
          <a:xfrm>
            <a:off x="2031" y="1542201"/>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5" tIns="61368" rIns="122735" bIns="61368" anchor="ctr"/>
          <a:lstStyle/>
          <a:p>
            <a:pPr marL="158710" indent="-158710" algn="ctr" defTabSz="914323">
              <a:defRPr/>
            </a:pPr>
            <a:endParaRPr lang="en-US" sz="53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7"/>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802161000"/>
      </p:ext>
    </p:extLst>
  </p:cSld>
  <p:clrMapOvr>
    <a:masterClrMapping/>
  </p:clrMapOvr>
  <p:transition spd="med">
    <p:fade/>
  </p:transition>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2183" y="327387"/>
            <a:ext cx="10969924" cy="541860"/>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43" indent="0">
              <a:buFontTx/>
              <a:buNone/>
              <a:defRPr/>
            </a:lvl2pPr>
            <a:lvl3pPr marL="1218885" indent="0">
              <a:buFontTx/>
              <a:buNone/>
              <a:defRPr/>
            </a:lvl3pPr>
            <a:lvl4pPr marL="1828328" indent="0">
              <a:buFontTx/>
              <a:buNone/>
              <a:defRPr/>
            </a:lvl4pPr>
            <a:lvl5pPr marL="2437771"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59380372"/>
      </p:ext>
    </p:extLst>
  </p:cSld>
  <p:clrMapOvr>
    <a:masterClrMapping/>
  </p:clrMapOvr>
  <p:transition spd="med">
    <p:fade/>
  </p:transition>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77103" y="1552230"/>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hasCustomPrompt="1"/>
          </p:nvPr>
        </p:nvSpPr>
        <p:spPr>
          <a:xfrm>
            <a:off x="1077105" y="878140"/>
            <a:ext cx="10849323" cy="424921"/>
          </a:xfrm>
        </p:spPr>
        <p:txBody>
          <a:bodyPr/>
          <a:lstStyle>
            <a:lvl1pPr marL="0" indent="0">
              <a:buNone/>
              <a:defRPr sz="3200">
                <a:solidFill>
                  <a:schemeClr val="tx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Tree>
    <p:extLst>
      <p:ext uri="{BB962C8B-B14F-4D97-AF65-F5344CB8AC3E}">
        <p14:creationId xmlns:p14="http://schemas.microsoft.com/office/powerpoint/2010/main" val="242942004"/>
      </p:ext>
    </p:extLst>
  </p:cSld>
  <p:clrMapOvr>
    <a:masterClrMapping/>
  </p:clrMapOvr>
  <p:transition>
    <p:fade/>
  </p:transition>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2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9"/>
            <a:ext cx="10969924" cy="1025071"/>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303330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F58637A1-2757-41E8-AD98-43E9D0558D9A}"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653937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8DA0FC38-0FA5-4886-ABB4-D52548B1A4EE}"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980332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5" name="TextBox 4"/>
          <p:cNvSpPr txBox="1"/>
          <p:nvPr/>
        </p:nvSpPr>
        <p:spPr>
          <a:xfrm>
            <a:off x="531814" y="1371600"/>
            <a:ext cx="11125199" cy="889000"/>
          </a:xfrm>
          <a:prstGeom prst="rect">
            <a:avLst/>
          </a:prstGeom>
          <a:noFill/>
        </p:spPr>
        <p:txBody>
          <a:bodyPr wrap="none" lIns="0" tIns="0" rIns="0" bIns="0" rtlCol="0" anchor="b">
            <a:noAutofit/>
          </a:bodyPr>
          <a:lstStyle/>
          <a:p>
            <a:pPr defTabSz="914323">
              <a:lnSpc>
                <a:spcPct val="90000"/>
              </a:lnSpc>
            </a:pPr>
            <a:r>
              <a:rPr sz="3200" dirty="0">
                <a:solidFill>
                  <a:srgbClr val="5F5F5F"/>
                </a:solidFill>
              </a:rPr>
              <a:t>Safe Harbor Statement</a:t>
            </a:r>
          </a:p>
        </p:txBody>
      </p:sp>
      <p:sp>
        <p:nvSpPr>
          <p:cNvPr id="6" name="TextBox 5"/>
          <p:cNvSpPr txBox="1"/>
          <p:nvPr/>
        </p:nvSpPr>
        <p:spPr>
          <a:xfrm>
            <a:off x="531814" y="2514600"/>
            <a:ext cx="11125199" cy="2286000"/>
          </a:xfrm>
          <a:prstGeom prst="rect">
            <a:avLst/>
          </a:prstGeom>
          <a:noFill/>
        </p:spPr>
        <p:txBody>
          <a:bodyPr wrap="square" lIns="0" tIns="0" rIns="0" bIns="0" rtlCol="0" anchor="t">
            <a:noAutofit/>
          </a:bodyPr>
          <a:lstStyle/>
          <a:p>
            <a:pPr defTabSz="914323">
              <a:lnSpc>
                <a:spcPct val="90000"/>
              </a:lnSpc>
            </a:pPr>
            <a:r>
              <a:rPr sz="2400" dirty="0">
                <a:solidFill>
                  <a:srgbClr val="5F5F5F"/>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
        <p:nvSpPr>
          <p:cNvPr id="2" name="Date Placeholder 1"/>
          <p:cNvSpPr>
            <a:spLocks noGrp="1"/>
          </p:cNvSpPr>
          <p:nvPr>
            <p:ph type="dt" sz="half" idx="10"/>
          </p:nvPr>
        </p:nvSpPr>
        <p:spPr/>
        <p:txBody>
          <a:bodyPr>
            <a:noAutofit/>
          </a:bodyPr>
          <a:lstStyle/>
          <a:p>
            <a:fld id="{AD051CE8-BCD3-4683-83D4-D0AC55C5EB15}"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4" name="Slide Number Placeholder 3"/>
          <p:cNvSpPr>
            <a:spLocks noGrp="1"/>
          </p:cNvSpPr>
          <p:nvPr>
            <p:ph type="sldNum" sz="quarter" idx="12"/>
          </p:nvPr>
        </p:nvSpPr>
        <p:spPr/>
        <p:txBody>
          <a:bodyPr>
            <a:noAutofit/>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35887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title="Title Slide with Pictu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4C505D5A-B256-44E1-AC96-C2C7474C5D8D}"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055388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B3EEE87-DDB3-4675-99CC-7EF64D192D2F}"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457263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73022D7-D716-4AF5-B755-D22F080AC54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618983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3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4B0713F-DA50-44B8-8328-CFEF845F652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086932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7CD2E52-83C8-44FA-88AD-FB45DDFBF65F}"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97283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B2EC637-D865-4A1A-B82E-96829CE6097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5309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FC69AA-31D1-4BE3-A7F9-4499E9495C0A}"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50669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title="Section Header with Pictu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p:grpSpPr>
        <p:sp>
          <p:nvSpPr>
            <p:cNvPr id="9" name="Rectangle 8"/>
            <p:cNvSpPr/>
            <p:nvPr/>
          </p:nvSpPr>
          <p:spPr bwMode="gray">
            <a:xfrm>
              <a:off x="-287" y="0"/>
              <a:ext cx="193962"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28D98802-C4BE-44EF-A775-109B41689843}"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690083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4B324B-18FF-4147-BA18-D36160E9F106}"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4564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C8D6732-15F2-4802-8009-37AC693C551A}"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390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A9802F-4D43-4C32-8177-0644B387545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8" name="Picture 7" descr="&quot;Hardware and Software Engineered to work together&quot; tagline in red and blac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20862" y="2313433"/>
            <a:ext cx="6547104" cy="1832339"/>
          </a:xfrm>
          <a:prstGeom prst="rect">
            <a:avLst/>
          </a:prstGeom>
        </p:spPr>
      </p:pic>
    </p:spTree>
    <p:extLst>
      <p:ext uri="{BB962C8B-B14F-4D97-AF65-F5344CB8AC3E}">
        <p14:creationId xmlns:p14="http://schemas.microsoft.com/office/powerpoint/2010/main" val="370913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5B7D2015-66F5-48BA-96D8-17D36F2E0AA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73943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B4BFE1CA-6658-4197-8E4E-2C35AF1F1E7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217294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6FBED1B2-9BE1-4BB3-AF93-47A29413317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63201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BE9BFC2-4754-4D3F-B8B7-155C41C1ECF0}"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17947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47832B4-CFEF-4C48-9F00-42AED7DD8CE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264522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C6703CB-F5F4-4371-82F0-CC855CC16EF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16614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834887D-8006-4942-961D-3944DDB3075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5"/>
                </a:solidFill>
              </a:defRPr>
            </a:lvl1pPr>
          </a:lstStyle>
          <a:p>
            <a:r>
              <a:rPr lang="en-US" dirty="0" smtClean="0"/>
              <a:t>XX</a:t>
            </a:r>
            <a:endParaRPr lang="en-US" dirty="0"/>
          </a:p>
        </p:txBody>
      </p:sp>
    </p:spTree>
    <p:extLst>
      <p:ext uri="{BB962C8B-B14F-4D97-AF65-F5344CB8AC3E}">
        <p14:creationId xmlns:p14="http://schemas.microsoft.com/office/powerpoint/2010/main" val="32432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D9227421-3F85-42F8-BDFD-0A6C36E3C2FA}" type="datetime1">
              <a:rPr lang="en-US" smtClean="0">
                <a:solidFill>
                  <a:srgbClr val="5F5F5F"/>
                </a:solidFill>
              </a:rPr>
              <a:pPr/>
              <a:t>11/10/2016</a:t>
            </a:fld>
            <a:endParaRPr dirty="0">
              <a:solidFill>
                <a:srgbClr val="5F5F5F"/>
              </a:solidFill>
            </a:endParaRPr>
          </a:p>
        </p:txBody>
      </p:sp>
      <p:sp>
        <p:nvSpPr>
          <p:cNvPr id="8" name="Footer Placeholder 7"/>
          <p:cNvSpPr>
            <a:spLocks noGrp="1"/>
          </p:cNvSpPr>
          <p:nvPr>
            <p:ph type="ftr" sz="quarter" idx="11"/>
          </p:nvPr>
        </p:nvSpPr>
        <p:spPr/>
        <p:txBody>
          <a:bodyPr/>
          <a:lstStyle/>
          <a:p>
            <a:r>
              <a:rPr dirty="0">
                <a:solidFill>
                  <a:srgbClr val="5F5F5F"/>
                </a:solidFill>
              </a:rPr>
              <a:t>Oracle Confidential – Internal/Restricted/Highly Restricted</a:t>
            </a:r>
          </a:p>
        </p:txBody>
      </p:sp>
      <p:sp>
        <p:nvSpPr>
          <p:cNvPr id="9" name="Slide Number Placeholder 8"/>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65354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8A1F17C-4AFE-4B02-9BD6-67CB04075FF1}"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p:txBody>
          <a:bodyPr/>
          <a:lstStyle/>
          <a:p>
            <a:r>
              <a:rPr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356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10010B8-11AC-4175-BF29-EB4A3C61102F}"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p:txBody>
          <a:bodyPr/>
          <a:lstStyle/>
          <a:p>
            <a:r>
              <a:rPr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649000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5" y="129397"/>
            <a:ext cx="11912778" cy="6547451"/>
          </a:xfrm>
          <a:prstGeom prst="rect">
            <a:avLst/>
          </a:prstGeom>
          <a:noFill/>
          <a:ln>
            <a:noFill/>
          </a:ln>
        </p:spPr>
      </p:pic>
      <p:grpSp>
        <p:nvGrpSpPr>
          <p:cNvPr id="3" name="Group 2"/>
          <p:cNvGrpSpPr/>
          <p:nvPr userDrawn="1"/>
        </p:nvGrpSpPr>
        <p:grpSpPr>
          <a:xfrm>
            <a:off x="-285" y="0"/>
            <a:ext cx="12189400" cy="6858000"/>
            <a:chOff x="-287" y="0"/>
            <a:chExt cx="12189399" cy="6858000"/>
          </a:xfrm>
        </p:grpSpPr>
        <p:sp>
          <p:nvSpPr>
            <p:cNvPr id="6" name="Rectangle 5"/>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7" name="Rectangle 6"/>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8" name="Rectangle 7"/>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9" name="Rectangle 8"/>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grpSp>
      <p:pic>
        <p:nvPicPr>
          <p:cNvPr id="11" name="Picture 10"/>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9" y="2843828"/>
            <a:ext cx="4544568" cy="569547"/>
          </a:xfrm>
          <a:prstGeom prst="rect">
            <a:avLst/>
          </a:prstGeom>
        </p:spPr>
      </p:pic>
    </p:spTree>
    <p:extLst>
      <p:ext uri="{BB962C8B-B14F-4D97-AF65-F5344CB8AC3E}">
        <p14:creationId xmlns:p14="http://schemas.microsoft.com/office/powerpoint/2010/main" val="106575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1827CA-F831-46B0-9758-B6BAE0AF4EAB}"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4198464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686C7CE-9D23-4A42-845E-2EB69666472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77562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BA32AB-378C-44A6-BBCB-4C90F374D0FC}"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885621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87AD43-539D-4156-9FD6-437CAE9F93F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56097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494F0A-3A42-4B5D-A4C2-90E38C5A794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45776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title="iOS Smartphone and Tablet: Horizontal Layou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BA0AC74-C01C-456F-BD5D-BCFFCE23EE8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65846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C447B5AF-1809-4D52-BE60-78F570C83F44}"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747673" y="1013144"/>
            <a:ext cx="396213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3" name="Picture 12" descr="Photos, screen captures, graphics can be inserted in a white mobile phone and tablet" title="iOS Smartphone and Tablet: Vertical Layou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128519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title="Android Smartphone and Tablet: Horizont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A2474AE-A74B-49A7-B5B1-A400C0D62D3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975104"/>
            <a:ext cx="5248656" cy="3328416"/>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36967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4B767A9A-D0AC-47FB-851D-810FC45BAB35}"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9" name="Picture 18" descr="Photos, screen captures, graphics can be inserted in a white mobile phone and tablet" title="Android Smartphone and Tablet: Vertic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3179847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title="Large metric with 4-color photo"/>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2" name="Group 1"/>
          <p:cNvGrpSpPr/>
          <p:nvPr/>
        </p:nvGrpSpPr>
        <p:grpSpPr>
          <a:xfrm>
            <a:off x="0" y="0"/>
            <a:ext cx="12189399" cy="6858000"/>
            <a:chOff x="-287" y="0"/>
            <a:chExt cx="12189399" cy="6858000"/>
          </a:xfrm>
        </p:grpSpPr>
        <p:sp>
          <p:nvSpPr>
            <p:cNvPr id="10" name="Rectangle 9"/>
            <p:cNvSpPr/>
            <p:nvPr/>
          </p:nvSpPr>
          <p:spPr bwMode="gray">
            <a:xfrm>
              <a:off x="-287" y="0"/>
              <a:ext cx="193962"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11995151" y="5854"/>
              <a:ext cx="193960"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6400800"/>
              <a:ext cx="12189396"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3" name="Rectangle 12"/>
            <p:cNvSpPr/>
            <p:nvPr/>
          </p:nvSpPr>
          <p:spPr bwMode="gray">
            <a:xfrm>
              <a:off x="-286" y="0"/>
              <a:ext cx="12189398" cy="192024"/>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5" name="Date Placeholder 4"/>
          <p:cNvSpPr>
            <a:spLocks noGrp="1"/>
          </p:cNvSpPr>
          <p:nvPr>
            <p:ph type="dt" sz="half" idx="10"/>
          </p:nvPr>
        </p:nvSpPr>
        <p:spPr/>
        <p:txBody>
          <a:bodyPr/>
          <a:lstStyle>
            <a:lvl1pPr>
              <a:defRPr>
                <a:solidFill>
                  <a:srgbClr val="5F5F5F"/>
                </a:solidFill>
              </a:defRPr>
            </a:lvl1pPr>
          </a:lstStyle>
          <a:p>
            <a:fld id="{4ADD7E43-24FB-40CC-971F-1AFB4F96D58C}"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3264313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3" y="1524001"/>
            <a:ext cx="11126522" cy="4419600"/>
          </a:xfrm>
        </p:spPr>
        <p:txBody>
          <a:bodyPr vert="eaVert">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noAutofit/>
          </a:bodyPr>
          <a:lstStyle/>
          <a:p>
            <a:fld id="{21991926-9D37-40E7-80C4-EC5F27AFCB67}" type="datetimeFigureOut">
              <a:rPr lang="en-US" smtClean="0">
                <a:solidFill>
                  <a:srgbClr val="5F5F5F">
                    <a:lumMod val="60000"/>
                    <a:lumOff val="40000"/>
                  </a:srgbClr>
                </a:solidFill>
              </a:rPr>
              <a:pPr/>
              <a:t>11/10/2016</a:t>
            </a:fld>
            <a:endParaRPr lang="en-US">
              <a:solidFill>
                <a:srgbClr val="5F5F5F">
                  <a:lumMod val="60000"/>
                  <a:lumOff val="40000"/>
                </a:srgbClr>
              </a:solidFill>
            </a:endParaRPr>
          </a:p>
        </p:txBody>
      </p:sp>
      <p:sp>
        <p:nvSpPr>
          <p:cNvPr id="5" name="Footer Placeholder 4"/>
          <p:cNvSpPr>
            <a:spLocks noGrp="1"/>
          </p:cNvSpPr>
          <p:nvPr>
            <p:ph type="ftr" sz="quarter" idx="11"/>
          </p:nvPr>
        </p:nvSpPr>
        <p:spPr>
          <a:xfrm>
            <a:off x="8777290" y="6556248"/>
            <a:ext cx="2498722" cy="182880"/>
          </a:xfrm>
          <a:prstGeom prst="rect">
            <a:avLst/>
          </a:prstGeom>
        </p:spPr>
        <p:txBody>
          <a:bodyPr>
            <a:noAutofit/>
          </a:bodyPr>
          <a:lstStyle/>
          <a:p>
            <a:endParaRPr lang="en-US">
              <a:solidFill>
                <a:srgbClr val="5F5F5F">
                  <a:lumMod val="60000"/>
                  <a:lumOff val="40000"/>
                </a:srgbClr>
              </a:solidFill>
            </a:endParaRPr>
          </a:p>
        </p:txBody>
      </p:sp>
      <p:sp>
        <p:nvSpPr>
          <p:cNvPr id="6" name="Slide Number Placeholder 5"/>
          <p:cNvSpPr>
            <a:spLocks noGrp="1"/>
          </p:cNvSpPr>
          <p:nvPr>
            <p:ph type="sldNum" sz="quarter" idx="12"/>
          </p:nvPr>
        </p:nvSpPr>
        <p:spPr/>
        <p:txBody>
          <a:bodyPr>
            <a:noAutofit/>
          </a:bodyPr>
          <a:lstStyle/>
          <a:p>
            <a:fld id="{D4EAF17A-378C-49D5-A479-C71FF9D7F1E7}" type="slidenum">
              <a:rPr lang="en-US" smtClean="0">
                <a:solidFill>
                  <a:srgbClr val="5F5F5F">
                    <a:lumMod val="60000"/>
                    <a:lumOff val="40000"/>
                  </a:srgbClr>
                </a:solidFill>
              </a:rPr>
              <a:pPr/>
              <a:t>‹#›</a:t>
            </a:fld>
            <a:endParaRPr lang="en-US">
              <a:solidFill>
                <a:srgbClr val="5F5F5F">
                  <a:lumMod val="60000"/>
                  <a:lumOff val="40000"/>
                </a:srgbClr>
              </a:solidFill>
            </a:endParaRPr>
          </a:p>
        </p:txBody>
      </p:sp>
    </p:spTree>
    <p:extLst>
      <p:ext uri="{BB962C8B-B14F-4D97-AF65-F5344CB8AC3E}">
        <p14:creationId xmlns:p14="http://schemas.microsoft.com/office/powerpoint/2010/main" val="386218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ACD4C6-5F02-4E1D-8860-E571DA6DFE1F}"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362445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6134E1-025A-423B-B455-DC3D3A91EDB9}"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34836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title="Oracle corporate Tagline in colo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44214A5B-588F-4C90-9D20-DD3B4D6AC865}"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26479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title="Oracle Logo Slid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309055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9AD8BE6-AA7C-4328-9B9F-94628525022E}" type="datetime1">
              <a:rPr lang="en-US" smtClean="0">
                <a:solidFill>
                  <a:srgbClr val="5F5F5F"/>
                </a:solidFill>
              </a:rPr>
              <a:pPr/>
              <a:t>11/10/2016</a:t>
            </a:fld>
            <a:endParaRPr lang="en-US">
              <a:solidFill>
                <a:srgbClr val="5F5F5F"/>
              </a:solidFill>
            </a:endParaRPr>
          </a:p>
        </p:txBody>
      </p:sp>
      <p:sp>
        <p:nvSpPr>
          <p:cNvPr id="5" name="Footer Placeholder 4"/>
          <p:cNvSpPr>
            <a:spLocks noGrp="1"/>
          </p:cNvSpPr>
          <p:nvPr>
            <p:ph type="ftr" sz="quarter" idx="11"/>
          </p:nvPr>
        </p:nvSpPr>
        <p:spPr/>
        <p:txBody>
          <a:bodyPr/>
          <a:lstStyle/>
          <a:p>
            <a:r>
              <a:rPr lang="en-US" smtClean="0">
                <a:solidFill>
                  <a:srgbClr val="5F5F5F"/>
                </a:solidFill>
              </a:rPr>
              <a:t>Oracle Confidential – Internal/Restricted/Highly Restricted</a:t>
            </a:r>
            <a:endParaRPr lang="en-US">
              <a:solidFill>
                <a:srgbClr val="5F5F5F"/>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F5F5F"/>
                </a:solidFill>
              </a:rPr>
              <a:pPr/>
              <a:t>‹#›</a:t>
            </a:fld>
            <a:endParaRPr lang="en-US">
              <a:solidFill>
                <a:srgbClr val="5F5F5F"/>
              </a:solidFill>
            </a:endParaRPr>
          </a:p>
        </p:txBody>
      </p:sp>
    </p:spTree>
    <p:extLst>
      <p:ext uri="{BB962C8B-B14F-4D97-AF65-F5344CB8AC3E}">
        <p14:creationId xmlns:p14="http://schemas.microsoft.com/office/powerpoint/2010/main" val="15603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B8E2682-7303-4393-9F25-7F1900A10367}"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38499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700"/>
            </a:lvl1pPr>
          </a:lstStyle>
          <a:p>
            <a:r>
              <a:rPr lang="en-US" dirty="0" smtClean="0"/>
              <a:t>Click to edit Master title style</a:t>
            </a:r>
            <a:endParaRPr lang="en-US" dirty="0"/>
          </a:p>
        </p:txBody>
      </p:sp>
    </p:spTree>
    <p:extLst>
      <p:ext uri="{BB962C8B-B14F-4D97-AF65-F5344CB8AC3E}">
        <p14:creationId xmlns:p14="http://schemas.microsoft.com/office/powerpoint/2010/main" val="234974218"/>
      </p:ext>
    </p:extLst>
  </p:cSld>
  <p:clrMapOvr>
    <a:masterClrMapping/>
  </p:clrMapOvr>
  <p:transition/>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p:nvPr>
        </p:nvSpPr>
        <p:spPr>
          <a:xfrm>
            <a:off x="979102" y="236394"/>
            <a:ext cx="10593806" cy="476225"/>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978236" y="1561033"/>
            <a:ext cx="10594672" cy="4491037"/>
          </a:xfrm>
        </p:spPr>
        <p:txBody>
          <a:bodyPr/>
          <a:lstStyle>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quarter" idx="11"/>
          </p:nvPr>
        </p:nvSpPr>
        <p:spPr>
          <a:xfrm>
            <a:off x="979102" y="668892"/>
            <a:ext cx="10593806" cy="449263"/>
          </a:xfrm>
        </p:spPr>
        <p:txBody>
          <a:bodyPr/>
          <a:lstStyle>
            <a:lvl1pPr marL="0" indent="0">
              <a:buNone/>
              <a:defRPr>
                <a:solidFill>
                  <a:schemeClr val="accent1"/>
                </a:solidFill>
              </a:defRPr>
            </a:lvl1pPr>
          </a:lstStyle>
          <a:p>
            <a:pPr lvl="0"/>
            <a:r>
              <a:rPr lang="en-US" smtClean="0"/>
              <a:t>Click to edit Master text styles</a:t>
            </a:r>
          </a:p>
        </p:txBody>
      </p:sp>
    </p:spTree>
    <p:extLst>
      <p:ext uri="{BB962C8B-B14F-4D97-AF65-F5344CB8AC3E}">
        <p14:creationId xmlns:p14="http://schemas.microsoft.com/office/powerpoint/2010/main" val="746458551"/>
      </p:ext>
    </p:extLst>
  </p:cSld>
  <p:clrMapOvr>
    <a:masterClrMapping/>
  </p:clrMapOvr>
  <p:transition spd="med">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355092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2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266053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D3D3DC0-E8DA-4DFB-93A6-6089D43271B1}"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5" name="Footer Placeholder 4"/>
          <p:cNvSpPr>
            <a:spLocks noGrp="1"/>
          </p:cNvSpPr>
          <p:nvPr>
            <p:ph type="ftr" sz="quarter" idx="11"/>
          </p:nvPr>
        </p:nvSpPr>
        <p:spPr>
          <a:xfrm>
            <a:off x="8777290" y="6556248"/>
            <a:ext cx="2498722" cy="182880"/>
          </a:xfrm>
          <a:prstGeom prst="rect">
            <a:avLst/>
          </a:prstGeom>
        </p:spPr>
        <p:txBody>
          <a:body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17345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F58637A1-2757-41E8-AD98-43E9D0558D9A}"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10913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8DA0FC38-0FA5-4886-ABB4-D52548B1A4EE}"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91605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title="Title Slide with Pictu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4C505D5A-B256-44E1-AC96-C2C7474C5D8D}"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82529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B3EEE87-DDB3-4675-99CC-7EF64D192D2F}"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136818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73022D7-D716-4AF5-B755-D22F080AC54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800208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4B0713F-DA50-44B8-8328-CFEF845F652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01361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7CD2E52-83C8-44FA-88AD-FB45DDFBF65F}"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26847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B2EC637-D865-4A1A-B82E-96829CE6097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18104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FC69AA-31D1-4BE3-A7F9-4499E9495C0A}"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026161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title="Section Header with Pictu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p:grpSpPr>
        <p:sp>
          <p:nvSpPr>
            <p:cNvPr id="9" name="Rectangle 8"/>
            <p:cNvSpPr/>
            <p:nvPr/>
          </p:nvSpPr>
          <p:spPr bwMode="gray">
            <a:xfrm>
              <a:off x="-287" y="0"/>
              <a:ext cx="193962"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28D98802-C4BE-44EF-A775-109B41689843}"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470659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2" y="2288587"/>
            <a:ext cx="5713413" cy="373121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23"/>
            <a:endParaRPr lang="en-US">
              <a:solidFill>
                <a:srgbClr val="FFFFFF"/>
              </a:solidFill>
            </a:endParaRPr>
          </a:p>
        </p:txBody>
      </p:sp>
      <p:sp>
        <p:nvSpPr>
          <p:cNvPr id="8" name="Rectangle 7"/>
          <p:cNvSpPr/>
          <p:nvPr userDrawn="1"/>
        </p:nvSpPr>
        <p:spPr bwMode="auto">
          <a:xfrm>
            <a:off x="2031" y="1542201"/>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5" tIns="61368" rIns="122735" bIns="61368" anchor="ctr"/>
          <a:lstStyle/>
          <a:p>
            <a:pPr marL="158710" indent="-158710" algn="ctr" defTabSz="914323">
              <a:defRPr/>
            </a:pPr>
            <a:endParaRPr lang="en-US" sz="53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7"/>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222717205"/>
      </p:ext>
    </p:extLst>
  </p:cSld>
  <p:clrMapOvr>
    <a:masterClrMapping/>
  </p:clrMapOvr>
  <p:transition spd="med">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4B324B-18FF-4147-BA18-D36160E9F106}"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769588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C8D6732-15F2-4802-8009-37AC693C551A}"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7175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5B7D2015-66F5-48BA-96D8-17D36F2E0AA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392126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B4BFE1CA-6658-4197-8E4E-2C35AF1F1E7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52690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6FBED1B2-9BE1-4BB3-AF93-47A29413317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66686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BE9BFC2-4754-4D3F-B8B7-155C41C1ECF0}"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99688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47832B4-CFEF-4C48-9F00-42AED7DD8CE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54950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C6703CB-F5F4-4371-82F0-CC855CC16EF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68885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834887D-8006-4942-961D-3944DDB3075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5"/>
                </a:solidFill>
              </a:defRPr>
            </a:lvl1pPr>
          </a:lstStyle>
          <a:p>
            <a:r>
              <a:rPr lang="en-US" dirty="0" smtClean="0"/>
              <a:t>XX</a:t>
            </a:r>
            <a:endParaRPr lang="en-US" dirty="0"/>
          </a:p>
        </p:txBody>
      </p:sp>
    </p:spTree>
    <p:extLst>
      <p:ext uri="{BB962C8B-B14F-4D97-AF65-F5344CB8AC3E}">
        <p14:creationId xmlns:p14="http://schemas.microsoft.com/office/powerpoint/2010/main" val="134676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D9227421-3F85-42F8-BDFD-0A6C36E3C2FA}" type="datetime1">
              <a:rPr lang="en-US" smtClean="0">
                <a:solidFill>
                  <a:srgbClr val="5F5F5F"/>
                </a:solidFill>
              </a:rPr>
              <a:pPr/>
              <a:t>11/10/2016</a:t>
            </a:fld>
            <a:endParaRPr dirty="0">
              <a:solidFill>
                <a:srgbClr val="5F5F5F"/>
              </a:solidFill>
            </a:endParaRPr>
          </a:p>
        </p:txBody>
      </p:sp>
      <p:sp>
        <p:nvSpPr>
          <p:cNvPr id="8" name="Footer Placeholder 7"/>
          <p:cNvSpPr>
            <a:spLocks noGrp="1"/>
          </p:cNvSpPr>
          <p:nvPr>
            <p:ph type="ftr" sz="quarter" idx="11"/>
          </p:nvPr>
        </p:nvSpPr>
        <p:spPr/>
        <p:txBody>
          <a:bodyPr/>
          <a:lstStyle/>
          <a:p>
            <a:r>
              <a:rPr dirty="0">
                <a:solidFill>
                  <a:srgbClr val="5F5F5F"/>
                </a:solidFill>
              </a:rPr>
              <a:t>Oracle Confidential – Internal/Restricted/Highly Restricted</a:t>
            </a:r>
          </a:p>
        </p:txBody>
      </p:sp>
      <p:sp>
        <p:nvSpPr>
          <p:cNvPr id="9" name="Slide Number Placeholder 8"/>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18069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and Logo">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defTabSz="914323"/>
            <a:endParaRPr dirty="0">
              <a:solidFill>
                <a:srgbClr val="FFFFFF"/>
              </a:solidFill>
            </a:endParaRPr>
          </a:p>
        </p:txBody>
      </p:sp>
      <p:sp>
        <p:nvSpPr>
          <p:cNvPr id="2" name="Title 1"/>
          <p:cNvSpPr>
            <a:spLocks noGrp="1"/>
          </p:cNvSpPr>
          <p:nvPr>
            <p:ph type="ctrTitle"/>
          </p:nvPr>
        </p:nvSpPr>
        <p:spPr>
          <a:xfrm>
            <a:off x="531813" y="739778"/>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2"/>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585FCE51-BA3E-43B9-8C27-47617E4B4FE5}" type="datetime1">
              <a:rPr lang="en-US">
                <a:solidFill>
                  <a:srgbClr val="FFFFFF">
                    <a:lumMod val="60000"/>
                    <a:lumOff val="40000"/>
                  </a:srgbClr>
                </a:solidFill>
              </a:rPr>
              <a:pPr/>
              <a:t>11/10/2016</a:t>
            </a:fld>
            <a:endParaRPr dirty="0">
              <a:solidFill>
                <a:srgbClr val="FFFFFF">
                  <a:lumMod val="60000"/>
                  <a:lumOff val="40000"/>
                </a:srgbClr>
              </a:solidFill>
            </a:endParaRPr>
          </a:p>
        </p:txBody>
      </p:sp>
      <p:sp>
        <p:nvSpPr>
          <p:cNvPr id="11" name="TextBox 10"/>
          <p:cNvSpPr txBox="1"/>
          <p:nvPr/>
        </p:nvSpPr>
        <p:spPr>
          <a:xfrm>
            <a:off x="5989641" y="6556248"/>
            <a:ext cx="2787651" cy="182880"/>
          </a:xfrm>
          <a:prstGeom prst="rect">
            <a:avLst/>
          </a:prstGeom>
          <a:noFill/>
        </p:spPr>
        <p:txBody>
          <a:bodyPr wrap="none" lIns="0" tIns="0" rIns="0" bIns="0" rtlCol="0" anchor="ctr" anchorCtr="0">
            <a:noAutofit/>
          </a:bodyPr>
          <a:lstStyle/>
          <a:p>
            <a:pPr defTabSz="914323"/>
            <a:r>
              <a:rPr sz="800" dirty="0">
                <a:solidFill>
                  <a:srgbClr val="FFFFFF">
                    <a:lumMod val="60000"/>
                    <a:lumOff val="40000"/>
                  </a:srgbClr>
                </a:solidFill>
              </a:rPr>
              <a:t>Copyright © </a:t>
            </a:r>
            <a:r>
              <a:rPr lang="en-US" sz="800" dirty="0" smtClean="0">
                <a:solidFill>
                  <a:srgbClr val="FFFFFF">
                    <a:lumMod val="60000"/>
                    <a:lumOff val="40000"/>
                  </a:srgbClr>
                </a:solidFill>
              </a:rPr>
              <a:t>2016 </a:t>
            </a:r>
            <a:r>
              <a:rPr sz="800" dirty="0" smtClean="0">
                <a:solidFill>
                  <a:srgbClr val="FFFFFF">
                    <a:lumMod val="60000"/>
                    <a:lumOff val="40000"/>
                  </a:srgbClr>
                </a:solidFill>
              </a:rPr>
              <a:t>Oracle </a:t>
            </a:r>
            <a:r>
              <a:rPr sz="800" dirty="0">
                <a:solidFill>
                  <a:srgbClr val="FFFFFF">
                    <a:lumMod val="60000"/>
                    <a:lumOff val="40000"/>
                  </a:srgbClr>
                </a:solidFill>
              </a:rPr>
              <a:t>and/or its affiliates. All rights reserved.  |</a:t>
            </a:r>
          </a:p>
        </p:txBody>
      </p:sp>
      <p:sp>
        <p:nvSpPr>
          <p:cNvPr id="6" name="Slide Number Placeholder 5"/>
          <p:cNvSpPr>
            <a:spLocks noGrp="1"/>
          </p:cNvSpPr>
          <p:nvPr>
            <p:ph type="sldNum" sz="quarter" idx="12"/>
          </p:nvPr>
        </p:nvSpPr>
        <p:spPr>
          <a:xfrm>
            <a:off x="11276012" y="6934200"/>
            <a:ext cx="381661" cy="182880"/>
          </a:xfrm>
        </p:spPr>
        <p:txBody>
          <a:bodyPr/>
          <a:lstStyle>
            <a:lvl1pPr>
              <a:defRPr>
                <a:solidFill>
                  <a:srgbClr val="BCC0C4"/>
                </a:solidFill>
              </a:defRPr>
            </a:lvl1pPr>
          </a:lstStyle>
          <a:p>
            <a:fld id="{C51EAA63-D034-42AE-91FA-B13B9518C7BE}" type="slidenum">
              <a:rPr/>
              <a:pPr/>
              <a:t>‹#›</a:t>
            </a:fld>
            <a:endParaRPr dirty="0"/>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defTabSz="914323"/>
            <a:endParaRPr dirty="0">
              <a:solidFill>
                <a:srgbClr val="FFFFFF"/>
              </a:solidFill>
            </a:endParaRPr>
          </a:p>
        </p:txBody>
      </p:sp>
      <p:sp>
        <p:nvSpPr>
          <p:cNvPr id="21" name="Text Placeholder 12"/>
          <p:cNvSpPr>
            <a:spLocks noGrp="1"/>
          </p:cNvSpPr>
          <p:nvPr>
            <p:ph type="body" sz="quarter" idx="15" hasCustomPrompt="1"/>
          </p:nvPr>
        </p:nvSpPr>
        <p:spPr>
          <a:xfrm>
            <a:off x="9904412" y="228600"/>
            <a:ext cx="1676401" cy="228600"/>
          </a:xfrm>
        </p:spPr>
        <p:txBody>
          <a:bodyPr anchor="b">
            <a:normAutofit/>
          </a:bodyPr>
          <a:lstStyle>
            <a:lvl1pPr marL="1588" indent="0" algn="ctr">
              <a:spcBef>
                <a:spcPts val="0"/>
              </a:spcBef>
              <a:buFontTx/>
              <a:buNone/>
              <a:defRPr sz="15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pic>
        <p:nvPicPr>
          <p:cNvPr id="14"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4" y="6263640"/>
            <a:ext cx="1622861" cy="594360"/>
          </a:xfrm>
          <a:prstGeom prst="rect">
            <a:avLst/>
          </a:prstGeom>
        </p:spPr>
      </p:pic>
    </p:spTree>
    <p:extLst>
      <p:ext uri="{BB962C8B-B14F-4D97-AF65-F5344CB8AC3E}">
        <p14:creationId xmlns:p14="http://schemas.microsoft.com/office/powerpoint/2010/main" val="306378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New Template_Announcement Key Features">
    <p:spTree>
      <p:nvGrpSpPr>
        <p:cNvPr id="1" name=""/>
        <p:cNvGrpSpPr/>
        <p:nvPr/>
      </p:nvGrpSpPr>
      <p:grpSpPr>
        <a:xfrm>
          <a:off x="0" y="0"/>
          <a:ext cx="0" cy="0"/>
          <a:chOff x="0" y="0"/>
          <a:chExt cx="0" cy="0"/>
        </a:xfrm>
      </p:grpSpPr>
      <p:sp>
        <p:nvSpPr>
          <p:cNvPr id="9" name="Rectangle 8"/>
          <p:cNvSpPr/>
          <p:nvPr userDrawn="1"/>
        </p:nvSpPr>
        <p:spPr>
          <a:xfrm>
            <a:off x="3985746" y="1546584"/>
            <a:ext cx="8203079" cy="4409813"/>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23"/>
            <a:endParaRPr lang="en-US">
              <a:solidFill>
                <a:srgbClr val="FFFFFF"/>
              </a:solidFill>
            </a:endParaRPr>
          </a:p>
        </p:txBody>
      </p:sp>
      <p:sp>
        <p:nvSpPr>
          <p:cNvPr id="10" name="Text Placeholder 9"/>
          <p:cNvSpPr>
            <a:spLocks noGrp="1"/>
          </p:cNvSpPr>
          <p:nvPr>
            <p:ph type="body" sz="quarter" idx="11"/>
          </p:nvPr>
        </p:nvSpPr>
        <p:spPr>
          <a:xfrm>
            <a:off x="4590569" y="1907043"/>
            <a:ext cx="7158107" cy="3364876"/>
          </a:xfrm>
        </p:spPr>
        <p:txBody>
          <a:bodyPr anchor="t" anchorCtr="0"/>
          <a:lstStyle>
            <a:lvl1pPr marL="0" indent="0">
              <a:buNone/>
              <a:defRPr sz="32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1072183" y="327385"/>
            <a:ext cx="10969924" cy="1027283"/>
          </a:xfrm>
        </p:spPr>
        <p:txBody>
          <a:bodyPr anchor="t" anchorCtr="0"/>
          <a:lstStyle>
            <a:lvl1pPr>
              <a:defRPr/>
            </a:lvl1pPr>
          </a:lstStyle>
          <a:p>
            <a:r>
              <a:rPr lang="en-US" smtClean="0"/>
              <a:t>Click to edit Master title style</a:t>
            </a:r>
            <a:endParaRPr lang="en-US" dirty="0"/>
          </a:p>
        </p:txBody>
      </p:sp>
      <p:sp>
        <p:nvSpPr>
          <p:cNvPr id="6" name="Picture Placeholder 11"/>
          <p:cNvSpPr>
            <a:spLocks noGrp="1"/>
          </p:cNvSpPr>
          <p:nvPr>
            <p:ph type="pic" sz="quarter" idx="13" hasCustomPrompt="1"/>
          </p:nvPr>
        </p:nvSpPr>
        <p:spPr>
          <a:xfrm>
            <a:off x="8466" y="1546581"/>
            <a:ext cx="3924802" cy="3962400"/>
          </a:xfrm>
          <a:ln>
            <a:noFill/>
          </a:ln>
          <a:effectLst>
            <a:reflection stA="30000" endPos="4000" dir="5400000" sy="-100000" algn="bl" rotWithShape="0"/>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spTree>
    <p:extLst>
      <p:ext uri="{BB962C8B-B14F-4D97-AF65-F5344CB8AC3E}">
        <p14:creationId xmlns:p14="http://schemas.microsoft.com/office/powerpoint/2010/main" val="3713435937"/>
      </p:ext>
    </p:extLst>
  </p:cSld>
  <p:clrMapOvr>
    <a:masterClrMapping/>
  </p:clrMapOvr>
  <p:transition spd="med">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8A1F17C-4AFE-4B02-9BD6-67CB04075FF1}"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p:txBody>
          <a:bodyPr/>
          <a:lstStyle/>
          <a:p>
            <a:r>
              <a:rPr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080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10010B8-11AC-4175-BF29-EB4A3C61102F}"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p:txBody>
          <a:bodyPr/>
          <a:lstStyle/>
          <a:p>
            <a:r>
              <a:rPr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49498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1827CA-F831-46B0-9758-B6BAE0AF4EAB}"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363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686C7CE-9D23-4A42-845E-2EB69666472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47317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BA32AB-378C-44A6-BBCB-4C90F374D0FC}"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186724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87AD43-539D-4156-9FD6-437CAE9F93F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807692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494F0A-3A42-4B5D-A4C2-90E38C5A794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88192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title="iOS Smartphone and Tablet: Horizontal Layou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BA0AC74-C01C-456F-BD5D-BCFFCE23EE8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22098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C447B5AF-1809-4D52-BE60-78F570C83F44}"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747673" y="1013144"/>
            <a:ext cx="396213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3" name="Picture 12" descr="Photos, screen captures, graphics can be inserted in a white mobile phone and tablet" title="iOS Smartphone and Tablet: Vertical Layou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2800122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title="Android Smartphone and Tablet: Horizont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A2474AE-A74B-49A7-B5B1-A400C0D62D3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975104"/>
            <a:ext cx="5248656" cy="3328416"/>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96255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6"/>
            <a:ext cx="10969924" cy="1025071"/>
          </a:xfrm>
        </p:spPr>
        <p:txBody>
          <a:bodyPr anchor="t" anchorCtr="0"/>
          <a:lstStyle/>
          <a:p>
            <a:r>
              <a:rPr lang="en-US" smtClean="0"/>
              <a:t>Click to edit Master title style</a:t>
            </a: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1372308"/>
            <a:ext cx="10969943" cy="406400"/>
          </a:xfrm>
        </p:spPr>
        <p:txBody>
          <a:bodyPr anchor="t" anchorCtr="0">
            <a:noAutofit/>
          </a:bodyPr>
          <a:lstStyle>
            <a:lvl1pPr marL="0" indent="0">
              <a:spcAft>
                <a:spcPts val="0"/>
              </a:spcAft>
              <a:buFontTx/>
              <a:buNone/>
              <a:defRPr sz="2700">
                <a:solidFill>
                  <a:schemeClr val="accent1"/>
                </a:solidFill>
              </a:defRPr>
            </a:lvl1pPr>
            <a:lvl2pPr marL="609468" indent="0">
              <a:buFontTx/>
              <a:buNone/>
              <a:defRPr/>
            </a:lvl2pPr>
            <a:lvl3pPr marL="1218936" indent="0">
              <a:buFontTx/>
              <a:buNone/>
              <a:defRPr/>
            </a:lvl3pPr>
            <a:lvl4pPr marL="1828404" indent="0">
              <a:buFontTx/>
              <a:buNone/>
              <a:defRPr/>
            </a:lvl4pPr>
            <a:lvl5pPr marL="2437872" indent="0">
              <a:buFontTx/>
              <a:buNone/>
              <a:defRPr/>
            </a:lvl5pPr>
          </a:lstStyle>
          <a:p>
            <a:pPr lvl="0"/>
            <a:r>
              <a:rPr lang="en-US" smtClean="0"/>
              <a:t>Click to edit Master text styles</a:t>
            </a:r>
          </a:p>
        </p:txBody>
      </p:sp>
    </p:spTree>
    <p:extLst>
      <p:ext uri="{BB962C8B-B14F-4D97-AF65-F5344CB8AC3E}">
        <p14:creationId xmlns:p14="http://schemas.microsoft.com/office/powerpoint/2010/main" val="779059940"/>
      </p:ext>
    </p:extLst>
  </p:cSld>
  <p:clrMapOvr>
    <a:masterClrMapping/>
  </p:clrMapOvr>
  <p:transition spd="med">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4B767A9A-D0AC-47FB-851D-810FC45BAB35}"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9" name="Picture 18" descr="Photos, screen captures, graphics can be inserted in a white mobile phone and tablet" title="Android Smartphone and Tablet: Vertic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65061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title="Large metric with 4-color photo"/>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2" name="Group 1"/>
          <p:cNvGrpSpPr/>
          <p:nvPr/>
        </p:nvGrpSpPr>
        <p:grpSpPr>
          <a:xfrm>
            <a:off x="0" y="0"/>
            <a:ext cx="12189399" cy="6858000"/>
            <a:chOff x="-287" y="0"/>
            <a:chExt cx="12189399" cy="6858000"/>
          </a:xfrm>
        </p:grpSpPr>
        <p:sp>
          <p:nvSpPr>
            <p:cNvPr id="10" name="Rectangle 9"/>
            <p:cNvSpPr/>
            <p:nvPr/>
          </p:nvSpPr>
          <p:spPr bwMode="gray">
            <a:xfrm>
              <a:off x="-287" y="0"/>
              <a:ext cx="193962"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11995151" y="5854"/>
              <a:ext cx="193960"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6400800"/>
              <a:ext cx="12189396"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3" name="Rectangle 12"/>
            <p:cNvSpPr/>
            <p:nvPr/>
          </p:nvSpPr>
          <p:spPr bwMode="gray">
            <a:xfrm>
              <a:off x="-286" y="0"/>
              <a:ext cx="12189398" cy="192024"/>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5" name="Date Placeholder 4"/>
          <p:cNvSpPr>
            <a:spLocks noGrp="1"/>
          </p:cNvSpPr>
          <p:nvPr>
            <p:ph type="dt" sz="half" idx="10"/>
          </p:nvPr>
        </p:nvSpPr>
        <p:spPr/>
        <p:txBody>
          <a:bodyPr/>
          <a:lstStyle>
            <a:lvl1pPr>
              <a:defRPr>
                <a:solidFill>
                  <a:srgbClr val="5F5F5F"/>
                </a:solidFill>
              </a:defRPr>
            </a:lvl1pPr>
          </a:lstStyle>
          <a:p>
            <a:fld id="{4ADD7E43-24FB-40CC-971F-1AFB4F96D58C}"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776227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ACD4C6-5F02-4E1D-8860-E571DA6DFE1F}"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58696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6134E1-025A-423B-B455-DC3D3A91EDB9}"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106484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title="Oracle corporate Tagline in colo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44214A5B-588F-4C90-9D20-DD3B4D6AC865}"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15934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title="Oracle Logo Slid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256316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9AD8BE6-AA7C-4328-9B9F-94628525022E}" type="datetime1">
              <a:rPr lang="en-US" smtClean="0">
                <a:solidFill>
                  <a:srgbClr val="5F5F5F"/>
                </a:solidFill>
              </a:rPr>
              <a:pPr/>
              <a:t>11/10/2016</a:t>
            </a:fld>
            <a:endParaRPr lang="en-US">
              <a:solidFill>
                <a:srgbClr val="5F5F5F"/>
              </a:solidFill>
            </a:endParaRPr>
          </a:p>
        </p:txBody>
      </p:sp>
      <p:sp>
        <p:nvSpPr>
          <p:cNvPr id="5" name="Footer Placeholder 4"/>
          <p:cNvSpPr>
            <a:spLocks noGrp="1"/>
          </p:cNvSpPr>
          <p:nvPr>
            <p:ph type="ftr" sz="quarter" idx="11"/>
          </p:nvPr>
        </p:nvSpPr>
        <p:spPr/>
        <p:txBody>
          <a:bodyPr/>
          <a:lstStyle/>
          <a:p>
            <a:r>
              <a:rPr lang="en-US" smtClean="0">
                <a:solidFill>
                  <a:srgbClr val="5F5F5F"/>
                </a:solidFill>
              </a:rPr>
              <a:t>Oracle Confidential – Internal/Restricted/Highly Restricted</a:t>
            </a:r>
            <a:endParaRPr lang="en-US">
              <a:solidFill>
                <a:srgbClr val="5F5F5F"/>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F5F5F"/>
                </a:solidFill>
              </a:rPr>
              <a:pPr/>
              <a:t>‹#›</a:t>
            </a:fld>
            <a:endParaRPr lang="en-US">
              <a:solidFill>
                <a:srgbClr val="5F5F5F"/>
              </a:solidFill>
            </a:endParaRPr>
          </a:p>
        </p:txBody>
      </p:sp>
    </p:spTree>
    <p:extLst>
      <p:ext uri="{BB962C8B-B14F-4D97-AF65-F5344CB8AC3E}">
        <p14:creationId xmlns:p14="http://schemas.microsoft.com/office/powerpoint/2010/main" val="80383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B8E2682-7303-4393-9F25-7F1900A10367}"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82996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700"/>
            </a:lvl1pPr>
          </a:lstStyle>
          <a:p>
            <a:r>
              <a:rPr lang="en-US" dirty="0" smtClean="0"/>
              <a:t>Click to edit Master title style</a:t>
            </a:r>
            <a:endParaRPr lang="en-US" dirty="0"/>
          </a:p>
        </p:txBody>
      </p:sp>
    </p:spTree>
    <p:extLst>
      <p:ext uri="{BB962C8B-B14F-4D97-AF65-F5344CB8AC3E}">
        <p14:creationId xmlns:p14="http://schemas.microsoft.com/office/powerpoint/2010/main" val="3732953551"/>
      </p:ext>
    </p:extLst>
  </p:cSld>
  <p:clrMapOvr>
    <a:masterClrMapping/>
  </p:clrMapOvr>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p:nvPr>
        </p:nvSpPr>
        <p:spPr>
          <a:xfrm>
            <a:off x="979102" y="236394"/>
            <a:ext cx="10593806" cy="476225"/>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978236" y="1561033"/>
            <a:ext cx="10594672" cy="4491037"/>
          </a:xfrm>
        </p:spPr>
        <p:txBody>
          <a:bodyPr/>
          <a:lstStyle>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quarter" idx="11"/>
          </p:nvPr>
        </p:nvSpPr>
        <p:spPr>
          <a:xfrm>
            <a:off x="979102" y="668892"/>
            <a:ext cx="10593806" cy="449263"/>
          </a:xfrm>
        </p:spPr>
        <p:txBody>
          <a:bodyPr/>
          <a:lstStyle>
            <a:lvl1pPr marL="0" indent="0">
              <a:buNone/>
              <a:defRPr>
                <a:solidFill>
                  <a:schemeClr val="accent1"/>
                </a:solidFill>
              </a:defRPr>
            </a:lvl1pPr>
          </a:lstStyle>
          <a:p>
            <a:pPr lvl="0"/>
            <a:r>
              <a:rPr lang="en-US" smtClean="0"/>
              <a:t>Click to edit Master text styles</a:t>
            </a:r>
          </a:p>
        </p:txBody>
      </p:sp>
    </p:spTree>
    <p:extLst>
      <p:ext uri="{BB962C8B-B14F-4D97-AF65-F5344CB8AC3E}">
        <p14:creationId xmlns:p14="http://schemas.microsoft.com/office/powerpoint/2010/main" val="2351610699"/>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2183" y="327386"/>
            <a:ext cx="10969924" cy="541860"/>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68" indent="0">
              <a:buFontTx/>
              <a:buNone/>
              <a:defRPr/>
            </a:lvl2pPr>
            <a:lvl3pPr marL="1218936" indent="0">
              <a:buFontTx/>
              <a:buNone/>
              <a:defRPr/>
            </a:lvl3pPr>
            <a:lvl4pPr marL="1828404" indent="0">
              <a:buFontTx/>
              <a:buNone/>
              <a:defRPr/>
            </a:lvl4pPr>
            <a:lvl5pPr marL="2437872"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772204284"/>
      </p:ext>
    </p:extLst>
  </p:cSld>
  <p:clrMapOvr>
    <a:masterClrMapping/>
  </p:clrMapOvr>
  <p:transition spd="med">
    <p:fade/>
  </p:transition>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319724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62016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5" name="TextBox 4"/>
          <p:cNvSpPr txBox="1"/>
          <p:nvPr/>
        </p:nvSpPr>
        <p:spPr>
          <a:xfrm>
            <a:off x="5989638" y="6556427"/>
            <a:ext cx="2787650" cy="182563"/>
          </a:xfrm>
          <a:prstGeom prst="rect">
            <a:avLst/>
          </a:prstGeom>
          <a:noFill/>
        </p:spPr>
        <p:txBody>
          <a:bodyPr wrap="none" lIns="0" tIns="0" rIns="0" bIns="0" anchor="ctr"/>
          <a:lstStyle/>
          <a:p>
            <a:pPr defTabSz="914400">
              <a:defRPr/>
            </a:pPr>
            <a:r>
              <a:rPr sz="800" dirty="0">
                <a:solidFill>
                  <a:srgbClr val="5F5F5F">
                    <a:lumMod val="60000"/>
                    <a:lumOff val="40000"/>
                  </a:srgbClr>
                </a:solidFill>
                <a:cs typeface="Arial" pitchFamily="34" charset="0"/>
              </a:rPr>
              <a:t>Copyright © 2014 Oracle and/or its affiliates. All rights reserved.  |</a:t>
            </a:r>
          </a:p>
        </p:txBody>
      </p:sp>
      <p:pic>
        <p:nvPicPr>
          <p:cNvPr id="6" name="Oracle red badge logo" descr="Oracle logo in white on red staging background"/>
          <p:cNvPicPr>
            <a:picLocks noChangeAspect="1"/>
          </p:cNvPicPr>
          <p:nvPr/>
        </p:nvPicPr>
        <p:blipFill>
          <a:blip r:embed="rId2" cstate="print"/>
          <a:srcRect/>
          <a:stretch>
            <a:fillRect/>
          </a:stretch>
        </p:blipFill>
        <p:spPr bwMode="ltGray">
          <a:xfrm>
            <a:off x="531815" y="6264327"/>
            <a:ext cx="1622425" cy="593725"/>
          </a:xfrm>
          <a:prstGeom prst="rect">
            <a:avLst/>
          </a:prstGeom>
          <a:noFill/>
          <a:ln w="9525">
            <a:noFill/>
            <a:miter lim="800000"/>
            <a:headEnd/>
            <a:tailEnd/>
          </a:ln>
        </p:spPr>
      </p:pic>
      <p:sp>
        <p:nvSpPr>
          <p:cNvPr id="2" name="Title 1"/>
          <p:cNvSpPr>
            <a:spLocks noGrp="1"/>
          </p:cNvSpPr>
          <p:nvPr>
            <p:ph type="ctrTitle"/>
          </p:nvPr>
        </p:nvSpPr>
        <p:spPr>
          <a:xfrm>
            <a:off x="531848" y="739827"/>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p:nvPr>
        </p:nvSpPr>
        <p:spPr>
          <a:xfrm>
            <a:off x="531848" y="3429503"/>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7" name="Date Placeholder 3"/>
          <p:cNvSpPr>
            <a:spLocks noGrp="1"/>
          </p:cNvSpPr>
          <p:nvPr>
            <p:ph type="dt" sz="half" idx="14"/>
          </p:nvPr>
        </p:nvSpPr>
        <p:spPr/>
        <p:txBody>
          <a:bodyPr/>
          <a:lstStyle>
            <a:lvl1pPr>
              <a:defRPr/>
            </a:lvl1pPr>
          </a:lstStyle>
          <a:p>
            <a:pPr>
              <a:defRPr/>
            </a:pPr>
            <a:endParaRPr>
              <a:solidFill>
                <a:srgbClr val="5F5F5F">
                  <a:lumMod val="60000"/>
                  <a:lumOff val="40000"/>
                </a:srgbClr>
              </a:solidFill>
            </a:endParaRPr>
          </a:p>
        </p:txBody>
      </p:sp>
      <p:sp>
        <p:nvSpPr>
          <p:cNvPr id="8" name="Footer Placeholder 4"/>
          <p:cNvSpPr>
            <a:spLocks noGrp="1"/>
          </p:cNvSpPr>
          <p:nvPr>
            <p:ph type="ftr" sz="quarter" idx="15"/>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9" name="Slide Number Placeholder 5"/>
          <p:cNvSpPr>
            <a:spLocks noGrp="1"/>
          </p:cNvSpPr>
          <p:nvPr>
            <p:ph type="sldNum" sz="quarter" idx="16"/>
          </p:nvPr>
        </p:nvSpPr>
        <p:spPr>
          <a:xfrm>
            <a:off x="11276015" y="6934211"/>
            <a:ext cx="380999" cy="182563"/>
          </a:xfrm>
        </p:spPr>
        <p:txBody>
          <a:bodyPr/>
          <a:lstStyle>
            <a:lvl1pPr>
              <a:defRPr/>
            </a:lvl1pPr>
          </a:lstStyle>
          <a:p>
            <a:pPr>
              <a:defRPr/>
            </a:pPr>
            <a:fld id="{270CEEA2-532A-4C92-8255-A82C24FA3E86}"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82866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4" name="TextBox 3"/>
          <p:cNvSpPr txBox="1"/>
          <p:nvPr/>
        </p:nvSpPr>
        <p:spPr>
          <a:xfrm>
            <a:off x="5989638" y="6556427"/>
            <a:ext cx="2787650" cy="182563"/>
          </a:xfrm>
          <a:prstGeom prst="rect">
            <a:avLst/>
          </a:prstGeom>
          <a:noFill/>
        </p:spPr>
        <p:txBody>
          <a:bodyPr wrap="none" lIns="0" tIns="0" rIns="0" bIns="0" anchor="ctr"/>
          <a:lstStyle/>
          <a:p>
            <a:pPr defTabSz="914400">
              <a:defRPr/>
            </a:pPr>
            <a:r>
              <a:rPr sz="800" dirty="0">
                <a:solidFill>
                  <a:srgbClr val="5F5F5F">
                    <a:lumMod val="60000"/>
                    <a:lumOff val="40000"/>
                  </a:srgbClr>
                </a:solidFill>
                <a:cs typeface="Arial" pitchFamily="34" charset="0"/>
              </a:rPr>
              <a:t>Copyright © 2014 Oracle and/or its affiliates. All rights reserved.  |</a:t>
            </a:r>
          </a:p>
        </p:txBody>
      </p:sp>
      <p:pic>
        <p:nvPicPr>
          <p:cNvPr id="5" name="Oracle red badge logo" descr="Oracle logo in white on red staging background"/>
          <p:cNvPicPr>
            <a:picLocks noChangeAspect="1"/>
          </p:cNvPicPr>
          <p:nvPr userDrawn="1"/>
        </p:nvPicPr>
        <p:blipFill>
          <a:blip r:embed="rId2" cstate="print"/>
          <a:srcRect/>
          <a:stretch>
            <a:fillRect/>
          </a:stretch>
        </p:blipFill>
        <p:spPr bwMode="ltGray">
          <a:xfrm>
            <a:off x="531815" y="6264327"/>
            <a:ext cx="1622425" cy="593725"/>
          </a:xfrm>
          <a:prstGeom prst="rect">
            <a:avLst/>
          </a:prstGeom>
          <a:noFill/>
          <a:ln w="9525">
            <a:noFill/>
            <a:miter lim="800000"/>
            <a:headEnd/>
            <a:tailEnd/>
          </a:ln>
        </p:spPr>
      </p:pic>
      <p:sp>
        <p:nvSpPr>
          <p:cNvPr id="2" name="Title 1"/>
          <p:cNvSpPr>
            <a:spLocks noGrp="1"/>
          </p:cNvSpPr>
          <p:nvPr>
            <p:ph type="ctrTitle"/>
          </p:nvPr>
        </p:nvSpPr>
        <p:spPr>
          <a:xfrm>
            <a:off x="531848" y="739827"/>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6"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7"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8" name="Slide Number Placeholder 5"/>
          <p:cNvSpPr>
            <a:spLocks noGrp="1"/>
          </p:cNvSpPr>
          <p:nvPr>
            <p:ph type="sldNum" sz="quarter" idx="12"/>
          </p:nvPr>
        </p:nvSpPr>
        <p:spPr>
          <a:xfrm>
            <a:off x="11276015" y="6934211"/>
            <a:ext cx="380999" cy="182563"/>
          </a:xfrm>
        </p:spPr>
        <p:txBody>
          <a:bodyPr/>
          <a:lstStyle>
            <a:lvl1pPr>
              <a:defRPr/>
            </a:lvl1pPr>
          </a:lstStyle>
          <a:p>
            <a:pPr>
              <a:defRPr/>
            </a:pPr>
            <a:fld id="{E692F19B-9612-47E9-A657-4D233D9A85ED}"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80852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5" name="Rectangle 4" descr="Full slide 4-color photo can be inserted he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6" name="TextBox 5"/>
          <p:cNvSpPr txBox="1"/>
          <p:nvPr/>
        </p:nvSpPr>
        <p:spPr>
          <a:xfrm>
            <a:off x="5989638" y="6556427"/>
            <a:ext cx="2787650" cy="182563"/>
          </a:xfrm>
          <a:prstGeom prst="rect">
            <a:avLst/>
          </a:prstGeom>
          <a:noFill/>
        </p:spPr>
        <p:txBody>
          <a:bodyPr wrap="none" lIns="0" tIns="0" rIns="0" bIns="0" anchor="ctr"/>
          <a:lstStyle/>
          <a:p>
            <a:pPr defTabSz="914400">
              <a:defRPr/>
            </a:pPr>
            <a:r>
              <a:rPr sz="800" dirty="0">
                <a:solidFill>
                  <a:srgbClr val="FFFFFF">
                    <a:lumMod val="60000"/>
                    <a:lumOff val="40000"/>
                  </a:srgbClr>
                </a:solidFill>
                <a:cs typeface="Arial" pitchFamily="34" charset="0"/>
              </a:rPr>
              <a:t>Copyright © 2014 Oracle and/or its affiliates. All rights reserved.  |</a:t>
            </a:r>
          </a:p>
        </p:txBody>
      </p:sp>
      <p:pic>
        <p:nvPicPr>
          <p:cNvPr id="7" name="Oracle red badge logo" descr="Oracle logo in white on red staging background"/>
          <p:cNvPicPr>
            <a:picLocks noChangeAspect="1"/>
          </p:cNvPicPr>
          <p:nvPr userDrawn="1"/>
        </p:nvPicPr>
        <p:blipFill>
          <a:blip r:embed="rId4" cstate="print"/>
          <a:srcRect/>
          <a:stretch>
            <a:fillRect/>
          </a:stretch>
        </p:blipFill>
        <p:spPr bwMode="ltGray">
          <a:xfrm>
            <a:off x="531815" y="6264327"/>
            <a:ext cx="1622425" cy="593725"/>
          </a:xfrm>
          <a:prstGeom prst="rect">
            <a:avLst/>
          </a:prstGeom>
          <a:noFill/>
          <a:ln w="9525">
            <a:noFill/>
            <a:miter lim="800000"/>
            <a:headEnd/>
            <a:tailEnd/>
          </a:ln>
        </p:spPr>
      </p:pic>
      <p:sp>
        <p:nvSpPr>
          <p:cNvPr id="2" name="Title 1"/>
          <p:cNvSpPr>
            <a:spLocks noGrp="1"/>
          </p:cNvSpPr>
          <p:nvPr>
            <p:ph type="ctrTitle"/>
          </p:nvPr>
        </p:nvSpPr>
        <p:spPr>
          <a:xfrm>
            <a:off x="531813" y="739827"/>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p:nvPr>
        </p:nvSpPr>
        <p:spPr>
          <a:xfrm>
            <a:off x="531813" y="3429503"/>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8" name="Date Placeholder 3"/>
          <p:cNvSpPr>
            <a:spLocks noGrp="1"/>
          </p:cNvSpPr>
          <p:nvPr>
            <p:ph type="dt" sz="half" idx="14"/>
          </p:nvPr>
        </p:nvSpPr>
        <p:spPr/>
        <p:txBody>
          <a:bodyPr/>
          <a:lstStyle>
            <a:lvl1pPr>
              <a:defRPr/>
            </a:lvl1pPr>
          </a:lstStyle>
          <a:p>
            <a:pPr>
              <a:defRPr/>
            </a:pPr>
            <a:endParaRPr>
              <a:solidFill>
                <a:srgbClr val="FFFFFF">
                  <a:lumMod val="60000"/>
                  <a:lumOff val="40000"/>
                </a:srgbClr>
              </a:solidFill>
            </a:endParaRPr>
          </a:p>
        </p:txBody>
      </p:sp>
      <p:sp>
        <p:nvSpPr>
          <p:cNvPr id="9" name="Footer Placeholder 4"/>
          <p:cNvSpPr>
            <a:spLocks noGrp="1"/>
          </p:cNvSpPr>
          <p:nvPr>
            <p:ph type="ftr" sz="quarter" idx="15"/>
          </p:nvPr>
        </p:nvSpPr>
        <p:spPr/>
        <p:txBody>
          <a:bodyPr/>
          <a:lstStyle>
            <a:lvl1pPr>
              <a:defRPr/>
            </a:lvl1pPr>
          </a:lstStyle>
          <a:p>
            <a:pPr>
              <a:defRPr/>
            </a:pPr>
            <a:r>
              <a:rPr lang="en-US">
                <a:solidFill>
                  <a:srgbClr val="FFFFFF">
                    <a:lumMod val="60000"/>
                    <a:lumOff val="40000"/>
                  </a:srgbClr>
                </a:solidFill>
              </a:rPr>
              <a:t>Oracle Confidential</a:t>
            </a:r>
            <a:endParaRPr>
              <a:solidFill>
                <a:srgbClr val="FFFFFF">
                  <a:lumMod val="60000"/>
                  <a:lumOff val="40000"/>
                </a:srgbClr>
              </a:solidFill>
            </a:endParaRPr>
          </a:p>
        </p:txBody>
      </p:sp>
      <p:sp>
        <p:nvSpPr>
          <p:cNvPr id="10" name="Slide Number Placeholder 5"/>
          <p:cNvSpPr>
            <a:spLocks noGrp="1"/>
          </p:cNvSpPr>
          <p:nvPr>
            <p:ph type="sldNum" sz="quarter" idx="16"/>
          </p:nvPr>
        </p:nvSpPr>
        <p:spPr>
          <a:xfrm>
            <a:off x="11276015" y="6934211"/>
            <a:ext cx="380999" cy="182563"/>
          </a:xfrm>
        </p:spPr>
        <p:txBody>
          <a:bodyPr/>
          <a:lstStyle>
            <a:lvl1pPr>
              <a:defRPr>
                <a:solidFill>
                  <a:srgbClr val="BDC1C5"/>
                </a:solidFill>
              </a:defRPr>
            </a:lvl1pPr>
          </a:lstStyle>
          <a:p>
            <a:pPr>
              <a:defRPr/>
            </a:pPr>
            <a:fld id="{645295B4-2257-4790-90F4-76F4308F04F5}" type="slidenum">
              <a:rPr/>
              <a:pPr>
                <a:defRPr/>
              </a:pPr>
              <a:t>‹#›</a:t>
            </a:fld>
            <a:endParaRPr dirty="0"/>
          </a:p>
        </p:txBody>
      </p:sp>
    </p:spTree>
    <p:extLst>
      <p:ext uri="{BB962C8B-B14F-4D97-AF65-F5344CB8AC3E}">
        <p14:creationId xmlns:p14="http://schemas.microsoft.com/office/powerpoint/2010/main" val="261825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and Logo">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6" name="Rectangle 5"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7" name="TextBox 6"/>
          <p:cNvSpPr txBox="1"/>
          <p:nvPr/>
        </p:nvSpPr>
        <p:spPr>
          <a:xfrm>
            <a:off x="5989638" y="6556427"/>
            <a:ext cx="2787650" cy="182563"/>
          </a:xfrm>
          <a:prstGeom prst="rect">
            <a:avLst/>
          </a:prstGeom>
          <a:noFill/>
        </p:spPr>
        <p:txBody>
          <a:bodyPr wrap="none" lIns="0" tIns="0" rIns="0" bIns="0" anchor="ctr"/>
          <a:lstStyle/>
          <a:p>
            <a:pPr defTabSz="914400">
              <a:defRPr/>
            </a:pPr>
            <a:r>
              <a:rPr sz="800" dirty="0">
                <a:solidFill>
                  <a:srgbClr val="FFFFFF">
                    <a:lumMod val="60000"/>
                    <a:lumOff val="40000"/>
                  </a:srgbClr>
                </a:solidFill>
                <a:cs typeface="Arial" pitchFamily="34" charset="0"/>
              </a:rPr>
              <a:t>Copyright © 2014 Oracle and/or its affiliates. All rights reserved.  |</a:t>
            </a:r>
          </a:p>
        </p:txBody>
      </p:sp>
      <p:sp>
        <p:nvSpPr>
          <p:cNvPr id="8" name="Rectangle 7"/>
          <p:cNvSpPr/>
          <p:nvPr/>
        </p:nvSpPr>
        <p:spPr bwMode="white">
          <a:xfrm>
            <a:off x="9828215"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sz="1800" dirty="0">
              <a:solidFill>
                <a:srgbClr val="FFFFFF"/>
              </a:solidFill>
            </a:endParaRPr>
          </a:p>
        </p:txBody>
      </p:sp>
      <p:pic>
        <p:nvPicPr>
          <p:cNvPr id="9" name="Oracle red badge logo" descr="Oracle logo in white on red staging background"/>
          <p:cNvPicPr>
            <a:picLocks noChangeAspect="1"/>
          </p:cNvPicPr>
          <p:nvPr userDrawn="1"/>
        </p:nvPicPr>
        <p:blipFill>
          <a:blip r:embed="rId4" cstate="print"/>
          <a:srcRect/>
          <a:stretch>
            <a:fillRect/>
          </a:stretch>
        </p:blipFill>
        <p:spPr bwMode="ltGray">
          <a:xfrm>
            <a:off x="531815" y="6264327"/>
            <a:ext cx="1622425" cy="593725"/>
          </a:xfrm>
          <a:prstGeom prst="rect">
            <a:avLst/>
          </a:prstGeom>
          <a:noFill/>
          <a:ln w="9525">
            <a:noFill/>
            <a:miter lim="800000"/>
            <a:headEnd/>
            <a:tailEnd/>
          </a:ln>
        </p:spPr>
      </p:pic>
      <p:sp>
        <p:nvSpPr>
          <p:cNvPr id="2" name="Title 1"/>
          <p:cNvSpPr>
            <a:spLocks noGrp="1"/>
          </p:cNvSpPr>
          <p:nvPr>
            <p:ph type="ctrTitle"/>
          </p:nvPr>
        </p:nvSpPr>
        <p:spPr>
          <a:xfrm>
            <a:off x="531813" y="739827"/>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p:nvPr>
        </p:nvSpPr>
        <p:spPr>
          <a:xfrm>
            <a:off x="531813" y="3429503"/>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21" name="Text Placeholder 12"/>
          <p:cNvSpPr>
            <a:spLocks noGrp="1"/>
          </p:cNvSpPr>
          <p:nvPr>
            <p:ph type="body" sz="quarter" idx="15"/>
          </p:nvPr>
        </p:nvSpPr>
        <p:spPr>
          <a:xfrm>
            <a:off x="9904412" y="228600"/>
            <a:ext cx="1676401"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10" name="Date Placeholder 3"/>
          <p:cNvSpPr>
            <a:spLocks noGrp="1"/>
          </p:cNvSpPr>
          <p:nvPr>
            <p:ph type="dt" sz="half" idx="16"/>
          </p:nvPr>
        </p:nvSpPr>
        <p:spPr/>
        <p:txBody>
          <a:bodyPr/>
          <a:lstStyle>
            <a:lvl1pPr>
              <a:defRPr/>
            </a:lvl1pPr>
          </a:lstStyle>
          <a:p>
            <a:pPr>
              <a:defRPr/>
            </a:pPr>
            <a:endParaRPr>
              <a:solidFill>
                <a:srgbClr val="FFFFFF">
                  <a:lumMod val="60000"/>
                  <a:lumOff val="40000"/>
                </a:srgbClr>
              </a:solidFill>
            </a:endParaRPr>
          </a:p>
        </p:txBody>
      </p:sp>
      <p:sp>
        <p:nvSpPr>
          <p:cNvPr id="11" name="Footer Placeholder 4"/>
          <p:cNvSpPr>
            <a:spLocks noGrp="1"/>
          </p:cNvSpPr>
          <p:nvPr>
            <p:ph type="ftr" sz="quarter" idx="17"/>
          </p:nvPr>
        </p:nvSpPr>
        <p:spPr/>
        <p:txBody>
          <a:bodyPr/>
          <a:lstStyle>
            <a:lvl1pPr>
              <a:defRPr/>
            </a:lvl1pPr>
          </a:lstStyle>
          <a:p>
            <a:pPr>
              <a:defRPr/>
            </a:pPr>
            <a:r>
              <a:rPr lang="en-US">
                <a:solidFill>
                  <a:srgbClr val="FFFFFF">
                    <a:lumMod val="60000"/>
                    <a:lumOff val="40000"/>
                  </a:srgbClr>
                </a:solidFill>
              </a:rPr>
              <a:t>Oracle Confidential</a:t>
            </a:r>
            <a:endParaRPr>
              <a:solidFill>
                <a:srgbClr val="FFFFFF">
                  <a:lumMod val="60000"/>
                  <a:lumOff val="40000"/>
                </a:srgbClr>
              </a:solidFill>
            </a:endParaRPr>
          </a:p>
        </p:txBody>
      </p:sp>
      <p:sp>
        <p:nvSpPr>
          <p:cNvPr id="12" name="Slide Number Placeholder 5"/>
          <p:cNvSpPr>
            <a:spLocks noGrp="1"/>
          </p:cNvSpPr>
          <p:nvPr>
            <p:ph type="sldNum" sz="quarter" idx="18"/>
          </p:nvPr>
        </p:nvSpPr>
        <p:spPr>
          <a:xfrm>
            <a:off x="11276015" y="6934211"/>
            <a:ext cx="380999" cy="182563"/>
          </a:xfrm>
        </p:spPr>
        <p:txBody>
          <a:bodyPr/>
          <a:lstStyle>
            <a:lvl1pPr>
              <a:defRPr>
                <a:solidFill>
                  <a:srgbClr val="BCC0C4"/>
                </a:solidFill>
              </a:defRPr>
            </a:lvl1pPr>
          </a:lstStyle>
          <a:p>
            <a:pPr>
              <a:defRPr/>
            </a:pPr>
            <a:fld id="{1BB0F82E-4694-4652-B766-2B57B674CF53}" type="slidenum">
              <a:rPr/>
              <a:pPr>
                <a:defRPr/>
              </a:pPr>
              <a:t>‹#›</a:t>
            </a:fld>
            <a:endParaRPr dirty="0"/>
          </a:p>
        </p:txBody>
      </p:sp>
    </p:spTree>
    <p:extLst>
      <p:ext uri="{BB962C8B-B14F-4D97-AF65-F5344CB8AC3E}">
        <p14:creationId xmlns:p14="http://schemas.microsoft.com/office/powerpoint/2010/main" val="428721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and 2 Logos">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6" name="Rectangle 5"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7" name="TextBox 6"/>
          <p:cNvSpPr txBox="1"/>
          <p:nvPr/>
        </p:nvSpPr>
        <p:spPr>
          <a:xfrm>
            <a:off x="5989638" y="6556427"/>
            <a:ext cx="2787650" cy="182563"/>
          </a:xfrm>
          <a:prstGeom prst="rect">
            <a:avLst/>
          </a:prstGeom>
          <a:noFill/>
        </p:spPr>
        <p:txBody>
          <a:bodyPr wrap="none" lIns="0" tIns="0" rIns="0" bIns="0" anchor="ctr"/>
          <a:lstStyle/>
          <a:p>
            <a:pPr defTabSz="914400">
              <a:defRPr/>
            </a:pPr>
            <a:r>
              <a:rPr sz="800" dirty="0">
                <a:solidFill>
                  <a:srgbClr val="FFFFFF">
                    <a:lumMod val="60000"/>
                    <a:lumOff val="40000"/>
                  </a:srgbClr>
                </a:solidFill>
                <a:cs typeface="Arial" pitchFamily="34" charset="0"/>
              </a:rPr>
              <a:t>Copyright © 2014 Oracle and/or its affiliates. All rights reserved.  |</a:t>
            </a:r>
          </a:p>
        </p:txBody>
      </p:sp>
      <p:sp>
        <p:nvSpPr>
          <p:cNvPr id="8" name="Rectangle 7"/>
          <p:cNvSpPr/>
          <p:nvPr/>
        </p:nvSpPr>
        <p:spPr bwMode="white">
          <a:xfrm>
            <a:off x="9828215"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sz="1800" dirty="0">
              <a:solidFill>
                <a:srgbClr val="FFFFFF"/>
              </a:solidFill>
            </a:endParaRPr>
          </a:p>
        </p:txBody>
      </p:sp>
      <p:pic>
        <p:nvPicPr>
          <p:cNvPr id="9" name="Oracle red badge logo" descr="Oracle logo in white on red staging background"/>
          <p:cNvPicPr>
            <a:picLocks noChangeAspect="1"/>
          </p:cNvPicPr>
          <p:nvPr userDrawn="1"/>
        </p:nvPicPr>
        <p:blipFill>
          <a:blip r:embed="rId4" cstate="print"/>
          <a:srcRect/>
          <a:stretch>
            <a:fillRect/>
          </a:stretch>
        </p:blipFill>
        <p:spPr bwMode="ltGray">
          <a:xfrm>
            <a:off x="531815" y="6264327"/>
            <a:ext cx="1622425" cy="593725"/>
          </a:xfrm>
          <a:prstGeom prst="rect">
            <a:avLst/>
          </a:prstGeom>
          <a:noFill/>
          <a:ln w="9525">
            <a:noFill/>
            <a:miter lim="800000"/>
            <a:headEnd/>
            <a:tailEnd/>
          </a:ln>
        </p:spPr>
      </p:pic>
      <p:sp>
        <p:nvSpPr>
          <p:cNvPr id="10" name="Rectangle 9"/>
          <p:cNvSpPr/>
          <p:nvPr userDrawn="1"/>
        </p:nvSpPr>
        <p:spPr>
          <a:xfrm>
            <a:off x="9823452" y="5410200"/>
            <a:ext cx="1828800" cy="8509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lnSpc>
                <a:spcPct val="90000"/>
              </a:lnSpc>
              <a:defRPr/>
            </a:pPr>
            <a:endParaRPr lang="en-US" sz="1800" dirty="0">
              <a:solidFill>
                <a:srgbClr val="FFFFFF"/>
              </a:solidFill>
            </a:endParaRPr>
          </a:p>
        </p:txBody>
      </p:sp>
      <p:sp>
        <p:nvSpPr>
          <p:cNvPr id="2" name="Title 1"/>
          <p:cNvSpPr>
            <a:spLocks noGrp="1"/>
          </p:cNvSpPr>
          <p:nvPr>
            <p:ph type="ctrTitle"/>
          </p:nvPr>
        </p:nvSpPr>
        <p:spPr>
          <a:xfrm>
            <a:off x="531813" y="739827"/>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p:nvPr>
        </p:nvSpPr>
        <p:spPr>
          <a:xfrm>
            <a:off x="531813" y="3429503"/>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21" name="Text Placeholder 12"/>
          <p:cNvSpPr>
            <a:spLocks noGrp="1"/>
          </p:cNvSpPr>
          <p:nvPr>
            <p:ph type="body" sz="quarter" idx="15"/>
          </p:nvPr>
        </p:nvSpPr>
        <p:spPr>
          <a:xfrm>
            <a:off x="9904412" y="228600"/>
            <a:ext cx="1676401"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11" name="Date Placeholder 3"/>
          <p:cNvSpPr>
            <a:spLocks noGrp="1"/>
          </p:cNvSpPr>
          <p:nvPr>
            <p:ph type="dt" sz="half" idx="16"/>
          </p:nvPr>
        </p:nvSpPr>
        <p:spPr/>
        <p:txBody>
          <a:bodyPr/>
          <a:lstStyle>
            <a:lvl1pPr>
              <a:defRPr/>
            </a:lvl1pPr>
          </a:lstStyle>
          <a:p>
            <a:pPr>
              <a:defRPr/>
            </a:pPr>
            <a:endParaRPr>
              <a:solidFill>
                <a:srgbClr val="FFFFFF">
                  <a:lumMod val="60000"/>
                  <a:lumOff val="40000"/>
                </a:srgbClr>
              </a:solidFill>
            </a:endParaRPr>
          </a:p>
        </p:txBody>
      </p:sp>
      <p:sp>
        <p:nvSpPr>
          <p:cNvPr id="12" name="Footer Placeholder 4"/>
          <p:cNvSpPr>
            <a:spLocks noGrp="1"/>
          </p:cNvSpPr>
          <p:nvPr>
            <p:ph type="ftr" sz="quarter" idx="17"/>
          </p:nvPr>
        </p:nvSpPr>
        <p:spPr/>
        <p:txBody>
          <a:bodyPr/>
          <a:lstStyle>
            <a:lvl1pPr>
              <a:defRPr/>
            </a:lvl1pPr>
          </a:lstStyle>
          <a:p>
            <a:pPr>
              <a:defRPr/>
            </a:pPr>
            <a:r>
              <a:rPr lang="en-US">
                <a:solidFill>
                  <a:srgbClr val="FFFFFF">
                    <a:lumMod val="60000"/>
                    <a:lumOff val="40000"/>
                  </a:srgbClr>
                </a:solidFill>
              </a:rPr>
              <a:t>Oracle Confidential</a:t>
            </a:r>
            <a:endParaRPr>
              <a:solidFill>
                <a:srgbClr val="FFFFFF">
                  <a:lumMod val="60000"/>
                  <a:lumOff val="40000"/>
                </a:srgbClr>
              </a:solidFill>
            </a:endParaRPr>
          </a:p>
        </p:txBody>
      </p:sp>
      <p:sp>
        <p:nvSpPr>
          <p:cNvPr id="14" name="Slide Number Placeholder 5"/>
          <p:cNvSpPr>
            <a:spLocks noGrp="1"/>
          </p:cNvSpPr>
          <p:nvPr>
            <p:ph type="sldNum" sz="quarter" idx="18"/>
          </p:nvPr>
        </p:nvSpPr>
        <p:spPr>
          <a:xfrm>
            <a:off x="11276015" y="6934211"/>
            <a:ext cx="380999" cy="182563"/>
          </a:xfrm>
        </p:spPr>
        <p:txBody>
          <a:bodyPr/>
          <a:lstStyle>
            <a:lvl1pPr>
              <a:defRPr>
                <a:solidFill>
                  <a:srgbClr val="BCC0C4"/>
                </a:solidFill>
              </a:defRPr>
            </a:lvl1pPr>
          </a:lstStyle>
          <a:p>
            <a:pPr>
              <a:defRPr/>
            </a:pPr>
            <a:fld id="{06970353-B6A4-4377-AFD1-82533F387E14}" type="slidenum">
              <a:rPr/>
              <a:pPr>
                <a:defRPr/>
              </a:pPr>
              <a:t>‹#›</a:t>
            </a:fld>
            <a:endParaRPr dirty="0"/>
          </a:p>
        </p:txBody>
      </p:sp>
    </p:spTree>
    <p:extLst>
      <p:ext uri="{BB962C8B-B14F-4D97-AF65-F5344CB8AC3E}">
        <p14:creationId xmlns:p14="http://schemas.microsoft.com/office/powerpoint/2010/main" val="3237180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4"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5"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F999F7AC-00D3-4C30-9174-7171BFF63D55}"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65376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7" name="Text Placeholder 12"/>
          <p:cNvSpPr>
            <a:spLocks noGrp="1"/>
          </p:cNvSpPr>
          <p:nvPr>
            <p:ph type="body" sz="quarter" idx="13"/>
          </p:nvPr>
        </p:nvSpPr>
        <p:spPr>
          <a:xfrm>
            <a:off x="531848" y="1373793"/>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3" name="Content Placeholder 2"/>
          <p:cNvSpPr>
            <a:spLocks noGrp="1"/>
          </p:cNvSpPr>
          <p:nvPr>
            <p:ph idx="1"/>
          </p:nvPr>
        </p:nvSpPr>
        <p:spPr>
          <a:xfrm>
            <a:off x="531154"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3"/>
          <p:cNvSpPr>
            <a:spLocks noGrp="1"/>
          </p:cNvSpPr>
          <p:nvPr>
            <p:ph type="dt" sz="half" idx="14"/>
          </p:nvPr>
        </p:nvSpPr>
        <p:spPr/>
        <p:txBody>
          <a:bodyPr/>
          <a:lstStyle>
            <a:lvl1pPr>
              <a:defRPr/>
            </a:lvl1pPr>
          </a:lstStyle>
          <a:p>
            <a:pPr>
              <a:defRPr/>
            </a:pPr>
            <a:endParaRPr>
              <a:solidFill>
                <a:srgbClr val="5F5F5F">
                  <a:lumMod val="60000"/>
                  <a:lumOff val="40000"/>
                </a:srgbClr>
              </a:solidFill>
            </a:endParaRPr>
          </a:p>
        </p:txBody>
      </p:sp>
      <p:sp>
        <p:nvSpPr>
          <p:cNvPr id="6" name="Footer Placeholder 4"/>
          <p:cNvSpPr>
            <a:spLocks noGrp="1"/>
          </p:cNvSpPr>
          <p:nvPr>
            <p:ph type="ftr" sz="quarter" idx="15"/>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8" name="Slide Number Placeholder 5"/>
          <p:cNvSpPr>
            <a:spLocks noGrp="1"/>
          </p:cNvSpPr>
          <p:nvPr>
            <p:ph type="sldNum" sz="quarter" idx="16"/>
          </p:nvPr>
        </p:nvSpPr>
        <p:spPr/>
        <p:txBody>
          <a:bodyPr/>
          <a:lstStyle>
            <a:lvl1pPr>
              <a:defRPr/>
            </a:lvl1pPr>
          </a:lstStyle>
          <a:p>
            <a:pPr>
              <a:defRPr/>
            </a:pPr>
            <a:fld id="{18E9995B-B160-40F1-9B99-126F2D214641}"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58210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dirty="0"/>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14"/>
          </p:nvPr>
        </p:nvSpPr>
        <p:spPr/>
        <p:txBody>
          <a:bodyPr>
            <a:noAutofit/>
          </a:bodyPr>
          <a:lstStyle>
            <a:lvl1pPr>
              <a:defRPr/>
            </a:lvl1pPr>
          </a:lstStyle>
          <a:p>
            <a:pPr>
              <a:defRPr/>
            </a:pPr>
            <a:endParaRPr>
              <a:solidFill>
                <a:srgbClr val="5F5F5F">
                  <a:lumMod val="60000"/>
                  <a:lumOff val="40000"/>
                </a:srgbClr>
              </a:solidFill>
            </a:endParaRPr>
          </a:p>
        </p:txBody>
      </p:sp>
      <p:sp>
        <p:nvSpPr>
          <p:cNvPr id="5" name="Footer Placeholder 4"/>
          <p:cNvSpPr>
            <a:spLocks noGrp="1"/>
          </p:cNvSpPr>
          <p:nvPr>
            <p:ph type="ftr" sz="quarter" idx="15"/>
          </p:nvPr>
        </p:nvSpPr>
        <p:spPr/>
        <p:txBody>
          <a:bodyPr>
            <a:noAutofit/>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6" name="Slide Number Placeholder 5"/>
          <p:cNvSpPr>
            <a:spLocks noGrp="1"/>
          </p:cNvSpPr>
          <p:nvPr>
            <p:ph type="sldNum" sz="quarter" idx="16"/>
          </p:nvPr>
        </p:nvSpPr>
        <p:spPr/>
        <p:txBody>
          <a:bodyPr>
            <a:noAutofit/>
          </a:bodyPr>
          <a:lstStyle>
            <a:lvl1pPr>
              <a:defRPr/>
            </a:lvl1pPr>
          </a:lstStyle>
          <a:p>
            <a:pPr>
              <a:defRPr/>
            </a:pPr>
            <a:fld id="{CCB16420-98B1-4A8D-8354-6C4CA224C66E}"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342371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618017" y="0"/>
            <a:ext cx="4570809" cy="6858000"/>
          </a:xfrm>
          <a:effectLst>
            <a:innerShdw blurRad="63500" dist="50800" dir="10800000">
              <a:prstClr val="black">
                <a:alpha val="50000"/>
              </a:prstClr>
            </a:innerShdw>
          </a:effectLst>
        </p:spPr>
        <p:txBody>
          <a:bodyPr anchor="ctr" anchorCtr="1"/>
          <a:lstStyle>
            <a:lvl1pPr marL="80415" indent="0">
              <a:buFontTx/>
              <a:buNone/>
              <a:defRPr baseline="0">
                <a:solidFill>
                  <a:schemeClr val="bg1"/>
                </a:solidFill>
              </a:defRPr>
            </a:lvl1pPr>
          </a:lstStyle>
          <a:p>
            <a:r>
              <a:rPr lang="en-US" dirty="0" smtClean="0"/>
              <a:t>Insert Picture Here</a:t>
            </a:r>
            <a:endParaRPr lang="en-US" dirty="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 y="2"/>
            <a:ext cx="12191300" cy="6865489"/>
          </a:xfrm>
          <a:prstGeom prst="rect">
            <a:avLst/>
          </a:prstGeom>
        </p:spPr>
      </p:pic>
      <p:sp>
        <p:nvSpPr>
          <p:cNvPr id="17" name="Title 1"/>
          <p:cNvSpPr>
            <a:spLocks noGrp="1"/>
          </p:cNvSpPr>
          <p:nvPr>
            <p:ph type="title" hasCustomPrompt="1"/>
          </p:nvPr>
        </p:nvSpPr>
        <p:spPr bwMode="white">
          <a:xfrm>
            <a:off x="601824" y="2111023"/>
            <a:ext cx="6700187" cy="1640876"/>
          </a:xfrm>
        </p:spPr>
        <p:txBody>
          <a:bodyPr anchor="b" anchorCtr="0"/>
          <a:lstStyle>
            <a:lvl1pPr>
              <a:defRPr sz="3700">
                <a:solidFill>
                  <a:schemeClr val="tx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bwMode="white">
          <a:xfrm>
            <a:off x="600976" y="3885701"/>
            <a:ext cx="6701032" cy="1397499"/>
          </a:xfrm>
        </p:spPr>
        <p:txBody>
          <a:bodyPr lIns="0" tIns="0"/>
          <a:lstStyle>
            <a:lvl1pPr marL="0" indent="0">
              <a:spcAft>
                <a:spcPts val="0"/>
              </a:spcAft>
              <a:buNone/>
              <a:defRPr>
                <a:solidFill>
                  <a:srgbClr val="000000"/>
                </a:solidFill>
              </a:defRPr>
            </a:lvl1pPr>
          </a:lstStyle>
          <a:p>
            <a:pPr lvl="0"/>
            <a:r>
              <a:rPr lang="en-US" smtClean="0"/>
              <a:t>Click to edit Master text styles</a:t>
            </a:r>
          </a:p>
        </p:txBody>
      </p:sp>
    </p:spTree>
    <p:extLst>
      <p:ext uri="{BB962C8B-B14F-4D97-AF65-F5344CB8AC3E}">
        <p14:creationId xmlns:p14="http://schemas.microsoft.com/office/powerpoint/2010/main" val="34111327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48" y="2600324"/>
            <a:ext cx="11125199" cy="1371600"/>
          </a:xfrm>
        </p:spPr>
        <p:txBody>
          <a:bodyPr/>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48" y="4038598"/>
            <a:ext cx="11125199" cy="914400"/>
          </a:xfrm>
        </p:spPr>
        <p:txBody>
          <a:bodyPr>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5"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F53086D7-1FCC-4FC0-B953-42627F68BFDD}"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809561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4" name="Rectangle 3" descr="Full bleed 4-color photo can be inserted he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sz="1800" dirty="0">
              <a:solidFill>
                <a:srgbClr val="FFFFFF"/>
              </a:solidFill>
            </a:endParaRPr>
          </a:p>
        </p:txBody>
      </p:sp>
      <p:grpSp>
        <p:nvGrpSpPr>
          <p:cNvPr id="5" name="Group 15"/>
          <p:cNvGrpSpPr>
            <a:grpSpLocks/>
          </p:cNvGrpSpPr>
          <p:nvPr/>
        </p:nvGrpSpPr>
        <p:grpSpPr bwMode="auto">
          <a:xfrm>
            <a:off x="0" y="0"/>
            <a:ext cx="12188825" cy="6858000"/>
            <a:chOff x="-287" y="0"/>
            <a:chExt cx="12189399" cy="6858000"/>
          </a:xfrm>
        </p:grpSpPr>
        <p:sp>
          <p:nvSpPr>
            <p:cNvPr id="6" name="Rectangle 5"/>
            <p:cNvSpPr/>
            <p:nvPr/>
          </p:nvSpPr>
          <p:spPr bwMode="gray">
            <a:xfrm>
              <a:off x="-287" y="0"/>
              <a:ext cx="193684" cy="68516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7" name="Rectangle 6"/>
            <p:cNvSpPr/>
            <p:nvPr/>
          </p:nvSpPr>
          <p:spPr bwMode="gray">
            <a:xfrm>
              <a:off x="11995428" y="6350"/>
              <a:ext cx="193684" cy="68516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8" name="Rectangle 7"/>
            <p:cNvSpPr/>
            <p:nvPr/>
          </p:nvSpPr>
          <p:spPr bwMode="gray">
            <a:xfrm>
              <a:off x="-287" y="6400800"/>
              <a:ext cx="12189399"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9" name="Rectangle 8"/>
            <p:cNvSpPr/>
            <p:nvPr/>
          </p:nvSpPr>
          <p:spPr bwMode="gray">
            <a:xfrm>
              <a:off x="-287" y="0"/>
              <a:ext cx="12189399" cy="1920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grpSp>
      <p:sp>
        <p:nvSpPr>
          <p:cNvPr id="10" name="TextBox 9"/>
          <p:cNvSpPr txBox="1"/>
          <p:nvPr/>
        </p:nvSpPr>
        <p:spPr>
          <a:xfrm>
            <a:off x="5989638" y="6556427"/>
            <a:ext cx="2787650" cy="182563"/>
          </a:xfrm>
          <a:prstGeom prst="rect">
            <a:avLst/>
          </a:prstGeom>
          <a:noFill/>
        </p:spPr>
        <p:txBody>
          <a:bodyPr wrap="none" lIns="0" tIns="0" rIns="0" bIns="0" anchor="ctr"/>
          <a:lstStyle/>
          <a:p>
            <a:pPr defTabSz="914400">
              <a:defRPr/>
            </a:pPr>
            <a:r>
              <a:rPr sz="800" dirty="0">
                <a:solidFill>
                  <a:srgbClr val="5F5F5F">
                    <a:lumMod val="60000"/>
                    <a:lumOff val="40000"/>
                  </a:srgbClr>
                </a:solidFill>
                <a:cs typeface="Arial" pitchFamily="34" charset="0"/>
              </a:rPr>
              <a:t>Copyright © 2014 Oracle and/or its affiliates. All rights reserved.  |</a:t>
            </a:r>
          </a:p>
        </p:txBody>
      </p:sp>
      <p:pic>
        <p:nvPicPr>
          <p:cNvPr id="11" name="Oracle red badge logo" descr="Oracle logo in white on red staging background"/>
          <p:cNvPicPr>
            <a:picLocks noChangeAspect="1"/>
          </p:cNvPicPr>
          <p:nvPr userDrawn="1"/>
        </p:nvPicPr>
        <p:blipFill>
          <a:blip r:embed="rId4" cstate="print"/>
          <a:srcRect/>
          <a:stretch>
            <a:fillRect/>
          </a:stretch>
        </p:blipFill>
        <p:spPr bwMode="ltGray">
          <a:xfrm>
            <a:off x="531815" y="6264327"/>
            <a:ext cx="1622425" cy="593725"/>
          </a:xfrm>
          <a:prstGeom prst="rect">
            <a:avLst/>
          </a:prstGeom>
          <a:noFill/>
          <a:ln w="9525">
            <a:noFill/>
            <a:miter lim="800000"/>
            <a:headEnd/>
            <a:tailEnd/>
          </a:ln>
        </p:spPr>
      </p:pic>
      <p:sp>
        <p:nvSpPr>
          <p:cNvPr id="2" name="Title 1"/>
          <p:cNvSpPr>
            <a:spLocks noGrp="1"/>
          </p:cNvSpPr>
          <p:nvPr>
            <p:ph type="title"/>
          </p:nvPr>
        </p:nvSpPr>
        <p:spPr>
          <a:xfrm>
            <a:off x="531848" y="2600324"/>
            <a:ext cx="11125199" cy="1371600"/>
          </a:xfrm>
        </p:spPr>
        <p:txBody>
          <a:bodyPr>
            <a:noAutofit/>
          </a:bodyPr>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48" y="4038598"/>
            <a:ext cx="11125199" cy="914400"/>
          </a:xfrm>
        </p:spPr>
        <p:txBody>
          <a:bodyPr>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2" name="Date Placeholder 3"/>
          <p:cNvSpPr>
            <a:spLocks noGrp="1"/>
          </p:cNvSpPr>
          <p:nvPr>
            <p:ph type="dt" sz="half" idx="10"/>
          </p:nvPr>
        </p:nvSpPr>
        <p:spPr/>
        <p:txBody>
          <a:bodyPr>
            <a:noAutofit/>
          </a:bodyPr>
          <a:lstStyle>
            <a:lvl1pPr>
              <a:defRPr>
                <a:solidFill>
                  <a:schemeClr val="bg1">
                    <a:lumMod val="60000"/>
                    <a:lumOff val="40000"/>
                  </a:schemeClr>
                </a:solidFill>
              </a:defRPr>
            </a:lvl1pPr>
          </a:lstStyle>
          <a:p>
            <a:pPr>
              <a:defRPr/>
            </a:pPr>
            <a:endParaRPr>
              <a:solidFill>
                <a:srgbClr val="5F5F5F">
                  <a:lumMod val="60000"/>
                  <a:lumOff val="40000"/>
                </a:srgbClr>
              </a:solidFill>
            </a:endParaRPr>
          </a:p>
        </p:txBody>
      </p:sp>
      <p:sp>
        <p:nvSpPr>
          <p:cNvPr id="13" name="Footer Placeholder 4"/>
          <p:cNvSpPr>
            <a:spLocks noGrp="1"/>
          </p:cNvSpPr>
          <p:nvPr>
            <p:ph type="ftr" sz="quarter" idx="11"/>
          </p:nvPr>
        </p:nvSpPr>
        <p:spPr/>
        <p:txBody>
          <a:bodyPr>
            <a:noAutofit/>
          </a:bodyPr>
          <a:lstStyle>
            <a:lvl1pPr>
              <a:defRPr>
                <a:solidFill>
                  <a:schemeClr val="bg1">
                    <a:lumMod val="60000"/>
                    <a:lumOff val="40000"/>
                  </a:schemeClr>
                </a:solidFill>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4" name="Slide Number Placeholder 5"/>
          <p:cNvSpPr>
            <a:spLocks noGrp="1"/>
          </p:cNvSpPr>
          <p:nvPr>
            <p:ph type="sldNum" sz="quarter" idx="12"/>
          </p:nvPr>
        </p:nvSpPr>
        <p:spPr/>
        <p:txBody>
          <a:bodyPr>
            <a:noAutofit/>
          </a:bodyPr>
          <a:lstStyle>
            <a:lvl1pPr>
              <a:defRPr>
                <a:solidFill>
                  <a:schemeClr val="bg1">
                    <a:lumMod val="60000"/>
                    <a:lumOff val="40000"/>
                  </a:schemeClr>
                </a:solidFill>
              </a:defRPr>
            </a:lvl1pPr>
          </a:lstStyle>
          <a:p>
            <a:pPr>
              <a:defRPr/>
            </a:pPr>
            <a:fld id="{86223FE8-4781-4163-A4C9-650581AC442D}"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055954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lstStyle>
            <a:lvl1pPr algn="l">
              <a:lnSpc>
                <a:spcPct val="80000"/>
              </a:lnSpc>
              <a:defRPr sz="4800" b="0"/>
            </a:lvl1pPr>
          </a:lstStyle>
          <a:p>
            <a:r>
              <a:rPr lang="en-US" smtClean="0"/>
              <a:t>Click to edit Master title style</a:t>
            </a:r>
            <a:endParaRPr dirty="0"/>
          </a:p>
        </p:txBody>
      </p:sp>
      <p:sp>
        <p:nvSpPr>
          <p:cNvPr id="4" name="Text Placeholder 3"/>
          <p:cNvSpPr>
            <a:spLocks noGrp="1"/>
          </p:cNvSpPr>
          <p:nvPr>
            <p:ph type="body" sz="half" idx="2"/>
          </p:nvPr>
        </p:nvSpPr>
        <p:spPr>
          <a:xfrm>
            <a:off x="531846"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Picture Placeholder 2" descr="A photo of your product can be included here"/>
          <p:cNvSpPr>
            <a:spLocks noGrp="1"/>
          </p:cNvSpPr>
          <p:nvPr>
            <p:ph type="pic" idx="1"/>
          </p:nvPr>
        </p:nvSpPr>
        <p:spPr>
          <a:xfrm>
            <a:off x="5588456" y="533400"/>
            <a:ext cx="6068558" cy="5410200"/>
          </a:xfrm>
          <a:noFill/>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5"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6"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937FA6D6-D6F4-490A-BACF-248F2BB953D6}"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320304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Remote Speaker Pictur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Picture Placeholder 2" descr="If presenting remotely, you can insert your photo here"/>
          <p:cNvSpPr>
            <a:spLocks noGrp="1" noChangeAspect="1"/>
          </p:cNvSpPr>
          <p:nvPr>
            <p:ph type="pic" idx="1"/>
          </p:nvPr>
        </p:nvSpPr>
        <p:spPr>
          <a:xfrm>
            <a:off x="2286001" y="1828800"/>
            <a:ext cx="3474720" cy="3841445"/>
          </a:xfrm>
          <a:noFill/>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11" name="Text Placeholder 10"/>
          <p:cNvSpPr>
            <a:spLocks noGrp="1"/>
          </p:cNvSpPr>
          <p:nvPr>
            <p:ph type="body" sz="quarter" idx="14"/>
          </p:nvPr>
        </p:nvSpPr>
        <p:spPr>
          <a:xfrm>
            <a:off x="6035042" y="1828799"/>
            <a:ext cx="5102352" cy="3840480"/>
          </a:xfrm>
        </p:spPr>
        <p:txBody>
          <a:bodyPr anchor="ctr"/>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5" name="Date Placeholder 2"/>
          <p:cNvSpPr>
            <a:spLocks noGrp="1"/>
          </p:cNvSpPr>
          <p:nvPr>
            <p:ph type="dt" sz="half" idx="15"/>
          </p:nvPr>
        </p:nvSpPr>
        <p:spPr/>
        <p:txBody>
          <a:bodyPr/>
          <a:lstStyle>
            <a:lvl1pPr>
              <a:defRPr/>
            </a:lvl1pPr>
          </a:lstStyle>
          <a:p>
            <a:pPr>
              <a:defRPr/>
            </a:pPr>
            <a:endParaRPr lang="en-US">
              <a:solidFill>
                <a:srgbClr val="5F5F5F">
                  <a:lumMod val="60000"/>
                  <a:lumOff val="40000"/>
                </a:srgbClr>
              </a:solidFill>
            </a:endParaRPr>
          </a:p>
        </p:txBody>
      </p:sp>
      <p:sp>
        <p:nvSpPr>
          <p:cNvPr id="7" name="Footer Placeholder 3"/>
          <p:cNvSpPr>
            <a:spLocks noGrp="1"/>
          </p:cNvSpPr>
          <p:nvPr>
            <p:ph type="ftr" sz="quarter" idx="16"/>
          </p:nvPr>
        </p:nvSpPr>
        <p:spPr/>
        <p:txBody>
          <a:bodyPr/>
          <a:lstStyle>
            <a:lvl1pPr>
              <a:defRPr/>
            </a:lvl1pPr>
          </a:lstStyle>
          <a:p>
            <a:pPr>
              <a:defRPr/>
            </a:pPr>
            <a:r>
              <a:rPr lang="en-US">
                <a:solidFill>
                  <a:srgbClr val="5F5F5F">
                    <a:lumMod val="60000"/>
                    <a:lumOff val="40000"/>
                  </a:srgbClr>
                </a:solidFill>
              </a:rPr>
              <a:t>Oracle Confidential</a:t>
            </a:r>
          </a:p>
        </p:txBody>
      </p:sp>
      <p:sp>
        <p:nvSpPr>
          <p:cNvPr id="8" name="Slide Number Placeholder 4"/>
          <p:cNvSpPr>
            <a:spLocks noGrp="1"/>
          </p:cNvSpPr>
          <p:nvPr>
            <p:ph type="sldNum" sz="quarter" idx="17"/>
          </p:nvPr>
        </p:nvSpPr>
        <p:spPr/>
        <p:txBody>
          <a:bodyPr/>
          <a:lstStyle>
            <a:lvl1pPr>
              <a:defRPr/>
            </a:lvl1pPr>
          </a:lstStyle>
          <a:p>
            <a:pPr>
              <a:defRPr/>
            </a:pPr>
            <a:fld id="{B26CD9FF-CB3E-4004-B12E-F43F9B09DAE7}" type="slidenum">
              <a:rPr lang="en-US">
                <a:solidFill>
                  <a:srgbClr val="5F5F5F">
                    <a:lumMod val="60000"/>
                    <a:lumOff val="40000"/>
                  </a:srgbClr>
                </a:solidFill>
              </a:rPr>
              <a:pPr>
                <a:defRPr/>
              </a:pPr>
              <a:t>‹#›</a:t>
            </a:fld>
            <a:endParaRPr lang="en-US" dirty="0">
              <a:solidFill>
                <a:srgbClr val="5F5F5F">
                  <a:lumMod val="60000"/>
                  <a:lumOff val="40000"/>
                </a:srgbClr>
              </a:solidFill>
            </a:endParaRPr>
          </a:p>
        </p:txBody>
      </p:sp>
    </p:spTree>
    <p:extLst>
      <p:ext uri="{BB962C8B-B14F-4D97-AF65-F5344CB8AC3E}">
        <p14:creationId xmlns:p14="http://schemas.microsoft.com/office/powerpoint/2010/main" val="183320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p:nvPr>
        </p:nvSpPr>
        <p:spPr>
          <a:xfrm>
            <a:off x="3198812" y="1905000"/>
            <a:ext cx="8456613" cy="2209800"/>
          </a:xfrm>
        </p:spPr>
        <p:txBody>
          <a:bodyPr anchor="t"/>
          <a:lstStyle>
            <a:lvl1pPr marL="228600" indent="-228600" algn="l">
              <a:defRPr sz="4000" b="0"/>
            </a:lvl1pPr>
          </a:lstStyle>
          <a:p>
            <a:r>
              <a:rPr lang="en-US" smtClean="0"/>
              <a:t>Click to edit Master title style</a:t>
            </a:r>
            <a:endParaRPr dirty="0"/>
          </a:p>
        </p:txBody>
      </p:sp>
      <p:sp>
        <p:nvSpPr>
          <p:cNvPr id="4" name="Text Placeholder 3"/>
          <p:cNvSpPr>
            <a:spLocks noGrp="1"/>
          </p:cNvSpPr>
          <p:nvPr>
            <p:ph type="body" sz="half" idx="2"/>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6"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CC3A4D51-9E55-4B39-98CA-5F9DDACEC747}"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029923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8" name="Picture Placeholder 15" descr="Customer photo can be included here"/>
          <p:cNvSpPr>
            <a:spLocks noGrp="1" noChangeAspect="1"/>
          </p:cNvSpPr>
          <p:nvPr>
            <p:ph type="pic" sz="quarter" idx="14"/>
          </p:nvPr>
        </p:nvSpPr>
        <p:spPr>
          <a:xfrm>
            <a:off x="531814" y="1905000"/>
            <a:ext cx="2194560" cy="3072384"/>
          </a:xfrm>
          <a:noFill/>
        </p:spPr>
        <p:txBody>
          <a:bodyPr tIns="91440" rtlCol="0">
            <a:noAutofit/>
          </a:bodyPr>
          <a:lstStyle>
            <a:lvl1pPr marL="0" indent="0" algn="ctr">
              <a:spcBef>
                <a:spcPts val="0"/>
              </a:spcBef>
              <a:buNone/>
              <a:defRPr sz="1800" baseline="0">
                <a:solidFill>
                  <a:schemeClr val="tx1"/>
                </a:solidFill>
              </a:defRPr>
            </a:lvl1pPr>
          </a:lstStyle>
          <a:p>
            <a:pPr lvl="0"/>
            <a:r>
              <a:rPr lang="en-US" noProof="0" dirty="0" smtClean="0"/>
              <a:t>Click icon to add picture</a:t>
            </a:r>
            <a:endParaRPr noProof="0" dirty="0"/>
          </a:p>
        </p:txBody>
      </p:sp>
      <p:sp>
        <p:nvSpPr>
          <p:cNvPr id="2" name="Title 1"/>
          <p:cNvSpPr>
            <a:spLocks noGrp="1"/>
          </p:cNvSpPr>
          <p:nvPr>
            <p:ph type="title"/>
          </p:nvPr>
        </p:nvSpPr>
        <p:spPr>
          <a:xfrm>
            <a:off x="3198812" y="1905000"/>
            <a:ext cx="8456613" cy="2209800"/>
          </a:xfrm>
        </p:spPr>
        <p:txBody>
          <a:bodyPr anchor="t"/>
          <a:lstStyle>
            <a:lvl1pPr marL="228600" indent="-228600" algn="l">
              <a:defRPr sz="4000" b="0"/>
            </a:lvl1pPr>
          </a:lstStyle>
          <a:p>
            <a:r>
              <a:rPr lang="en-US" smtClean="0"/>
              <a:t>Click to edit Master title style</a:t>
            </a:r>
            <a:endParaRPr dirty="0"/>
          </a:p>
        </p:txBody>
      </p:sp>
      <p:sp>
        <p:nvSpPr>
          <p:cNvPr id="4" name="Text Placeholder 3"/>
          <p:cNvSpPr>
            <a:spLocks noGrp="1"/>
          </p:cNvSpPr>
          <p:nvPr>
            <p:ph type="body" sz="half" idx="2"/>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5"/>
          </p:nvPr>
        </p:nvSpPr>
        <p:spPr/>
        <p:txBody>
          <a:bodyPr/>
          <a:lstStyle>
            <a:lvl1pPr>
              <a:defRPr/>
            </a:lvl1pPr>
          </a:lstStyle>
          <a:p>
            <a:pPr>
              <a:defRPr/>
            </a:pPr>
            <a:endParaRPr>
              <a:solidFill>
                <a:srgbClr val="5F5F5F">
                  <a:lumMod val="60000"/>
                  <a:lumOff val="40000"/>
                </a:srgbClr>
              </a:solidFill>
            </a:endParaRPr>
          </a:p>
        </p:txBody>
      </p:sp>
      <p:sp>
        <p:nvSpPr>
          <p:cNvPr id="6" name="Footer Placeholder 4"/>
          <p:cNvSpPr>
            <a:spLocks noGrp="1"/>
          </p:cNvSpPr>
          <p:nvPr>
            <p:ph type="ftr" sz="quarter" idx="16"/>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7" name="Slide Number Placeholder 5"/>
          <p:cNvSpPr>
            <a:spLocks noGrp="1"/>
          </p:cNvSpPr>
          <p:nvPr>
            <p:ph type="sldNum" sz="quarter" idx="17"/>
          </p:nvPr>
        </p:nvSpPr>
        <p:spPr/>
        <p:txBody>
          <a:bodyPr/>
          <a:lstStyle>
            <a:lvl1pPr>
              <a:defRPr/>
            </a:lvl1pPr>
          </a:lstStyle>
          <a:p>
            <a:pPr>
              <a:defRPr/>
            </a:pPr>
            <a:fld id="{C66258B8-3E20-4E23-9EB8-BE12CB6507C0}"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632635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5" name="Straight Connector 4"/>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48" y="1524001"/>
            <a:ext cx="5410197"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Date Placeholder 4"/>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7" name="Footer Placeholder 5"/>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9" name="Slide Number Placeholder 6"/>
          <p:cNvSpPr>
            <a:spLocks noGrp="1"/>
          </p:cNvSpPr>
          <p:nvPr>
            <p:ph type="sldNum" sz="quarter" idx="12"/>
          </p:nvPr>
        </p:nvSpPr>
        <p:spPr/>
        <p:txBody>
          <a:bodyPr/>
          <a:lstStyle>
            <a:lvl1pPr>
              <a:defRPr/>
            </a:lvl1pPr>
          </a:lstStyle>
          <a:p>
            <a:pPr>
              <a:defRPr/>
            </a:pPr>
            <a:fld id="{493F75C5-6BE3-4B10-BA82-56C260A0AC38}"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663757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6" name="Straight Connector 5"/>
          <p:cNvCxnSpPr/>
          <p:nvPr/>
        </p:nvCxnSpPr>
        <p:spPr bwMode="ltGray">
          <a:xfrm>
            <a:off x="4189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bwMode="ltGray">
          <a:xfrm>
            <a:off x="7999414"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5"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Date Placeholder 4"/>
          <p:cNvSpPr>
            <a:spLocks noGrp="1"/>
          </p:cNvSpPr>
          <p:nvPr>
            <p:ph type="dt" sz="half" idx="14"/>
          </p:nvPr>
        </p:nvSpPr>
        <p:spPr/>
        <p:txBody>
          <a:bodyPr/>
          <a:lstStyle>
            <a:lvl1pPr>
              <a:defRPr/>
            </a:lvl1pPr>
          </a:lstStyle>
          <a:p>
            <a:pPr>
              <a:defRPr/>
            </a:pPr>
            <a:endParaRPr>
              <a:solidFill>
                <a:srgbClr val="5F5F5F">
                  <a:lumMod val="60000"/>
                  <a:lumOff val="40000"/>
                </a:srgbClr>
              </a:solidFill>
            </a:endParaRPr>
          </a:p>
        </p:txBody>
      </p:sp>
      <p:sp>
        <p:nvSpPr>
          <p:cNvPr id="10" name="Footer Placeholder 5"/>
          <p:cNvSpPr>
            <a:spLocks noGrp="1"/>
          </p:cNvSpPr>
          <p:nvPr>
            <p:ph type="ftr" sz="quarter" idx="15"/>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2" name="Slide Number Placeholder 6"/>
          <p:cNvSpPr>
            <a:spLocks noGrp="1"/>
          </p:cNvSpPr>
          <p:nvPr>
            <p:ph type="sldNum" sz="quarter" idx="16"/>
          </p:nvPr>
        </p:nvSpPr>
        <p:spPr/>
        <p:txBody>
          <a:bodyPr/>
          <a:lstStyle>
            <a:lvl1pPr>
              <a:defRPr/>
            </a:lvl1pPr>
          </a:lstStyle>
          <a:p>
            <a:pPr>
              <a:defRPr/>
            </a:pPr>
            <a:fld id="{8C3727AA-6CC3-48A4-971C-E18AE3DD65D4}"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9923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cxnSp>
        <p:nvCxnSpPr>
          <p:cNvPr id="7" name="Straight Connector 6"/>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53"/>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48" y="1524053"/>
            <a:ext cx="5410197"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Content Placeholder 2"/>
          <p:cNvSpPr>
            <a:spLocks noGrp="1"/>
          </p:cNvSpPr>
          <p:nvPr>
            <p:ph sz="half" idx="13"/>
          </p:nvPr>
        </p:nvSpPr>
        <p:spPr>
          <a:xfrm>
            <a:off x="531813" y="3810053"/>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48" y="3810053"/>
            <a:ext cx="5410197"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
        <p:nvSpPr>
          <p:cNvPr id="10" name="Date Placeholder 4"/>
          <p:cNvSpPr>
            <a:spLocks noGrp="1"/>
          </p:cNvSpPr>
          <p:nvPr>
            <p:ph type="dt" sz="half" idx="15"/>
          </p:nvPr>
        </p:nvSpPr>
        <p:spPr/>
        <p:txBody>
          <a:bodyPr/>
          <a:lstStyle>
            <a:lvl1pPr>
              <a:defRPr/>
            </a:lvl1pPr>
          </a:lstStyle>
          <a:p>
            <a:pPr>
              <a:defRPr/>
            </a:pPr>
            <a:endParaRPr>
              <a:solidFill>
                <a:srgbClr val="5F5F5F">
                  <a:lumMod val="60000"/>
                  <a:lumOff val="40000"/>
                </a:srgbClr>
              </a:solidFill>
            </a:endParaRPr>
          </a:p>
        </p:txBody>
      </p:sp>
      <p:sp>
        <p:nvSpPr>
          <p:cNvPr id="12" name="Footer Placeholder 5"/>
          <p:cNvSpPr>
            <a:spLocks noGrp="1"/>
          </p:cNvSpPr>
          <p:nvPr>
            <p:ph type="ftr" sz="quarter" idx="16"/>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3" name="Slide Number Placeholder 6"/>
          <p:cNvSpPr>
            <a:spLocks noGrp="1"/>
          </p:cNvSpPr>
          <p:nvPr>
            <p:ph type="sldNum" sz="quarter" idx="17"/>
          </p:nvPr>
        </p:nvSpPr>
        <p:spPr/>
        <p:txBody>
          <a:bodyPr/>
          <a:lstStyle>
            <a:lvl1pPr>
              <a:defRPr/>
            </a:lvl1pPr>
          </a:lstStyle>
          <a:p>
            <a:pPr>
              <a:defRPr/>
            </a:pPr>
            <a:fld id="{E7995818-8FBF-49B1-90EC-8B6E1BE4E9E4}"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23536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cxnSp>
        <p:nvCxnSpPr>
          <p:cNvPr id="7" name="Straight Connector 6"/>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bwMode="ltGray">
          <a:xfrm flipH="1">
            <a:off x="531848" y="3733800"/>
            <a:ext cx="11125199"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smtClean="0"/>
              <a:t>Click to edit Master title style</a:t>
            </a:r>
            <a:endParaRPr dirty="0"/>
          </a:p>
        </p:txBody>
      </p:sp>
      <p:sp>
        <p:nvSpPr>
          <p:cNvPr id="12" name="Text Placeholder 11"/>
          <p:cNvSpPr>
            <a:spLocks noGrp="1"/>
          </p:cNvSpPr>
          <p:nvPr>
            <p:ph type="body" sz="quarter" idx="15"/>
          </p:nvPr>
        </p:nvSpPr>
        <p:spPr>
          <a:xfrm>
            <a:off x="2436810" y="1524001"/>
            <a:ext cx="3505202"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6" name="Text Placeholder 11"/>
          <p:cNvSpPr>
            <a:spLocks noGrp="1"/>
          </p:cNvSpPr>
          <p:nvPr>
            <p:ph type="body" sz="quarter" idx="16"/>
          </p:nvPr>
        </p:nvSpPr>
        <p:spPr>
          <a:xfrm>
            <a:off x="8151812" y="1524001"/>
            <a:ext cx="3505202"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0" y="3931920"/>
            <a:ext cx="3505202"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2"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9" name="Date Placeholder 4"/>
          <p:cNvSpPr>
            <a:spLocks noGrp="1"/>
          </p:cNvSpPr>
          <p:nvPr>
            <p:ph type="dt" sz="half" idx="19"/>
          </p:nvPr>
        </p:nvSpPr>
        <p:spPr/>
        <p:txBody>
          <a:bodyPr/>
          <a:lstStyle>
            <a:lvl1pPr>
              <a:defRPr/>
            </a:lvl1pPr>
          </a:lstStyle>
          <a:p>
            <a:pPr>
              <a:defRPr/>
            </a:pPr>
            <a:endParaRPr>
              <a:solidFill>
                <a:srgbClr val="5F5F5F">
                  <a:lumMod val="60000"/>
                  <a:lumOff val="40000"/>
                </a:srgbClr>
              </a:solidFill>
            </a:endParaRPr>
          </a:p>
        </p:txBody>
      </p:sp>
      <p:sp>
        <p:nvSpPr>
          <p:cNvPr id="10" name="Footer Placeholder 5"/>
          <p:cNvSpPr>
            <a:spLocks noGrp="1"/>
          </p:cNvSpPr>
          <p:nvPr>
            <p:ph type="ftr" sz="quarter" idx="20"/>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1" name="Slide Number Placeholder 6"/>
          <p:cNvSpPr>
            <a:spLocks noGrp="1"/>
          </p:cNvSpPr>
          <p:nvPr>
            <p:ph type="sldNum" sz="quarter" idx="21"/>
          </p:nvPr>
        </p:nvSpPr>
        <p:spPr/>
        <p:txBody>
          <a:bodyPr/>
          <a:lstStyle>
            <a:lvl1pPr>
              <a:defRPr/>
            </a:lvl1pPr>
          </a:lstStyle>
          <a:p>
            <a:pPr>
              <a:defRPr/>
            </a:pPr>
            <a:fld id="{FE1AD6D2-9704-4BC9-A2CD-97FC8E900406}"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33483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0" y="-33285"/>
            <a:ext cx="12188825" cy="5542809"/>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
        <p:nvSpPr>
          <p:cNvPr id="11" name="Rectangle 10"/>
          <p:cNvSpPr/>
          <p:nvPr userDrawn="1"/>
        </p:nvSpPr>
        <p:spPr>
          <a:xfrm>
            <a:off x="7618017" y="-33285"/>
            <a:ext cx="4570809" cy="5542809"/>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
        <p:nvSpPr>
          <p:cNvPr id="17" name="Title 1"/>
          <p:cNvSpPr>
            <a:spLocks noGrp="1"/>
          </p:cNvSpPr>
          <p:nvPr>
            <p:ph type="title" hasCustomPrompt="1"/>
          </p:nvPr>
        </p:nvSpPr>
        <p:spPr bwMode="white">
          <a:xfrm>
            <a:off x="601823" y="2111023"/>
            <a:ext cx="6700185" cy="1640876"/>
          </a:xfrm>
        </p:spPr>
        <p:txBody>
          <a:bodyPr anchor="b" anchorCtr="0"/>
          <a:lstStyle>
            <a:lvl1pPr>
              <a:defRPr sz="37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bwMode="white">
          <a:xfrm>
            <a:off x="600976" y="3885701"/>
            <a:ext cx="6701032" cy="1397499"/>
          </a:xfrm>
        </p:spPr>
        <p:txBody>
          <a:bodyPr lIns="0" tIns="0"/>
          <a:lstStyle>
            <a:lvl1pPr marL="0" marR="0" indent="0" algn="l" defTabSz="304735"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hasCustomPrompt="1"/>
          </p:nvPr>
        </p:nvSpPr>
        <p:spPr>
          <a:xfrm>
            <a:off x="7618017" y="-33865"/>
            <a:ext cx="4570809" cy="5543551"/>
          </a:xfrm>
          <a:effectLst>
            <a:innerShdw blurRad="63500" dist="50800" dir="10800000">
              <a:prstClr val="black">
                <a:alpha val="50000"/>
              </a:prstClr>
            </a:innerShdw>
          </a:effectLst>
        </p:spPr>
        <p:txBody>
          <a:bodyPr vert="horz" lIns="0" tIns="0" rIns="0" bIns="0" rtlCol="0" anchor="ctr" anchorCtr="1">
            <a:noAutofit/>
          </a:bodyPr>
          <a:lstStyle>
            <a:lvl1pPr>
              <a:buFontTx/>
              <a:buNone/>
              <a:defRPr lang="en-US" baseline="0">
                <a:solidFill>
                  <a:schemeClr val="bg1"/>
                </a:solidFill>
              </a:defRPr>
            </a:lvl1pPr>
          </a:lstStyle>
          <a:p>
            <a:pPr marL="80415" lvl="0" indent="0">
              <a:buFontTx/>
              <a:buNone/>
            </a:pPr>
            <a:r>
              <a:rPr lang="en-US" dirty="0" smtClean="0"/>
              <a:t>Insert Picture Here</a:t>
            </a:r>
            <a:endParaRPr lang="en-US" dirty="0"/>
          </a:p>
        </p:txBody>
      </p:sp>
    </p:spTree>
    <p:extLst>
      <p:ext uri="{BB962C8B-B14F-4D97-AF65-F5344CB8AC3E}">
        <p14:creationId xmlns:p14="http://schemas.microsoft.com/office/powerpoint/2010/main" val="213358831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2" name="Title 1" descr="A large metric can be called out here in font size 166pt, Calibri"/>
          <p:cNvSpPr>
            <a:spLocks noGrp="1"/>
          </p:cNvSpPr>
          <p:nvPr>
            <p:ph type="title"/>
          </p:nvPr>
        </p:nvSpPr>
        <p:spPr>
          <a:xfrm>
            <a:off x="760447" y="1524000"/>
            <a:ext cx="4076699" cy="2743200"/>
          </a:xfrm>
        </p:spPr>
        <p:txBody>
          <a:bodyPr anchor="ctr"/>
          <a:lstStyle>
            <a:lvl1pPr algn="r">
              <a:defRPr sz="16600" b="1">
                <a:solidFill>
                  <a:schemeClr val="accent5"/>
                </a:solidFill>
              </a:defRPr>
            </a:lvl1pPr>
          </a:lstStyle>
          <a:p>
            <a:r>
              <a:rPr lang="en-US" smtClean="0"/>
              <a:t>Click to edit Master title style</a:t>
            </a:r>
            <a:endParaRPr lang="en-US" dirty="0"/>
          </a:p>
        </p:txBody>
      </p:sp>
      <p:sp>
        <p:nvSpPr>
          <p:cNvPr id="12" name="Text Placeholder 11"/>
          <p:cNvSpPr>
            <a:spLocks noGrp="1"/>
          </p:cNvSpPr>
          <p:nvPr>
            <p:ph type="body" sz="quarter" idx="15"/>
          </p:nvPr>
        </p:nvSpPr>
        <p:spPr>
          <a:xfrm>
            <a:off x="5256246" y="1524000"/>
            <a:ext cx="5029201"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4" name="Date Placeholder 3"/>
          <p:cNvSpPr>
            <a:spLocks noGrp="1"/>
          </p:cNvSpPr>
          <p:nvPr>
            <p:ph type="dt" sz="half" idx="16"/>
          </p:nvPr>
        </p:nvSpPr>
        <p:spPr/>
        <p:txBody>
          <a:bodyPr/>
          <a:lstStyle>
            <a:lvl1pPr>
              <a:defRPr/>
            </a:lvl1pPr>
          </a:lstStyle>
          <a:p>
            <a:pPr>
              <a:defRPr/>
            </a:pPr>
            <a:endParaRPr>
              <a:solidFill>
                <a:srgbClr val="5F5F5F">
                  <a:lumMod val="60000"/>
                  <a:lumOff val="40000"/>
                </a:srgbClr>
              </a:solidFill>
            </a:endParaRPr>
          </a:p>
        </p:txBody>
      </p:sp>
      <p:sp>
        <p:nvSpPr>
          <p:cNvPr id="5" name="Footer Placeholder 4"/>
          <p:cNvSpPr>
            <a:spLocks noGrp="1"/>
          </p:cNvSpPr>
          <p:nvPr>
            <p:ph type="ftr" sz="quarter" idx="17"/>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6" name="Slide Number Placeholder 5"/>
          <p:cNvSpPr>
            <a:spLocks noGrp="1"/>
          </p:cNvSpPr>
          <p:nvPr>
            <p:ph type="sldNum" sz="quarter" idx="18"/>
          </p:nvPr>
        </p:nvSpPr>
        <p:spPr/>
        <p:txBody>
          <a:bodyPr/>
          <a:lstStyle>
            <a:lvl1pPr>
              <a:defRPr/>
            </a:lvl1pPr>
          </a:lstStyle>
          <a:p>
            <a:pPr>
              <a:defRPr/>
            </a:pPr>
            <a:fld id="{827CF8D2-95C8-4E21-9EF3-2292F6B7FA52}"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35435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7" name="Straight Connector 6"/>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Text Placeholder 2"/>
          <p:cNvSpPr>
            <a:spLocks noGrp="1"/>
          </p:cNvSpPr>
          <p:nvPr>
            <p:ph type="body" idx="1"/>
          </p:nvPr>
        </p:nvSpPr>
        <p:spPr>
          <a:xfrm>
            <a:off x="531812" y="1524000"/>
            <a:ext cx="5413249"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9"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9"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9"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Date Placeholder 6"/>
          <p:cNvSpPr>
            <a:spLocks noGrp="1"/>
          </p:cNvSpPr>
          <p:nvPr>
            <p:ph type="dt" sz="half" idx="10"/>
          </p:nvPr>
        </p:nvSpPr>
        <p:spPr/>
        <p:txBody>
          <a:bodyPr>
            <a:noAutofit/>
          </a:bodyPr>
          <a:lstStyle>
            <a:lvl1pPr>
              <a:defRPr/>
            </a:lvl1pPr>
          </a:lstStyle>
          <a:p>
            <a:pPr>
              <a:defRPr/>
            </a:pPr>
            <a:endParaRPr>
              <a:solidFill>
                <a:srgbClr val="5F5F5F">
                  <a:lumMod val="60000"/>
                  <a:lumOff val="40000"/>
                </a:srgbClr>
              </a:solidFill>
            </a:endParaRPr>
          </a:p>
        </p:txBody>
      </p:sp>
      <p:sp>
        <p:nvSpPr>
          <p:cNvPr id="9" name="Footer Placeholder 7"/>
          <p:cNvSpPr>
            <a:spLocks noGrp="1"/>
          </p:cNvSpPr>
          <p:nvPr>
            <p:ph type="ftr" sz="quarter" idx="11"/>
          </p:nvPr>
        </p:nvSpPr>
        <p:spPr/>
        <p:txBody>
          <a:bodyPr>
            <a:noAutofit/>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0" name="Slide Number Placeholder 8"/>
          <p:cNvSpPr>
            <a:spLocks noGrp="1"/>
          </p:cNvSpPr>
          <p:nvPr>
            <p:ph type="sldNum" sz="quarter" idx="12"/>
          </p:nvPr>
        </p:nvSpPr>
        <p:spPr/>
        <p:txBody>
          <a:bodyPr>
            <a:noAutofit/>
          </a:bodyPr>
          <a:lstStyle>
            <a:lvl1pPr>
              <a:defRPr/>
            </a:lvl1pPr>
          </a:lstStyle>
          <a:p>
            <a:pPr>
              <a:defRPr/>
            </a:pPr>
            <a:fld id="{F71B12C6-0ED0-444C-AFC3-FFBCBA986BD0}"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52861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4"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5" name="Slide Number Placeholder 5"/>
          <p:cNvSpPr>
            <a:spLocks noGrp="1"/>
          </p:cNvSpPr>
          <p:nvPr>
            <p:ph type="sldNum" sz="quarter" idx="12"/>
          </p:nvPr>
        </p:nvSpPr>
        <p:spPr/>
        <p:txBody>
          <a:bodyPr/>
          <a:lstStyle>
            <a:lvl1pPr>
              <a:defRPr/>
            </a:lvl1pPr>
          </a:lstStyle>
          <a:p>
            <a:pPr>
              <a:defRPr/>
            </a:pPr>
            <a:fld id="{0DE12EC8-2525-4BEE-B283-451E36D5AA5A}"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25943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dirty="0"/>
          </a:p>
        </p:txBody>
      </p:sp>
      <p:sp>
        <p:nvSpPr>
          <p:cNvPr id="6" name="Text Placeholder 12"/>
          <p:cNvSpPr>
            <a:spLocks noGrp="1"/>
          </p:cNvSpPr>
          <p:nvPr>
            <p:ph type="body" sz="quarter" idx="13"/>
          </p:nvPr>
        </p:nvSpPr>
        <p:spPr>
          <a:xfrm>
            <a:off x="531814" y="1373793"/>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4" name="Date Placeholder 3"/>
          <p:cNvSpPr>
            <a:spLocks noGrp="1"/>
          </p:cNvSpPr>
          <p:nvPr>
            <p:ph type="dt" sz="half" idx="14"/>
          </p:nvPr>
        </p:nvSpPr>
        <p:spPr/>
        <p:txBody>
          <a:bodyPr/>
          <a:lstStyle>
            <a:lvl1pPr>
              <a:defRPr/>
            </a:lvl1pPr>
          </a:lstStyle>
          <a:p>
            <a:pPr>
              <a:defRPr/>
            </a:pPr>
            <a:endParaRPr>
              <a:solidFill>
                <a:srgbClr val="5F5F5F">
                  <a:lumMod val="60000"/>
                  <a:lumOff val="40000"/>
                </a:srgbClr>
              </a:solidFill>
            </a:endParaRPr>
          </a:p>
        </p:txBody>
      </p:sp>
      <p:sp>
        <p:nvSpPr>
          <p:cNvPr id="5" name="Footer Placeholder 4"/>
          <p:cNvSpPr>
            <a:spLocks noGrp="1"/>
          </p:cNvSpPr>
          <p:nvPr>
            <p:ph type="ftr" sz="quarter" idx="15"/>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8" name="Slide Number Placeholder 5"/>
          <p:cNvSpPr>
            <a:spLocks noGrp="1"/>
          </p:cNvSpPr>
          <p:nvPr>
            <p:ph type="sldNum" sz="quarter" idx="16"/>
          </p:nvPr>
        </p:nvSpPr>
        <p:spPr/>
        <p:txBody>
          <a:bodyPr/>
          <a:lstStyle>
            <a:lvl1pPr>
              <a:defRPr/>
            </a:lvl1pPr>
          </a:lstStyle>
          <a:p>
            <a:pPr>
              <a:defRPr/>
            </a:pPr>
            <a:fld id="{6223E90C-7D44-4BFF-A53F-6529C3DCAF28}"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9860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3"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4" name="Slide Number Placeholder 5"/>
          <p:cNvSpPr>
            <a:spLocks noGrp="1"/>
          </p:cNvSpPr>
          <p:nvPr>
            <p:ph type="sldNum" sz="quarter" idx="12"/>
          </p:nvPr>
        </p:nvSpPr>
        <p:spPr/>
        <p:txBody>
          <a:bodyPr/>
          <a:lstStyle>
            <a:lvl1pPr>
              <a:defRPr/>
            </a:lvl1pPr>
          </a:lstStyle>
          <a:p>
            <a:pPr>
              <a:defRPr/>
            </a:pPr>
            <a:fld id="{A08EF207-3366-4A01-AA7E-6C12AA8F9FDE}"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29029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Content Placeholder 2" descr="Chart using colors from the approved palette included here"/>
          <p:cNvSpPr>
            <a:spLocks noGrp="1"/>
          </p:cNvSpPr>
          <p:nvPr>
            <p:ph idx="1"/>
          </p:nvPr>
        </p:nvSpPr>
        <p:spPr>
          <a:xfrm>
            <a:off x="531662" y="1524000"/>
            <a:ext cx="758952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879725"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6"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2913E044-B6FF-47C8-BEBC-BF7CBEB11D73}"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58618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524000"/>
            <a:ext cx="6095999" cy="4416725"/>
          </a:xfrm>
          <a:solidFill>
            <a:schemeClr val="bg2"/>
          </a:solidFill>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4" name="Text Placeholder 3"/>
          <p:cNvSpPr>
            <a:spLocks noGrp="1"/>
          </p:cNvSpPr>
          <p:nvPr>
            <p:ph type="body" sz="half" idx="2"/>
          </p:nvPr>
        </p:nvSpPr>
        <p:spPr>
          <a:xfrm>
            <a:off x="7008847"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6"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7" name="Slide Number Placeholder 5"/>
          <p:cNvSpPr>
            <a:spLocks noGrp="1"/>
          </p:cNvSpPr>
          <p:nvPr>
            <p:ph type="sldNum" sz="quarter" idx="12"/>
          </p:nvPr>
        </p:nvSpPr>
        <p:spPr/>
        <p:txBody>
          <a:bodyPr/>
          <a:lstStyle>
            <a:lvl1pPr>
              <a:defRPr/>
            </a:lvl1pPr>
          </a:lstStyle>
          <a:p>
            <a:pPr>
              <a:defRPr/>
            </a:pPr>
            <a:fld id="{23FBD58C-57EF-4FF5-A987-10F82E0E283C}"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20064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7" name="Straight Connector 6"/>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Picture Placeholder 2" descr="Two 4-color photos can be included here"/>
          <p:cNvSpPr>
            <a:spLocks noGrp="1"/>
          </p:cNvSpPr>
          <p:nvPr>
            <p:ph type="pic" idx="1"/>
          </p:nvPr>
        </p:nvSpPr>
        <p:spPr bwMode="gray">
          <a:xfrm>
            <a:off x="531812" y="1524000"/>
            <a:ext cx="5413249" cy="3474720"/>
          </a:xfrm>
          <a:solidFill>
            <a:schemeClr val="bg2"/>
          </a:solidFill>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4" name="Text Placeholder 3"/>
          <p:cNvSpPr>
            <a:spLocks noGrp="1"/>
          </p:cNvSpPr>
          <p:nvPr>
            <p:ph type="body" sz="half" idx="2"/>
          </p:nvPr>
        </p:nvSpPr>
        <p:spPr>
          <a:xfrm>
            <a:off x="531814"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Picture Placeholder 2"/>
          <p:cNvSpPr>
            <a:spLocks noGrp="1"/>
          </p:cNvSpPr>
          <p:nvPr>
            <p:ph type="pic" idx="13"/>
          </p:nvPr>
        </p:nvSpPr>
        <p:spPr bwMode="gray">
          <a:xfrm>
            <a:off x="6246811" y="1524000"/>
            <a:ext cx="5413249" cy="3474720"/>
          </a:xfrm>
          <a:solidFill>
            <a:schemeClr val="bg2"/>
          </a:solidFill>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10" name="Text Placeholder 3"/>
          <p:cNvSpPr>
            <a:spLocks noGrp="1"/>
          </p:cNvSpPr>
          <p:nvPr>
            <p:ph type="body" sz="half" idx="14"/>
          </p:nvPr>
        </p:nvSpPr>
        <p:spPr>
          <a:xfrm>
            <a:off x="6246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4"/>
          <p:cNvSpPr>
            <a:spLocks noGrp="1"/>
          </p:cNvSpPr>
          <p:nvPr>
            <p:ph type="dt" sz="half" idx="15"/>
          </p:nvPr>
        </p:nvSpPr>
        <p:spPr/>
        <p:txBody>
          <a:bodyPr/>
          <a:lstStyle>
            <a:lvl1pPr>
              <a:defRPr/>
            </a:lvl1pPr>
          </a:lstStyle>
          <a:p>
            <a:pPr>
              <a:defRPr/>
            </a:pPr>
            <a:endParaRPr>
              <a:solidFill>
                <a:srgbClr val="5F5F5F">
                  <a:lumMod val="60000"/>
                  <a:lumOff val="40000"/>
                </a:srgbClr>
              </a:solidFill>
            </a:endParaRPr>
          </a:p>
        </p:txBody>
      </p:sp>
      <p:sp>
        <p:nvSpPr>
          <p:cNvPr id="12" name="Footer Placeholder 5"/>
          <p:cNvSpPr>
            <a:spLocks noGrp="1"/>
          </p:cNvSpPr>
          <p:nvPr>
            <p:ph type="ftr" sz="quarter" idx="16"/>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3" name="Slide Number Placeholder 6"/>
          <p:cNvSpPr>
            <a:spLocks noGrp="1"/>
          </p:cNvSpPr>
          <p:nvPr>
            <p:ph type="sldNum" sz="quarter" idx="17"/>
          </p:nvPr>
        </p:nvSpPr>
        <p:spPr/>
        <p:txBody>
          <a:bodyPr/>
          <a:lstStyle>
            <a:lvl1pPr>
              <a:defRPr/>
            </a:lvl1pPr>
          </a:lstStyle>
          <a:p>
            <a:pPr>
              <a:defRPr/>
            </a:pPr>
            <a:fld id="{0768747B-0ECD-439D-BEE4-FF860F4CC065}"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49372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4"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Three 4-color photos can be included here"/>
          <p:cNvSpPr>
            <a:spLocks noGrp="1"/>
          </p:cNvSpPr>
          <p:nvPr>
            <p:ph type="pic" idx="1"/>
          </p:nvPr>
        </p:nvSpPr>
        <p:spPr bwMode="gray">
          <a:xfrm>
            <a:off x="531814" y="1524000"/>
            <a:ext cx="3474720" cy="3048000"/>
          </a:xfrm>
          <a:solidFill>
            <a:schemeClr val="bg2"/>
          </a:solidFill>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4" name="Text Placeholder 3"/>
          <p:cNvSpPr>
            <a:spLocks noGrp="1"/>
          </p:cNvSpPr>
          <p:nvPr>
            <p:ph type="body" sz="half" idx="2"/>
          </p:nvPr>
        </p:nvSpPr>
        <p:spPr>
          <a:xfrm>
            <a:off x="531814"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Picture Placeholder 2"/>
          <p:cNvSpPr>
            <a:spLocks noGrp="1"/>
          </p:cNvSpPr>
          <p:nvPr>
            <p:ph type="pic" idx="13"/>
          </p:nvPr>
        </p:nvSpPr>
        <p:spPr bwMode="gray">
          <a:xfrm>
            <a:off x="4357055" y="1524000"/>
            <a:ext cx="3474720" cy="3048000"/>
          </a:xfrm>
          <a:solidFill>
            <a:schemeClr val="bg2"/>
          </a:solidFill>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10" name="Text Placeholder 3"/>
          <p:cNvSpPr>
            <a:spLocks noGrp="1"/>
          </p:cNvSpPr>
          <p:nvPr>
            <p:ph type="body" sz="half" idx="14"/>
          </p:nvPr>
        </p:nvSpPr>
        <p:spPr>
          <a:xfrm>
            <a:off x="4357055"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5" name="Date Placeholder 4"/>
          <p:cNvSpPr>
            <a:spLocks noGrp="1"/>
          </p:cNvSpPr>
          <p:nvPr>
            <p:ph type="dt" sz="half" idx="17"/>
          </p:nvPr>
        </p:nvSpPr>
        <p:spPr/>
        <p:txBody>
          <a:bodyPr/>
          <a:lstStyle>
            <a:lvl1pPr>
              <a:defRPr/>
            </a:lvl1pPr>
          </a:lstStyle>
          <a:p>
            <a:pPr>
              <a:defRPr/>
            </a:pPr>
            <a:endParaRPr>
              <a:solidFill>
                <a:srgbClr val="5F5F5F">
                  <a:lumMod val="60000"/>
                  <a:lumOff val="40000"/>
                </a:srgbClr>
              </a:solidFill>
            </a:endParaRPr>
          </a:p>
        </p:txBody>
      </p:sp>
      <p:sp>
        <p:nvSpPr>
          <p:cNvPr id="16" name="Footer Placeholder 5"/>
          <p:cNvSpPr>
            <a:spLocks noGrp="1"/>
          </p:cNvSpPr>
          <p:nvPr>
            <p:ph type="ftr" sz="quarter" idx="18"/>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7" name="Slide Number Placeholder 6"/>
          <p:cNvSpPr>
            <a:spLocks noGrp="1"/>
          </p:cNvSpPr>
          <p:nvPr>
            <p:ph type="sldNum" sz="quarter" idx="19"/>
          </p:nvPr>
        </p:nvSpPr>
        <p:spPr/>
        <p:txBody>
          <a:bodyPr/>
          <a:lstStyle>
            <a:lvl1pPr>
              <a:defRPr/>
            </a:lvl1pPr>
          </a:lstStyle>
          <a:p>
            <a:pPr>
              <a:defRPr/>
            </a:pPr>
            <a:fld id="{E509E9D6-F963-47F5-A367-1BA894C4DA62}"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421347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martphone and Tablet: Horizontal">
    <p:spTree>
      <p:nvGrpSpPr>
        <p:cNvPr id="1" name=""/>
        <p:cNvGrpSpPr/>
        <p:nvPr/>
      </p:nvGrpSpPr>
      <p:grpSpPr>
        <a:xfrm>
          <a:off x="0" y="0"/>
          <a:ext cx="0" cy="0"/>
          <a:chOff x="0" y="0"/>
          <a:chExt cx="0" cy="0"/>
        </a:xfrm>
      </p:grpSpPr>
      <p:pic>
        <p:nvPicPr>
          <p:cNvPr id="5" name="Picture 13" descr="Photos, screen captures, graphics can be inserted in a white mobile phone and tablet"/>
          <p:cNvPicPr>
            <a:picLocks noChangeAspect="1"/>
          </p:cNvPicPr>
          <p:nvPr/>
        </p:nvPicPr>
        <p:blipFill>
          <a:blip r:embed="rId2" cstate="print"/>
          <a:srcRect/>
          <a:stretch>
            <a:fillRect/>
          </a:stretch>
        </p:blipFill>
        <p:spPr bwMode="auto">
          <a:xfrm>
            <a:off x="3916396" y="1522421"/>
            <a:ext cx="6496051" cy="4567237"/>
          </a:xfrm>
          <a:prstGeom prst="rect">
            <a:avLst/>
          </a:prstGeom>
          <a:noFill/>
          <a:ln w="9525">
            <a:noFill/>
            <a:miter lim="800000"/>
            <a:headEnd/>
            <a:tailEnd/>
          </a:ln>
        </p:spPr>
      </p:pic>
      <p:pic>
        <p:nvPicPr>
          <p:cNvPr id="6" name="Picture 15" descr="Photos, screen captures, graphics can be inserted in a white mobile phone and tablet"/>
          <p:cNvPicPr>
            <a:picLocks noChangeAspect="1"/>
          </p:cNvPicPr>
          <p:nvPr userDrawn="1"/>
        </p:nvPicPr>
        <p:blipFill>
          <a:blip r:embed="rId3" cstate="print"/>
          <a:srcRect/>
          <a:stretch>
            <a:fillRect/>
          </a:stretch>
        </p:blipFill>
        <p:spPr bwMode="auto">
          <a:xfrm>
            <a:off x="1770065" y="1828800"/>
            <a:ext cx="1841500" cy="3887788"/>
          </a:xfrm>
          <a:prstGeom prst="rect">
            <a:avLst/>
          </a:prstGeom>
          <a:noFill/>
          <a:ln w="9525">
            <a:noFill/>
            <a:miter lim="800000"/>
            <a:headEnd/>
            <a:tailEnd/>
          </a:ln>
        </p:spPr>
      </p:pic>
      <p:sp>
        <p:nvSpPr>
          <p:cNvPr id="4" name="Title 3"/>
          <p:cNvSpPr>
            <a:spLocks noGrp="1"/>
          </p:cNvSpPr>
          <p:nvPr>
            <p:ph type="title"/>
          </p:nvPr>
        </p:nvSpPr>
        <p:spPr/>
        <p:txBody>
          <a:bodyPr/>
          <a:lstStyle/>
          <a:p>
            <a:r>
              <a:rPr lang="en-US" smtClean="0"/>
              <a:t>Click to edit Master title style</a:t>
            </a:r>
            <a:endParaRPr dirty="0"/>
          </a:p>
        </p:txBody>
      </p:sp>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13" name="Picture Placeholder 2"/>
          <p:cNvSpPr>
            <a:spLocks noGrp="1"/>
          </p:cNvSpPr>
          <p:nvPr>
            <p:ph type="pic" idx="1"/>
          </p:nvPr>
        </p:nvSpPr>
        <p:spPr bwMode="gray">
          <a:xfrm>
            <a:off x="1888693" y="2372664"/>
            <a:ext cx="1618488" cy="2834640"/>
          </a:xfrm>
          <a:solidFill>
            <a:schemeClr val="bg2"/>
          </a:solidFill>
          <a:ln w="12700">
            <a:solidFill>
              <a:schemeClr val="bg2"/>
            </a:solidFill>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7" name="Date Placeholder 4"/>
          <p:cNvSpPr>
            <a:spLocks noGrp="1"/>
          </p:cNvSpPr>
          <p:nvPr>
            <p:ph type="dt" sz="half" idx="14"/>
          </p:nvPr>
        </p:nvSpPr>
        <p:spPr/>
        <p:txBody>
          <a:bodyPr/>
          <a:lstStyle>
            <a:lvl1pPr>
              <a:defRPr/>
            </a:lvl1pPr>
          </a:lstStyle>
          <a:p>
            <a:pPr>
              <a:defRPr/>
            </a:pPr>
            <a:endParaRPr>
              <a:solidFill>
                <a:srgbClr val="5F5F5F">
                  <a:lumMod val="60000"/>
                  <a:lumOff val="40000"/>
                </a:srgbClr>
              </a:solidFill>
            </a:endParaRPr>
          </a:p>
        </p:txBody>
      </p:sp>
      <p:sp>
        <p:nvSpPr>
          <p:cNvPr id="8" name="Footer Placeholder 5"/>
          <p:cNvSpPr>
            <a:spLocks noGrp="1"/>
          </p:cNvSpPr>
          <p:nvPr>
            <p:ph type="ftr" sz="quarter" idx="15"/>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0" name="Slide Number Placeholder 6"/>
          <p:cNvSpPr>
            <a:spLocks noGrp="1"/>
          </p:cNvSpPr>
          <p:nvPr>
            <p:ph type="sldNum" sz="quarter" idx="16"/>
          </p:nvPr>
        </p:nvSpPr>
        <p:spPr/>
        <p:txBody>
          <a:bodyPr/>
          <a:lstStyle>
            <a:lvl1pPr>
              <a:defRPr/>
            </a:lvl1pPr>
          </a:lstStyle>
          <a:p>
            <a:pPr>
              <a:defRPr/>
            </a:pPr>
            <a:fld id="{2C37A4B5-28C4-4742-B312-DC7F73DF97B2}"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86912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2" y="1546584"/>
            <a:ext cx="12188822" cy="3973688"/>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
        <p:nvSpPr>
          <p:cNvPr id="17" name="Title 1"/>
          <p:cNvSpPr>
            <a:spLocks noGrp="1"/>
          </p:cNvSpPr>
          <p:nvPr userDrawn="1">
            <p:ph type="title"/>
          </p:nvPr>
        </p:nvSpPr>
        <p:spPr>
          <a:xfrm>
            <a:off x="1073030" y="327386"/>
            <a:ext cx="10359637" cy="1015993"/>
          </a:xfrm>
        </p:spPr>
        <p:txBody>
          <a:bodyPr anchor="t" anchorCtr="0"/>
          <a:lstStyle>
            <a:lvl1pPr algn="l" defTabSz="1218936" rtl="0" eaLnBrk="1" latinLnBrk="0" hangingPunct="1">
              <a:lnSpc>
                <a:spcPct val="90000"/>
              </a:lnSpc>
              <a:spcBef>
                <a:spcPct val="0"/>
              </a:spcBef>
              <a:buNone/>
              <a:defRPr lang="en-US" sz="37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userDrawn="1">
            <p:ph type="body" sz="quarter" idx="13"/>
          </p:nvPr>
        </p:nvSpPr>
        <p:spPr>
          <a:xfrm>
            <a:off x="1073030" y="1817511"/>
            <a:ext cx="10359637" cy="3488268"/>
          </a:xfrm>
        </p:spPr>
        <p:txBody>
          <a:bodyPr lIns="0" tIns="0"/>
          <a:lstStyle>
            <a:lvl1pPr marL="298385" indent="-298385">
              <a:lnSpc>
                <a:spcPct val="120000"/>
              </a:lnSpc>
              <a:buSzPct val="90000"/>
              <a:buFont typeface="Wingdings" pitchFamily="2" charset="2"/>
              <a:buChar char="§"/>
              <a:defRPr sz="320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3682148377"/>
      </p:ext>
    </p:extLst>
  </p:cSld>
  <p:clrMapOvr>
    <a:masterClrMapping/>
  </p:clrMapOvr>
  <p:transition spd="med">
    <p:fade/>
  </p:transition>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martphone and Tablet: Vertical">
    <p:spTree>
      <p:nvGrpSpPr>
        <p:cNvPr id="1" name=""/>
        <p:cNvGrpSpPr/>
        <p:nvPr/>
      </p:nvGrpSpPr>
      <p:grpSpPr>
        <a:xfrm>
          <a:off x="0" y="0"/>
          <a:ext cx="0" cy="0"/>
          <a:chOff x="0" y="0"/>
          <a:chExt cx="0" cy="0"/>
        </a:xfrm>
      </p:grpSpPr>
      <p:pic>
        <p:nvPicPr>
          <p:cNvPr id="5" name="Picture 13" descr="Photos, screen captures, graphics can be inserted in a white mobile phone and tablet"/>
          <p:cNvPicPr>
            <a:picLocks noChangeAspect="1"/>
          </p:cNvPicPr>
          <p:nvPr/>
        </p:nvPicPr>
        <p:blipFill>
          <a:blip r:embed="rId2" cstate="print"/>
          <a:srcRect/>
          <a:stretch>
            <a:fillRect/>
          </a:stretch>
        </p:blipFill>
        <p:spPr bwMode="auto">
          <a:xfrm>
            <a:off x="3960813" y="1905000"/>
            <a:ext cx="1841500" cy="3887788"/>
          </a:xfrm>
          <a:prstGeom prst="rect">
            <a:avLst/>
          </a:prstGeom>
          <a:noFill/>
          <a:ln w="9525">
            <a:noFill/>
            <a:miter lim="800000"/>
            <a:headEnd/>
            <a:tailEnd/>
          </a:ln>
        </p:spPr>
      </p:pic>
      <p:pic>
        <p:nvPicPr>
          <p:cNvPr id="6" name="Picture 15" descr="Photos, screen captures, graphics can be inserted in a white mobile phone and tablet"/>
          <p:cNvPicPr>
            <a:picLocks noChangeAspect="1"/>
          </p:cNvPicPr>
          <p:nvPr/>
        </p:nvPicPr>
        <p:blipFill>
          <a:blip r:embed="rId3" cstate="print"/>
          <a:srcRect b="7518"/>
          <a:stretch>
            <a:fillRect/>
          </a:stretch>
        </p:blipFill>
        <p:spPr bwMode="auto">
          <a:xfrm>
            <a:off x="6467509" y="393700"/>
            <a:ext cx="4568825" cy="6007100"/>
          </a:xfrm>
          <a:prstGeom prst="rect">
            <a:avLst/>
          </a:prstGeom>
          <a:noFill/>
          <a:ln w="9525">
            <a:noFill/>
            <a:miter lim="800000"/>
            <a:headEnd/>
            <a:tailEnd/>
          </a:ln>
        </p:spPr>
      </p:pic>
      <p:sp>
        <p:nvSpPr>
          <p:cNvPr id="2" name="Title 1"/>
          <p:cNvSpPr>
            <a:spLocks noGrp="1"/>
          </p:cNvSpPr>
          <p:nvPr>
            <p:ph type="title"/>
          </p:nvPr>
        </p:nvSpPr>
        <p:spPr>
          <a:xfrm>
            <a:off x="531815" y="406400"/>
            <a:ext cx="5852160" cy="889000"/>
          </a:xfrm>
        </p:spPr>
        <p:txBody>
          <a:bodyPr>
            <a:noAutofit/>
          </a:bodyPr>
          <a:lstStyle>
            <a:lvl1pPr algn="l">
              <a:defRPr sz="3600" b="0"/>
            </a:lvl1pPr>
          </a:lstStyle>
          <a:p>
            <a:r>
              <a:rPr lang="en-US" smtClean="0"/>
              <a:t>Click to edit Master title style</a:t>
            </a:r>
            <a:endParaRPr dirty="0"/>
          </a:p>
        </p:txBody>
      </p:sp>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9" name="Picture Placeholder 2"/>
          <p:cNvSpPr>
            <a:spLocks noGrp="1"/>
          </p:cNvSpPr>
          <p:nvPr>
            <p:ph type="pic" idx="13"/>
          </p:nvPr>
        </p:nvSpPr>
        <p:spPr bwMode="gray">
          <a:xfrm>
            <a:off x="6747707" y="1013144"/>
            <a:ext cx="3962137" cy="5252348"/>
          </a:xfrm>
          <a:solidFill>
            <a:schemeClr val="bg2"/>
          </a:solidFill>
          <a:ln w="12700">
            <a:solidFill>
              <a:schemeClr val="bg2"/>
            </a:solidFill>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7" name="Date Placeholder 4"/>
          <p:cNvSpPr>
            <a:spLocks noGrp="1"/>
          </p:cNvSpPr>
          <p:nvPr>
            <p:ph type="dt" sz="half" idx="14"/>
          </p:nvPr>
        </p:nvSpPr>
        <p:spPr/>
        <p:txBody>
          <a:bodyPr/>
          <a:lstStyle>
            <a:lvl1pPr>
              <a:defRPr/>
            </a:lvl1pPr>
          </a:lstStyle>
          <a:p>
            <a:pPr>
              <a:defRPr/>
            </a:pPr>
            <a:endParaRPr>
              <a:solidFill>
                <a:srgbClr val="5F5F5F">
                  <a:lumMod val="60000"/>
                  <a:lumOff val="40000"/>
                </a:srgbClr>
              </a:solidFill>
            </a:endParaRPr>
          </a:p>
        </p:txBody>
      </p:sp>
      <p:sp>
        <p:nvSpPr>
          <p:cNvPr id="8" name="Footer Placeholder 5"/>
          <p:cNvSpPr>
            <a:spLocks noGrp="1"/>
          </p:cNvSpPr>
          <p:nvPr>
            <p:ph type="ftr" sz="quarter" idx="15"/>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0" name="Slide Number Placeholder 6"/>
          <p:cNvSpPr>
            <a:spLocks noGrp="1"/>
          </p:cNvSpPr>
          <p:nvPr>
            <p:ph type="sldNum" sz="quarter" idx="16"/>
          </p:nvPr>
        </p:nvSpPr>
        <p:spPr/>
        <p:txBody>
          <a:bodyPr/>
          <a:lstStyle>
            <a:lvl1pPr>
              <a:defRPr/>
            </a:lvl1pPr>
          </a:lstStyle>
          <a:p>
            <a:pPr>
              <a:defRPr/>
            </a:pPr>
            <a:fld id="{35CB4760-1FEC-431E-B9B7-E70DB1EFD945}"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11519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5" name="Picture 13"/>
          <p:cNvPicPr>
            <a:picLocks noChangeAspect="1"/>
          </p:cNvPicPr>
          <p:nvPr userDrawn="1"/>
        </p:nvPicPr>
        <p:blipFill>
          <a:blip r:embed="rId2" cstate="print"/>
          <a:srcRect/>
          <a:stretch>
            <a:fillRect/>
          </a:stretch>
        </p:blipFill>
        <p:spPr bwMode="auto">
          <a:xfrm>
            <a:off x="4257675" y="1584325"/>
            <a:ext cx="5829300" cy="4110038"/>
          </a:xfrm>
          <a:prstGeom prst="rect">
            <a:avLst/>
          </a:prstGeom>
          <a:noFill/>
          <a:ln w="9525">
            <a:noFill/>
            <a:miter lim="800000"/>
            <a:headEnd/>
            <a:tailEnd/>
          </a:ln>
        </p:spPr>
      </p:pic>
      <p:pic>
        <p:nvPicPr>
          <p:cNvPr id="6" name="Picture 15"/>
          <p:cNvPicPr>
            <a:picLocks noChangeAspect="1"/>
          </p:cNvPicPr>
          <p:nvPr userDrawn="1"/>
        </p:nvPicPr>
        <p:blipFill>
          <a:blip r:embed="rId3" cstate="print"/>
          <a:srcRect/>
          <a:stretch>
            <a:fillRect/>
          </a:stretch>
        </p:blipFill>
        <p:spPr bwMode="auto">
          <a:xfrm>
            <a:off x="1760537" y="1981200"/>
            <a:ext cx="1878012" cy="3635375"/>
          </a:xfrm>
          <a:prstGeom prst="rect">
            <a:avLst/>
          </a:prstGeom>
          <a:noFill/>
          <a:ln w="9525">
            <a:noFill/>
            <a:miter lim="800000"/>
            <a:headEnd/>
            <a:tailEnd/>
          </a:ln>
        </p:spPr>
      </p:pic>
      <p:sp>
        <p:nvSpPr>
          <p:cNvPr id="4" name="Title 3"/>
          <p:cNvSpPr>
            <a:spLocks noGrp="1"/>
          </p:cNvSpPr>
          <p:nvPr>
            <p:ph type="title"/>
          </p:nvPr>
        </p:nvSpPr>
        <p:spPr/>
        <p:txBody>
          <a:bodyPr/>
          <a:lstStyle/>
          <a:p>
            <a:r>
              <a:rPr lang="en-US" smtClean="0"/>
              <a:t>Click to edit Master title style</a:t>
            </a:r>
            <a:endParaRPr dirty="0"/>
          </a:p>
        </p:txBody>
      </p:sp>
      <p:sp>
        <p:nvSpPr>
          <p:cNvPr id="16" name="Picture Placeholder 2"/>
          <p:cNvSpPr>
            <a:spLocks noGrp="1"/>
          </p:cNvSpPr>
          <p:nvPr>
            <p:ph type="pic" idx="13"/>
          </p:nvPr>
        </p:nvSpPr>
        <p:spPr bwMode="gray">
          <a:xfrm>
            <a:off x="4532312" y="1971678"/>
            <a:ext cx="5246688" cy="3324225"/>
          </a:xfrm>
          <a:solidFill>
            <a:schemeClr val="bg2"/>
          </a:solidFill>
          <a:ln w="12700">
            <a:solidFill>
              <a:schemeClr val="bg2"/>
            </a:solidFill>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18" name="Picture Placeholder 2"/>
          <p:cNvSpPr>
            <a:spLocks noGrp="1"/>
          </p:cNvSpPr>
          <p:nvPr>
            <p:ph type="pic" idx="1"/>
          </p:nvPr>
        </p:nvSpPr>
        <p:spPr bwMode="gray">
          <a:xfrm>
            <a:off x="1885139" y="2363138"/>
            <a:ext cx="1631568" cy="2894661"/>
          </a:xfrm>
          <a:solidFill>
            <a:schemeClr val="bg2"/>
          </a:solidFill>
          <a:ln w="12700">
            <a:solidFill>
              <a:schemeClr val="bg2"/>
            </a:solidFill>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7" name="Date Placeholder 4"/>
          <p:cNvSpPr>
            <a:spLocks noGrp="1"/>
          </p:cNvSpPr>
          <p:nvPr>
            <p:ph type="dt" sz="half" idx="14"/>
          </p:nvPr>
        </p:nvSpPr>
        <p:spPr/>
        <p:txBody>
          <a:bodyPr/>
          <a:lstStyle>
            <a:lvl1pPr>
              <a:defRPr/>
            </a:lvl1pPr>
          </a:lstStyle>
          <a:p>
            <a:pPr>
              <a:defRPr/>
            </a:pPr>
            <a:endParaRPr>
              <a:solidFill>
                <a:srgbClr val="5F5F5F">
                  <a:lumMod val="60000"/>
                  <a:lumOff val="40000"/>
                </a:srgbClr>
              </a:solidFill>
            </a:endParaRPr>
          </a:p>
        </p:txBody>
      </p:sp>
      <p:sp>
        <p:nvSpPr>
          <p:cNvPr id="8" name="Footer Placeholder 5"/>
          <p:cNvSpPr>
            <a:spLocks noGrp="1"/>
          </p:cNvSpPr>
          <p:nvPr>
            <p:ph type="ftr" sz="quarter" idx="15"/>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9" name="Slide Number Placeholder 6"/>
          <p:cNvSpPr>
            <a:spLocks noGrp="1"/>
          </p:cNvSpPr>
          <p:nvPr>
            <p:ph type="sldNum" sz="quarter" idx="16"/>
          </p:nvPr>
        </p:nvSpPr>
        <p:spPr/>
        <p:txBody>
          <a:bodyPr/>
          <a:lstStyle>
            <a:lvl1pPr>
              <a:defRPr/>
            </a:lvl1pPr>
          </a:lstStyle>
          <a:p>
            <a:pPr>
              <a:defRPr/>
            </a:pPr>
            <a:fld id="{9004FE42-F58E-49A8-A774-AA446C94A025}"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50236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5" name="Picture 13"/>
          <p:cNvPicPr>
            <a:picLocks noChangeAspect="1"/>
          </p:cNvPicPr>
          <p:nvPr userDrawn="1"/>
        </p:nvPicPr>
        <p:blipFill>
          <a:blip r:embed="rId2" cstate="print"/>
          <a:srcRect b="3674"/>
          <a:stretch>
            <a:fillRect/>
          </a:stretch>
        </p:blipFill>
        <p:spPr bwMode="auto">
          <a:xfrm>
            <a:off x="6589748" y="463553"/>
            <a:ext cx="4344987" cy="5935663"/>
          </a:xfrm>
          <a:prstGeom prst="rect">
            <a:avLst/>
          </a:prstGeom>
          <a:noFill/>
          <a:ln w="9525">
            <a:noFill/>
            <a:miter lim="800000"/>
            <a:headEnd/>
            <a:tailEnd/>
          </a:ln>
        </p:spPr>
      </p:pic>
      <p:pic>
        <p:nvPicPr>
          <p:cNvPr id="6" name="Picture 15"/>
          <p:cNvPicPr>
            <a:picLocks noChangeAspect="1"/>
          </p:cNvPicPr>
          <p:nvPr userDrawn="1"/>
        </p:nvPicPr>
        <p:blipFill>
          <a:blip r:embed="rId3" cstate="print"/>
          <a:srcRect/>
          <a:stretch>
            <a:fillRect/>
          </a:stretch>
        </p:blipFill>
        <p:spPr bwMode="auto">
          <a:xfrm>
            <a:off x="3960812" y="2019307"/>
            <a:ext cx="1878012" cy="3635375"/>
          </a:xfrm>
          <a:prstGeom prst="rect">
            <a:avLst/>
          </a:prstGeom>
          <a:noFill/>
          <a:ln w="9525">
            <a:noFill/>
            <a:miter lim="800000"/>
            <a:headEnd/>
            <a:tailEnd/>
          </a:ln>
        </p:spPr>
      </p:pic>
      <p:sp>
        <p:nvSpPr>
          <p:cNvPr id="2" name="Title 1"/>
          <p:cNvSpPr>
            <a:spLocks noGrp="1"/>
          </p:cNvSpPr>
          <p:nvPr>
            <p:ph type="title"/>
          </p:nvPr>
        </p:nvSpPr>
        <p:spPr>
          <a:xfrm>
            <a:off x="531811" y="406400"/>
            <a:ext cx="5852160" cy="889000"/>
          </a:xfrm>
        </p:spPr>
        <p:txBody>
          <a:bodyPr>
            <a:noAutofit/>
          </a:bodyPr>
          <a:lstStyle>
            <a:lvl1pPr algn="l">
              <a:defRPr sz="3600" b="0"/>
            </a:lvl1pPr>
          </a:lstStyle>
          <a:p>
            <a:r>
              <a:rPr lang="en-US" smtClean="0"/>
              <a:t>Click to edit Master title style</a:t>
            </a:r>
            <a:endParaRPr dirty="0"/>
          </a:p>
        </p:txBody>
      </p:sp>
      <p:sp>
        <p:nvSpPr>
          <p:cNvPr id="11" name="Picture Placeholder 2"/>
          <p:cNvSpPr>
            <a:spLocks noGrp="1"/>
          </p:cNvSpPr>
          <p:nvPr>
            <p:ph type="pic" idx="13"/>
          </p:nvPr>
        </p:nvSpPr>
        <p:spPr bwMode="gray">
          <a:xfrm>
            <a:off x="7019959" y="771524"/>
            <a:ext cx="3486149" cy="5534025"/>
          </a:xfrm>
          <a:solidFill>
            <a:schemeClr val="bg2"/>
          </a:solidFill>
          <a:ln w="12700">
            <a:solidFill>
              <a:schemeClr val="bg2"/>
            </a:solidFill>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18" name="Picture Placeholder 2"/>
          <p:cNvSpPr>
            <a:spLocks noGrp="1"/>
          </p:cNvSpPr>
          <p:nvPr>
            <p:ph type="pic" idx="14"/>
          </p:nvPr>
        </p:nvSpPr>
        <p:spPr bwMode="gray">
          <a:xfrm>
            <a:off x="4088968" y="2401245"/>
            <a:ext cx="1618488" cy="2894661"/>
          </a:xfrm>
          <a:solidFill>
            <a:schemeClr val="bg2"/>
          </a:solidFill>
          <a:ln w="12700">
            <a:solidFill>
              <a:schemeClr val="bg2"/>
            </a:solidFill>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7" name="Date Placeholder 4"/>
          <p:cNvSpPr>
            <a:spLocks noGrp="1"/>
          </p:cNvSpPr>
          <p:nvPr>
            <p:ph type="dt" sz="half" idx="15"/>
          </p:nvPr>
        </p:nvSpPr>
        <p:spPr/>
        <p:txBody>
          <a:bodyPr/>
          <a:lstStyle>
            <a:lvl1pPr>
              <a:defRPr/>
            </a:lvl1pPr>
          </a:lstStyle>
          <a:p>
            <a:pPr>
              <a:defRPr/>
            </a:pPr>
            <a:endParaRPr>
              <a:solidFill>
                <a:srgbClr val="5F5F5F">
                  <a:lumMod val="60000"/>
                  <a:lumOff val="40000"/>
                </a:srgbClr>
              </a:solidFill>
            </a:endParaRPr>
          </a:p>
        </p:txBody>
      </p:sp>
      <p:sp>
        <p:nvSpPr>
          <p:cNvPr id="8" name="Footer Placeholder 5"/>
          <p:cNvSpPr>
            <a:spLocks noGrp="1"/>
          </p:cNvSpPr>
          <p:nvPr>
            <p:ph type="ftr" sz="quarter" idx="16"/>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9" name="Slide Number Placeholder 6"/>
          <p:cNvSpPr>
            <a:spLocks noGrp="1"/>
          </p:cNvSpPr>
          <p:nvPr>
            <p:ph type="sldNum" sz="quarter" idx="17"/>
          </p:nvPr>
        </p:nvSpPr>
        <p:spPr/>
        <p:txBody>
          <a:bodyPr/>
          <a:lstStyle>
            <a:lvl1pPr>
              <a:defRPr/>
            </a:lvl1pPr>
          </a:lstStyle>
          <a:p>
            <a:pPr>
              <a:defRPr/>
            </a:pPr>
            <a:fld id="{E38447F6-CB46-4857-9B8A-3EA01FA80090}"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70081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4" name="Rectangle 3" descr="A large metric, brief statement, and 4-color photo can be included he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sz="1800" dirty="0">
              <a:solidFill>
                <a:srgbClr val="FFFFFF"/>
              </a:solidFill>
            </a:endParaRPr>
          </a:p>
        </p:txBody>
      </p:sp>
      <p:grpSp>
        <p:nvGrpSpPr>
          <p:cNvPr id="5" name="Group 15"/>
          <p:cNvGrpSpPr>
            <a:grpSpLocks/>
          </p:cNvGrpSpPr>
          <p:nvPr/>
        </p:nvGrpSpPr>
        <p:grpSpPr bwMode="auto">
          <a:xfrm>
            <a:off x="0" y="0"/>
            <a:ext cx="12188825" cy="6858000"/>
            <a:chOff x="-287" y="0"/>
            <a:chExt cx="12189399" cy="6858000"/>
          </a:xfrm>
        </p:grpSpPr>
        <p:sp>
          <p:nvSpPr>
            <p:cNvPr id="6" name="Rectangle 5"/>
            <p:cNvSpPr/>
            <p:nvPr/>
          </p:nvSpPr>
          <p:spPr bwMode="gray">
            <a:xfrm>
              <a:off x="-287" y="0"/>
              <a:ext cx="193684" cy="685165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7" name="Rectangle 6"/>
            <p:cNvSpPr/>
            <p:nvPr/>
          </p:nvSpPr>
          <p:spPr bwMode="gray">
            <a:xfrm>
              <a:off x="11995428" y="6350"/>
              <a:ext cx="193684" cy="685165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8" name="Rectangle 7"/>
            <p:cNvSpPr/>
            <p:nvPr/>
          </p:nvSpPr>
          <p:spPr bwMode="gray">
            <a:xfrm>
              <a:off x="-287" y="6400800"/>
              <a:ext cx="12189399"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9" name="Rectangle 8"/>
            <p:cNvSpPr/>
            <p:nvPr/>
          </p:nvSpPr>
          <p:spPr bwMode="gray">
            <a:xfrm>
              <a:off x="-287" y="0"/>
              <a:ext cx="12189399" cy="192088"/>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grpSp>
      <p:sp>
        <p:nvSpPr>
          <p:cNvPr id="10" name="TextBox 9"/>
          <p:cNvSpPr txBox="1"/>
          <p:nvPr/>
        </p:nvSpPr>
        <p:spPr>
          <a:xfrm>
            <a:off x="5989638" y="6556427"/>
            <a:ext cx="2787650" cy="182563"/>
          </a:xfrm>
          <a:prstGeom prst="rect">
            <a:avLst/>
          </a:prstGeom>
          <a:noFill/>
        </p:spPr>
        <p:txBody>
          <a:bodyPr wrap="none" lIns="0" tIns="0" rIns="0" bIns="0" anchor="ctr"/>
          <a:lstStyle/>
          <a:p>
            <a:pPr defTabSz="914400">
              <a:defRPr/>
            </a:pPr>
            <a:r>
              <a:rPr sz="800" dirty="0">
                <a:solidFill>
                  <a:srgbClr val="5F5F5F">
                    <a:lumMod val="60000"/>
                    <a:lumOff val="40000"/>
                  </a:srgbClr>
                </a:solidFill>
                <a:cs typeface="Arial" pitchFamily="34" charset="0"/>
              </a:rPr>
              <a:t>Copyright © 2014 Oracle and/or its affiliates. All rights reserved.  |</a:t>
            </a:r>
          </a:p>
        </p:txBody>
      </p:sp>
      <p:pic>
        <p:nvPicPr>
          <p:cNvPr id="11" name="Oracle red badge logo" descr="Oracle logo in white on red staging background"/>
          <p:cNvPicPr>
            <a:picLocks noChangeAspect="1"/>
          </p:cNvPicPr>
          <p:nvPr userDrawn="1"/>
        </p:nvPicPr>
        <p:blipFill>
          <a:blip r:embed="rId4" cstate="print"/>
          <a:srcRect/>
          <a:stretch>
            <a:fillRect/>
          </a:stretch>
        </p:blipFill>
        <p:spPr bwMode="ltGray">
          <a:xfrm>
            <a:off x="531815" y="6264327"/>
            <a:ext cx="1622425" cy="593725"/>
          </a:xfrm>
          <a:prstGeom prst="rect">
            <a:avLst/>
          </a:prstGeom>
          <a:noFill/>
          <a:ln w="9525">
            <a:noFill/>
            <a:miter lim="800000"/>
            <a:headEnd/>
            <a:tailEnd/>
          </a:ln>
        </p:spPr>
      </p:pic>
      <p:sp>
        <p:nvSpPr>
          <p:cNvPr id="3" name="Title 2"/>
          <p:cNvSpPr>
            <a:spLocks noGrp="1"/>
          </p:cNvSpPr>
          <p:nvPr>
            <p:ph type="title"/>
          </p:nvPr>
        </p:nvSpPr>
        <p:spPr>
          <a:xfrm>
            <a:off x="760413" y="609600"/>
            <a:ext cx="4572000" cy="2044700"/>
          </a:xfrm>
        </p:spPr>
        <p:txBody>
          <a:bodyPr/>
          <a:lstStyle>
            <a:lvl1pPr>
              <a:defRPr sz="13800" b="1"/>
            </a:lvl1pPr>
          </a:lstStyle>
          <a:p>
            <a:r>
              <a:rPr lang="en-US" smtClean="0"/>
              <a:t>Click to edit Master title style</a:t>
            </a:r>
            <a:endParaRPr lang="en-US" dirty="0"/>
          </a:p>
        </p:txBody>
      </p:sp>
      <p:sp>
        <p:nvSpPr>
          <p:cNvPr id="22" name="Text Placeholder 12"/>
          <p:cNvSpPr>
            <a:spLocks noGrp="1"/>
          </p:cNvSpPr>
          <p:nvPr>
            <p:ph type="body" sz="quarter" idx="13"/>
          </p:nvPr>
        </p:nvSpPr>
        <p:spPr>
          <a:xfrm>
            <a:off x="760413" y="2666999"/>
            <a:ext cx="45720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12" name="Date Placeholder 4"/>
          <p:cNvSpPr>
            <a:spLocks noGrp="1"/>
          </p:cNvSpPr>
          <p:nvPr>
            <p:ph type="dt" sz="half" idx="14"/>
          </p:nvPr>
        </p:nvSpPr>
        <p:spPr/>
        <p:txBody>
          <a:bodyPr/>
          <a:lstStyle>
            <a:lvl1pPr>
              <a:defRPr>
                <a:solidFill>
                  <a:schemeClr val="bg1">
                    <a:lumMod val="60000"/>
                    <a:lumOff val="40000"/>
                  </a:schemeClr>
                </a:solidFill>
              </a:defRPr>
            </a:lvl1pPr>
          </a:lstStyle>
          <a:p>
            <a:pPr>
              <a:defRPr/>
            </a:pPr>
            <a:endParaRPr>
              <a:solidFill>
                <a:srgbClr val="5F5F5F">
                  <a:lumMod val="60000"/>
                  <a:lumOff val="40000"/>
                </a:srgbClr>
              </a:solidFill>
            </a:endParaRPr>
          </a:p>
        </p:txBody>
      </p:sp>
      <p:sp>
        <p:nvSpPr>
          <p:cNvPr id="13" name="Footer Placeholder 5"/>
          <p:cNvSpPr>
            <a:spLocks noGrp="1"/>
          </p:cNvSpPr>
          <p:nvPr>
            <p:ph type="ftr" sz="quarter" idx="15"/>
          </p:nvPr>
        </p:nvSpPr>
        <p:spPr/>
        <p:txBody>
          <a:bodyPr/>
          <a:lstStyle>
            <a:lvl1pPr>
              <a:defRPr>
                <a:solidFill>
                  <a:schemeClr val="bg1">
                    <a:lumMod val="60000"/>
                    <a:lumOff val="40000"/>
                  </a:schemeClr>
                </a:solidFill>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14" name="Slide Number Placeholder 6"/>
          <p:cNvSpPr>
            <a:spLocks noGrp="1"/>
          </p:cNvSpPr>
          <p:nvPr>
            <p:ph type="sldNum" sz="quarter" idx="16"/>
          </p:nvPr>
        </p:nvSpPr>
        <p:spPr/>
        <p:txBody>
          <a:bodyPr/>
          <a:lstStyle>
            <a:lvl1pPr>
              <a:defRPr>
                <a:solidFill>
                  <a:schemeClr val="bg1">
                    <a:lumMod val="60000"/>
                    <a:lumOff val="40000"/>
                  </a:schemeClr>
                </a:solidFill>
              </a:defRPr>
            </a:lvl1pPr>
          </a:lstStyle>
          <a:p>
            <a:pPr>
              <a:defRPr/>
            </a:pPr>
            <a:fld id="{4DE71123-A82C-4AF7-9DA3-90E59E8FCD7E}"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993092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TextBox 1"/>
          <p:cNvSpPr txBox="1"/>
          <p:nvPr/>
        </p:nvSpPr>
        <p:spPr>
          <a:xfrm>
            <a:off x="531848" y="1371600"/>
            <a:ext cx="11125199" cy="889000"/>
          </a:xfrm>
          <a:prstGeom prst="rect">
            <a:avLst/>
          </a:prstGeom>
          <a:noFill/>
        </p:spPr>
        <p:txBody>
          <a:bodyPr wrap="none" lIns="0" tIns="0" rIns="0" bIns="0" anchor="b"/>
          <a:lstStyle/>
          <a:p>
            <a:pPr defTabSz="914400">
              <a:lnSpc>
                <a:spcPct val="90000"/>
              </a:lnSpc>
              <a:defRPr/>
            </a:pPr>
            <a:r>
              <a:rPr sz="3200" dirty="0">
                <a:solidFill>
                  <a:srgbClr val="5F5F5F"/>
                </a:solidFill>
                <a:cs typeface="Arial" pitchFamily="34" charset="0"/>
              </a:rPr>
              <a:t>Safe Harbor Statement</a:t>
            </a:r>
          </a:p>
        </p:txBody>
      </p:sp>
      <p:sp>
        <p:nvSpPr>
          <p:cNvPr id="3" name="TextBox 2"/>
          <p:cNvSpPr txBox="1"/>
          <p:nvPr/>
        </p:nvSpPr>
        <p:spPr>
          <a:xfrm>
            <a:off x="531848" y="2514600"/>
            <a:ext cx="11125199" cy="2286000"/>
          </a:xfrm>
          <a:prstGeom prst="rect">
            <a:avLst/>
          </a:prstGeom>
          <a:noFill/>
        </p:spPr>
        <p:txBody>
          <a:bodyPr lIns="0" tIns="0" rIns="0" bIns="0"/>
          <a:lstStyle/>
          <a:p>
            <a:pPr defTabSz="914400">
              <a:lnSpc>
                <a:spcPct val="90000"/>
              </a:lnSpc>
              <a:defRPr/>
            </a:pPr>
            <a:r>
              <a:rPr sz="2400" dirty="0">
                <a:solidFill>
                  <a:srgbClr val="5F5F5F"/>
                </a:solidFill>
                <a:cs typeface="Arial" pitchFamily="34" charset="0"/>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
        <p:nvSpPr>
          <p:cNvPr id="4" name="Date Placeholder 1"/>
          <p:cNvSpPr>
            <a:spLocks noGrp="1"/>
          </p:cNvSpPr>
          <p:nvPr>
            <p:ph type="dt" sz="half" idx="10"/>
          </p:nvPr>
        </p:nvSpPr>
        <p:spPr/>
        <p:txBody>
          <a:bodyPr>
            <a:noAutofit/>
          </a:bodyPr>
          <a:lstStyle>
            <a:lvl1pPr>
              <a:defRPr/>
            </a:lvl1pPr>
          </a:lstStyle>
          <a:p>
            <a:pPr>
              <a:defRPr/>
            </a:pPr>
            <a:endParaRPr>
              <a:solidFill>
                <a:srgbClr val="5F5F5F">
                  <a:lumMod val="60000"/>
                  <a:lumOff val="40000"/>
                </a:srgbClr>
              </a:solidFill>
            </a:endParaRPr>
          </a:p>
        </p:txBody>
      </p:sp>
      <p:sp>
        <p:nvSpPr>
          <p:cNvPr id="5" name="Footer Placeholder 2"/>
          <p:cNvSpPr>
            <a:spLocks noGrp="1"/>
          </p:cNvSpPr>
          <p:nvPr>
            <p:ph type="ftr" sz="quarter" idx="11"/>
          </p:nvPr>
        </p:nvSpPr>
        <p:spPr/>
        <p:txBody>
          <a:bodyPr>
            <a:noAutofit/>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6" name="Slide Number Placeholder 3"/>
          <p:cNvSpPr>
            <a:spLocks noGrp="1"/>
          </p:cNvSpPr>
          <p:nvPr>
            <p:ph type="sldNum" sz="quarter" idx="12"/>
          </p:nvPr>
        </p:nvSpPr>
        <p:spPr/>
        <p:txBody>
          <a:bodyPr>
            <a:noAutofit/>
          </a:bodyPr>
          <a:lstStyle>
            <a:lvl1pPr>
              <a:defRPr/>
            </a:lvl1pPr>
          </a:lstStyle>
          <a:p>
            <a:pPr>
              <a:defRPr/>
            </a:pPr>
            <a:fld id="{D0C60F49-F1CF-4A5C-AE8D-4B3587D504C8}"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68889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TextBox 1"/>
          <p:cNvSpPr txBox="1"/>
          <p:nvPr/>
        </p:nvSpPr>
        <p:spPr>
          <a:xfrm>
            <a:off x="531848" y="1371600"/>
            <a:ext cx="11125199" cy="889000"/>
          </a:xfrm>
          <a:prstGeom prst="rect">
            <a:avLst/>
          </a:prstGeom>
          <a:noFill/>
        </p:spPr>
        <p:txBody>
          <a:bodyPr wrap="none" lIns="0" tIns="0" rIns="0" bIns="0" anchor="b"/>
          <a:lstStyle/>
          <a:p>
            <a:pPr defTabSz="914400">
              <a:lnSpc>
                <a:spcPct val="90000"/>
              </a:lnSpc>
              <a:defRPr/>
            </a:pPr>
            <a:r>
              <a:rPr sz="3200" dirty="0">
                <a:solidFill>
                  <a:srgbClr val="5F5F5F"/>
                </a:solidFill>
                <a:cs typeface="Arial" pitchFamily="34" charset="0"/>
              </a:rPr>
              <a:t>Safe Harbor Statement</a:t>
            </a:r>
          </a:p>
        </p:txBody>
      </p:sp>
      <p:sp>
        <p:nvSpPr>
          <p:cNvPr id="3" name="TextBox 2"/>
          <p:cNvSpPr txBox="1"/>
          <p:nvPr/>
        </p:nvSpPr>
        <p:spPr>
          <a:xfrm>
            <a:off x="531848" y="2514600"/>
            <a:ext cx="11125199" cy="2286000"/>
          </a:xfrm>
          <a:prstGeom prst="rect">
            <a:avLst/>
          </a:prstGeom>
          <a:noFill/>
        </p:spPr>
        <p:txBody>
          <a:bodyPr lIns="0" tIns="0" rIns="0" bIns="0"/>
          <a:lstStyle/>
          <a:p>
            <a:pPr defTabSz="914400">
              <a:lnSpc>
                <a:spcPct val="90000"/>
              </a:lnSpc>
              <a:defRPr/>
            </a:pPr>
            <a:r>
              <a:rPr sz="2400" dirty="0">
                <a:solidFill>
                  <a:srgbClr val="5F5F5F"/>
                </a:solidFill>
                <a:cs typeface="Arial" pitchFamily="34" charset="0"/>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
        <p:nvSpPr>
          <p:cNvPr id="4" name="Date Placeholder 1"/>
          <p:cNvSpPr>
            <a:spLocks noGrp="1"/>
          </p:cNvSpPr>
          <p:nvPr>
            <p:ph type="dt" sz="half" idx="10"/>
          </p:nvPr>
        </p:nvSpPr>
        <p:spPr/>
        <p:txBody>
          <a:bodyPr>
            <a:noAutofit/>
          </a:bodyPr>
          <a:lstStyle>
            <a:lvl1pPr>
              <a:defRPr/>
            </a:lvl1pPr>
          </a:lstStyle>
          <a:p>
            <a:pPr>
              <a:defRPr/>
            </a:pPr>
            <a:endParaRPr>
              <a:solidFill>
                <a:srgbClr val="5F5F5F">
                  <a:lumMod val="60000"/>
                  <a:lumOff val="40000"/>
                </a:srgbClr>
              </a:solidFill>
            </a:endParaRPr>
          </a:p>
        </p:txBody>
      </p:sp>
      <p:sp>
        <p:nvSpPr>
          <p:cNvPr id="5" name="Footer Placeholder 2"/>
          <p:cNvSpPr>
            <a:spLocks noGrp="1"/>
          </p:cNvSpPr>
          <p:nvPr>
            <p:ph type="ftr" sz="quarter" idx="11"/>
          </p:nvPr>
        </p:nvSpPr>
        <p:spPr/>
        <p:txBody>
          <a:bodyPr>
            <a:noAutofit/>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6" name="Slide Number Placeholder 3"/>
          <p:cNvSpPr>
            <a:spLocks noGrp="1"/>
          </p:cNvSpPr>
          <p:nvPr>
            <p:ph type="sldNum" sz="quarter" idx="12"/>
          </p:nvPr>
        </p:nvSpPr>
        <p:spPr/>
        <p:txBody>
          <a:bodyPr>
            <a:noAutofit/>
          </a:bodyPr>
          <a:lstStyle>
            <a:lvl1pPr>
              <a:defRPr/>
            </a:lvl1pPr>
          </a:lstStyle>
          <a:p>
            <a:pPr>
              <a:defRPr/>
            </a:pPr>
            <a:fld id="{8820330F-9E00-44BA-AEB6-7F02BFF6D911}"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60907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2" name="Picture 13" descr="&quot;Hardware and Software Engineered to work together&quot; tagline in red and black"/>
          <p:cNvPicPr>
            <a:picLocks noChangeAspect="1"/>
          </p:cNvPicPr>
          <p:nvPr userDrawn="1"/>
        </p:nvPicPr>
        <p:blipFill>
          <a:blip r:embed="rId2" cstate="print"/>
          <a:srcRect/>
          <a:stretch>
            <a:fillRect/>
          </a:stretch>
        </p:blipFill>
        <p:spPr bwMode="auto">
          <a:xfrm>
            <a:off x="2821022" y="2312988"/>
            <a:ext cx="6546851" cy="1833562"/>
          </a:xfrm>
          <a:prstGeom prst="rect">
            <a:avLst/>
          </a:prstGeom>
          <a:noFill/>
          <a:ln w="9525">
            <a:noFill/>
            <a:miter lim="800000"/>
            <a:headEnd/>
            <a:tailEnd/>
          </a:ln>
        </p:spPr>
      </p:pic>
      <p:sp>
        <p:nvSpPr>
          <p:cNvPr id="3" name="Date Placeholder 1"/>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4" name="Footer Placeholder 2"/>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5" name="Slide Number Placeholder 3"/>
          <p:cNvSpPr>
            <a:spLocks noGrp="1"/>
          </p:cNvSpPr>
          <p:nvPr>
            <p:ph type="sldNum" sz="quarter" idx="12"/>
          </p:nvPr>
        </p:nvSpPr>
        <p:spPr/>
        <p:txBody>
          <a:bodyPr/>
          <a:lstStyle>
            <a:lvl1pPr>
              <a:defRPr/>
            </a:lvl1pPr>
          </a:lstStyle>
          <a:p>
            <a:pPr>
              <a:defRPr/>
            </a:pPr>
            <a:fld id="{E6178EAB-44B6-4886-A6B4-9A992E58D369}"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80423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3" descr="Oracle logo in white on red staging background. Light blue frame around perimeter."/>
          <p:cNvPicPr>
            <a:picLocks noChangeAspect="1"/>
          </p:cNvPicPr>
          <p:nvPr/>
        </p:nvPicPr>
        <p:blipFill>
          <a:blip r:embed="rId2" cstate="print"/>
          <a:srcRect/>
          <a:stretch>
            <a:fillRect/>
          </a:stretch>
        </p:blipFill>
        <p:spPr bwMode="hidden">
          <a:xfrm>
            <a:off x="138115" y="130175"/>
            <a:ext cx="11912600" cy="6546850"/>
          </a:xfrm>
          <a:prstGeom prst="rect">
            <a:avLst/>
          </a:prstGeom>
          <a:noFill/>
          <a:ln w="9525">
            <a:noFill/>
            <a:miter lim="800000"/>
            <a:headEnd/>
            <a:tailEnd/>
          </a:ln>
        </p:spPr>
      </p:pic>
      <p:grpSp>
        <p:nvGrpSpPr>
          <p:cNvPr id="3" name="Group 15"/>
          <p:cNvGrpSpPr>
            <a:grpSpLocks/>
          </p:cNvGrpSpPr>
          <p:nvPr userDrawn="1"/>
        </p:nvGrpSpPr>
        <p:grpSpPr bwMode="auto">
          <a:xfrm>
            <a:off x="0" y="0"/>
            <a:ext cx="12188825" cy="6858000"/>
            <a:chOff x="-287" y="0"/>
            <a:chExt cx="12189399" cy="6858000"/>
          </a:xfrm>
        </p:grpSpPr>
        <p:sp>
          <p:nvSpPr>
            <p:cNvPr id="4" name="Rectangle 3"/>
            <p:cNvSpPr/>
            <p:nvPr/>
          </p:nvSpPr>
          <p:spPr bwMode="gray">
            <a:xfrm>
              <a:off x="-287" y="0"/>
              <a:ext cx="193684" cy="68516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5" name="Rectangle 4"/>
            <p:cNvSpPr/>
            <p:nvPr/>
          </p:nvSpPr>
          <p:spPr bwMode="gray">
            <a:xfrm>
              <a:off x="11995428" y="6350"/>
              <a:ext cx="193684" cy="68516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6" name="Rectangle 5"/>
            <p:cNvSpPr/>
            <p:nvPr/>
          </p:nvSpPr>
          <p:spPr bwMode="gray">
            <a:xfrm>
              <a:off x="-287" y="6400800"/>
              <a:ext cx="12189399"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7" name="Rectangle 6"/>
            <p:cNvSpPr/>
            <p:nvPr/>
          </p:nvSpPr>
          <p:spPr bwMode="gray">
            <a:xfrm>
              <a:off x="-287" y="0"/>
              <a:ext cx="12189399" cy="19208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grpSp>
      <p:pic>
        <p:nvPicPr>
          <p:cNvPr id="8" name="Picture 21"/>
          <p:cNvPicPr>
            <a:picLocks noChangeAspect="1"/>
          </p:cNvPicPr>
          <p:nvPr userDrawn="1"/>
        </p:nvPicPr>
        <p:blipFill>
          <a:blip r:embed="rId3" cstate="print"/>
          <a:srcRect/>
          <a:stretch>
            <a:fillRect/>
          </a:stretch>
        </p:blipFill>
        <p:spPr bwMode="black">
          <a:xfrm>
            <a:off x="3822700" y="2843213"/>
            <a:ext cx="4543425" cy="569912"/>
          </a:xfrm>
          <a:prstGeom prst="rect">
            <a:avLst/>
          </a:prstGeom>
          <a:noFill/>
          <a:ln w="9525">
            <a:noFill/>
            <a:miter lim="800000"/>
            <a:headEnd/>
            <a:tailEnd/>
          </a:ln>
        </p:spPr>
      </p:pic>
    </p:spTree>
    <p:extLst>
      <p:ext uri="{BB962C8B-B14F-4D97-AF65-F5344CB8AC3E}">
        <p14:creationId xmlns:p14="http://schemas.microsoft.com/office/powerpoint/2010/main" val="209416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4" y="1524001"/>
            <a:ext cx="11126522" cy="4419600"/>
          </a:xfrm>
        </p:spPr>
        <p:txBody>
          <a:bodyPr vert="eaVert">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noAutofit/>
          </a:bodyPr>
          <a:lstStyle>
            <a:lvl1pPr>
              <a:defRPr/>
            </a:lvl1pPr>
          </a:lstStyle>
          <a:p>
            <a:pPr>
              <a:defRPr/>
            </a:pPr>
            <a:endParaRPr lang="en-US">
              <a:solidFill>
                <a:srgbClr val="5F5F5F">
                  <a:lumMod val="60000"/>
                  <a:lumOff val="40000"/>
                </a:srgbClr>
              </a:solidFill>
            </a:endParaRPr>
          </a:p>
        </p:txBody>
      </p:sp>
      <p:sp>
        <p:nvSpPr>
          <p:cNvPr id="5" name="Footer Placeholder 4"/>
          <p:cNvSpPr>
            <a:spLocks noGrp="1"/>
          </p:cNvSpPr>
          <p:nvPr>
            <p:ph type="ftr" sz="quarter" idx="11"/>
          </p:nvPr>
        </p:nvSpPr>
        <p:spPr/>
        <p:txBody>
          <a:bodyPr>
            <a:noAutofit/>
          </a:bodyPr>
          <a:lstStyle>
            <a:lvl1pPr>
              <a:defRPr/>
            </a:lvl1pPr>
          </a:lstStyle>
          <a:p>
            <a:pPr>
              <a:defRPr/>
            </a:pPr>
            <a:r>
              <a:rPr lang="en-US">
                <a:solidFill>
                  <a:srgbClr val="5F5F5F">
                    <a:lumMod val="60000"/>
                    <a:lumOff val="40000"/>
                  </a:srgbClr>
                </a:solidFill>
              </a:rPr>
              <a:t>Oracle Confidential</a:t>
            </a:r>
          </a:p>
        </p:txBody>
      </p:sp>
      <p:sp>
        <p:nvSpPr>
          <p:cNvPr id="6" name="Slide Number Placeholder 5"/>
          <p:cNvSpPr>
            <a:spLocks noGrp="1"/>
          </p:cNvSpPr>
          <p:nvPr>
            <p:ph type="sldNum" sz="quarter" idx="12"/>
          </p:nvPr>
        </p:nvSpPr>
        <p:spPr/>
        <p:txBody>
          <a:bodyPr>
            <a:noAutofit/>
          </a:bodyPr>
          <a:lstStyle>
            <a:lvl1pPr>
              <a:defRPr/>
            </a:lvl1pPr>
          </a:lstStyle>
          <a:p>
            <a:pPr>
              <a:defRPr/>
            </a:pPr>
            <a:fld id="{795DD1ED-57E7-4024-AF80-99B2EC0CEF0E}" type="slidenum">
              <a:rPr lang="en-US">
                <a:solidFill>
                  <a:srgbClr val="5F5F5F">
                    <a:lumMod val="60000"/>
                    <a:lumOff val="40000"/>
                  </a:srgbClr>
                </a:solidFill>
              </a:rPr>
              <a:pPr>
                <a:defRPr/>
              </a:pPr>
              <a:t>‹#›</a:t>
            </a:fld>
            <a:endParaRPr lang="en-US" dirty="0">
              <a:solidFill>
                <a:srgbClr val="5F5F5F">
                  <a:lumMod val="60000"/>
                  <a:lumOff val="40000"/>
                </a:srgbClr>
              </a:solidFill>
            </a:endParaRPr>
          </a:p>
        </p:txBody>
      </p:sp>
    </p:spTree>
    <p:extLst>
      <p:ext uri="{BB962C8B-B14F-4D97-AF65-F5344CB8AC3E}">
        <p14:creationId xmlns:p14="http://schemas.microsoft.com/office/powerpoint/2010/main" val="88476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lvl1pPr>
              <a:defRPr/>
            </a:lvl1pPr>
          </a:lstStyle>
          <a:p>
            <a:pPr>
              <a:defRPr/>
            </a:pPr>
            <a:endParaRPr>
              <a:solidFill>
                <a:srgbClr val="5F5F5F">
                  <a:lumMod val="60000"/>
                  <a:lumOff val="40000"/>
                </a:srgbClr>
              </a:solidFill>
            </a:endParaRPr>
          </a:p>
        </p:txBody>
      </p:sp>
      <p:sp>
        <p:nvSpPr>
          <p:cNvPr id="5" name="Footer Placeholder 4"/>
          <p:cNvSpPr>
            <a:spLocks noGrp="1"/>
          </p:cNvSpPr>
          <p:nvPr>
            <p:ph type="ftr" sz="quarter" idx="11"/>
          </p:nvPr>
        </p:nvSpPr>
        <p:spPr/>
        <p:txBody>
          <a:bodyPr/>
          <a:lstStyle>
            <a:lvl1pPr>
              <a:defRPr/>
            </a:lvl1pPr>
          </a:lstStyle>
          <a:p>
            <a:pPr>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18DD32F4-EA10-4BD3-99A8-450A054BE87A}" type="slidenum">
              <a:rPr>
                <a:solidFill>
                  <a:srgbClr val="5F5F5F">
                    <a:lumMod val="60000"/>
                    <a:lumOff val="40000"/>
                  </a:srgbClr>
                </a:solidFill>
              </a:rPr>
              <a:pPr>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58087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1070070" y="2095793"/>
            <a:ext cx="6277102" cy="1467631"/>
          </a:xfrm>
        </p:spPr>
        <p:txBody>
          <a:bodyPr anchor="t" anchorCtr="0"/>
          <a:lstStyle>
            <a:lvl1pPr>
              <a:defRPr sz="3700" b="1">
                <a:ln w="0">
                  <a:noFill/>
                </a:ln>
                <a:solidFill>
                  <a:schemeClr val="tx1"/>
                </a:solidFill>
                <a:effectLst/>
              </a:defRPr>
            </a:lvl1pPr>
          </a:lstStyle>
          <a:p>
            <a:r>
              <a:rPr lang="en-US" dirty="0" smtClean="0"/>
              <a:t>Click to edit text </a:t>
            </a:r>
            <a:endParaRPr lang="en-US" dirty="0"/>
          </a:p>
        </p:txBody>
      </p:sp>
      <p:sp>
        <p:nvSpPr>
          <p:cNvPr id="12" name="Rectangle 11"/>
          <p:cNvSpPr/>
          <p:nvPr userDrawn="1"/>
        </p:nvSpPr>
        <p:spPr>
          <a:xfrm>
            <a:off x="7618017" y="2"/>
            <a:ext cx="4570809" cy="6175023"/>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grpSp>
        <p:nvGrpSpPr>
          <p:cNvPr id="2" name="Group 5"/>
          <p:cNvGrpSpPr/>
          <p:nvPr userDrawn="1"/>
        </p:nvGrpSpPr>
        <p:grpSpPr>
          <a:xfrm>
            <a:off x="0" y="6172202"/>
            <a:ext cx="12188825" cy="224367"/>
            <a:chOff x="0" y="4629150"/>
            <a:chExt cx="9144000" cy="168275"/>
          </a:xfrm>
        </p:grpSpPr>
        <p:pic>
          <p:nvPicPr>
            <p:cNvPr id="7" name="Picture 25" descr="Red Ba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Tree>
    <p:extLst>
      <p:ext uri="{BB962C8B-B14F-4D97-AF65-F5344CB8AC3E}">
        <p14:creationId xmlns:p14="http://schemas.microsoft.com/office/powerpoint/2010/main" val="3934557536"/>
      </p:ext>
    </p:extLst>
  </p:cSld>
  <p:clrMapOvr>
    <a:masterClrMapping/>
  </p:clrMapOvr>
  <p:transition spd="med">
    <p:fade/>
  </p:transition>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F58637A1-2757-41E8-AD98-43E9D0558D9A}" type="datetime1">
              <a:rPr lang="en-US" smtClean="0"/>
              <a:pPr/>
              <a:t>11/10/2016</a:t>
            </a:fld>
            <a:endParaRPr lang="en-US" dirty="0"/>
          </a:p>
        </p:txBody>
      </p:sp>
      <p:sp>
        <p:nvSpPr>
          <p:cNvPr id="8" name="Footer Placeholder 7"/>
          <p:cNvSpPr>
            <a:spLocks noGrp="1"/>
          </p:cNvSpPr>
          <p:nvPr>
            <p:ph type="ftr" sz="quarter" idx="15"/>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cs typeface="Arial" pitchFamily="34" charset="0"/>
              </a:rPr>
              <a:t>Oracle Confidential – Internal/Restricted/Highly Restricted</a:t>
            </a:r>
            <a:endParaRPr lang="en-US" sz="1800" dirty="0">
              <a:cs typeface="Arial" pitchFamily="34" charset="0"/>
            </a:endParaRP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cs typeface="Arial" pitchFamily="34" charset="0"/>
              </a:rPr>
              <a:t>Copyright © </a:t>
            </a:r>
            <a:r>
              <a:rPr sz="850" dirty="0" smtClean="0">
                <a:solidFill>
                  <a:srgbClr val="5F5F5F"/>
                </a:solidFill>
                <a:cs typeface="Arial" pitchFamily="34" charset="0"/>
              </a:rPr>
              <a:t>201</a:t>
            </a:r>
            <a:r>
              <a:rPr lang="en-US" sz="850" dirty="0" smtClean="0">
                <a:solidFill>
                  <a:srgbClr val="5F5F5F"/>
                </a:solidFill>
                <a:cs typeface="Arial" pitchFamily="34" charset="0"/>
              </a:rPr>
              <a:t>5,</a:t>
            </a:r>
            <a:r>
              <a:rPr sz="850" dirty="0" smtClean="0">
                <a:solidFill>
                  <a:srgbClr val="5F5F5F"/>
                </a:solidFill>
                <a:cs typeface="Arial" pitchFamily="34" charset="0"/>
              </a:rPr>
              <a:t> </a:t>
            </a:r>
            <a:r>
              <a:rPr sz="850" dirty="0">
                <a:solidFill>
                  <a:srgbClr val="5F5F5F"/>
                </a:solidFill>
                <a:cs typeface="Arial" pitchFamily="34" charset="0"/>
              </a:rPr>
              <a:t>Oracle and/or its affiliates. All rights reserved.  </a:t>
            </a:r>
            <a:r>
              <a:rPr sz="850" dirty="0" smtClean="0">
                <a:solidFill>
                  <a:srgbClr val="5F5F5F"/>
                </a:solidFill>
                <a:cs typeface="Arial" pitchFamily="34" charset="0"/>
              </a:rPr>
              <a:t>|</a:t>
            </a:r>
            <a:endParaRPr sz="850" dirty="0">
              <a:solidFill>
                <a:srgbClr val="5F5F5F"/>
              </a:solidFill>
              <a:cs typeface="Arial" pitchFamily="34" charset="0"/>
            </a:endParaRPr>
          </a:p>
        </p:txBody>
      </p:sp>
      <p:pic>
        <p:nvPicPr>
          <p:cNvPr id="9" name="Picture 8"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01247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8DA0FC38-0FA5-4886-ABB4-D52548B1A4EE}" type="datetime1">
              <a:rPr lang="en-US" smtClean="0"/>
              <a:pPr/>
              <a:t>11/10/2016</a:t>
            </a:fld>
            <a:endParaRPr lang="en-US" dirty="0"/>
          </a:p>
        </p:txBody>
      </p:sp>
      <p:sp>
        <p:nvSpPr>
          <p:cNvPr id="8" name="Footer Placeholder 7"/>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cs typeface="Arial" pitchFamily="34" charset="0"/>
              </a:rPr>
              <a:t>Oracle Confidential – Internal/Restricted/Highly Restricted</a:t>
            </a:r>
            <a:endParaRPr lang="en-US" sz="1800" dirty="0">
              <a:cs typeface="Arial" pitchFamily="34" charset="0"/>
            </a:endParaRPr>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cs typeface="Arial" pitchFamily="34" charset="0"/>
              </a:rPr>
              <a:t>Copyright © </a:t>
            </a:r>
            <a:r>
              <a:rPr sz="850" dirty="0" smtClean="0">
                <a:solidFill>
                  <a:srgbClr val="5F5F5F"/>
                </a:solidFill>
                <a:cs typeface="Arial" pitchFamily="34" charset="0"/>
              </a:rPr>
              <a:t>201</a:t>
            </a:r>
            <a:r>
              <a:rPr lang="en-US" sz="850" dirty="0" smtClean="0">
                <a:solidFill>
                  <a:srgbClr val="5F5F5F"/>
                </a:solidFill>
                <a:cs typeface="Arial" pitchFamily="34" charset="0"/>
              </a:rPr>
              <a:t>5,</a:t>
            </a:r>
            <a:r>
              <a:rPr sz="850" dirty="0" smtClean="0">
                <a:solidFill>
                  <a:srgbClr val="5F5F5F"/>
                </a:solidFill>
                <a:cs typeface="Arial" pitchFamily="34" charset="0"/>
              </a:rPr>
              <a:t> </a:t>
            </a:r>
            <a:r>
              <a:rPr sz="850" dirty="0">
                <a:solidFill>
                  <a:srgbClr val="5F5F5F"/>
                </a:solidFill>
                <a:cs typeface="Arial" pitchFamily="34" charset="0"/>
              </a:rPr>
              <a:t>Oracle and/or its affiliates. All rights reserved.  </a:t>
            </a:r>
            <a:r>
              <a:rPr sz="850" dirty="0" smtClean="0">
                <a:solidFill>
                  <a:srgbClr val="5F5F5F"/>
                </a:solidFill>
                <a:cs typeface="Arial" pitchFamily="34" charset="0"/>
              </a:rPr>
              <a:t>|</a:t>
            </a:r>
            <a:endParaRPr sz="850" dirty="0">
              <a:solidFill>
                <a:srgbClr val="5F5F5F"/>
              </a:solidFill>
              <a:cs typeface="Arial" pitchFamily="34" charset="0"/>
            </a:endParaRPr>
          </a:p>
        </p:txBody>
      </p:sp>
      <p:pic>
        <p:nvPicPr>
          <p:cNvPr id="10" name="Picture 9"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28850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title="Title Slide with Pictu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4C505D5A-B256-44E1-AC96-C2C7474C5D8D}"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cs typeface="Arial" pitchFamily="34" charset="0"/>
              </a:rPr>
              <a:t>Oracle Confidential – Internal/Restricted/Highly Restricted</a:t>
            </a:r>
            <a:endParaRPr lang="en-US" sz="1800" dirty="0">
              <a:solidFill>
                <a:srgbClr val="FFFFFF"/>
              </a:solidFill>
              <a:cs typeface="Arial" pitchFamily="34" charset="0"/>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cs typeface="Arial" pitchFamily="34" charset="0"/>
              </a:rPr>
              <a:t>Copyright © </a:t>
            </a:r>
            <a:r>
              <a:rPr sz="850" dirty="0" smtClean="0">
                <a:solidFill>
                  <a:srgbClr val="FFFFFF"/>
                </a:solidFill>
                <a:cs typeface="Arial" pitchFamily="34" charset="0"/>
              </a:rPr>
              <a:t>201</a:t>
            </a:r>
            <a:r>
              <a:rPr lang="en-US" sz="850" dirty="0" smtClean="0">
                <a:solidFill>
                  <a:srgbClr val="FFFFFF"/>
                </a:solidFill>
                <a:cs typeface="Arial" pitchFamily="34" charset="0"/>
              </a:rPr>
              <a:t>5,</a:t>
            </a:r>
            <a:r>
              <a:rPr sz="850" dirty="0" smtClean="0">
                <a:solidFill>
                  <a:srgbClr val="FFFFFF"/>
                </a:solidFill>
                <a:cs typeface="Arial" pitchFamily="34" charset="0"/>
              </a:rPr>
              <a:t> </a:t>
            </a:r>
            <a:r>
              <a:rPr sz="850" dirty="0">
                <a:solidFill>
                  <a:srgbClr val="FFFFFF"/>
                </a:solidFill>
                <a:cs typeface="Arial" pitchFamily="34" charset="0"/>
              </a:rPr>
              <a:t>Oracle and/or its affiliates. All rights reserved.  </a:t>
            </a:r>
            <a:r>
              <a:rPr sz="850" dirty="0" smtClean="0">
                <a:solidFill>
                  <a:srgbClr val="FFFFFF"/>
                </a:solidFill>
                <a:cs typeface="Arial" pitchFamily="34" charset="0"/>
              </a:rPr>
              <a:t>|</a:t>
            </a:r>
            <a:endParaRPr sz="850" dirty="0">
              <a:solidFill>
                <a:srgbClr val="FFFFFF"/>
              </a:solidFill>
              <a:cs typeface="Arial" pitchFamily="34" charset="0"/>
            </a:endParaRPr>
          </a:p>
        </p:txBody>
      </p:sp>
      <p:pic>
        <p:nvPicPr>
          <p:cNvPr id="11" name="Picture 10"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525200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B3EEE87-DDB3-4675-99CC-7EF64D192D2F}"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cs typeface="Arial" pitchFamily="34" charset="0"/>
              </a:rPr>
              <a:t>Oracle Confidential – Internal/Restricted/Highly Restricted</a:t>
            </a:r>
            <a:endParaRPr lang="en-US" sz="1800" dirty="0">
              <a:solidFill>
                <a:srgbClr val="FFFFFF"/>
              </a:solidFill>
              <a:cs typeface="Arial" pitchFamily="34" charset="0"/>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cs typeface="Arial" pitchFamily="34" charset="0"/>
              </a:rPr>
              <a:t>Copyright © </a:t>
            </a:r>
            <a:r>
              <a:rPr sz="850" dirty="0" smtClean="0">
                <a:solidFill>
                  <a:srgbClr val="FFFFFF"/>
                </a:solidFill>
                <a:cs typeface="Arial" pitchFamily="34" charset="0"/>
              </a:rPr>
              <a:t>201</a:t>
            </a:r>
            <a:r>
              <a:rPr lang="en-US" sz="850" dirty="0" smtClean="0">
                <a:solidFill>
                  <a:srgbClr val="FFFFFF"/>
                </a:solidFill>
                <a:cs typeface="Arial" pitchFamily="34" charset="0"/>
              </a:rPr>
              <a:t>5,</a:t>
            </a:r>
            <a:r>
              <a:rPr sz="850" dirty="0" smtClean="0">
                <a:solidFill>
                  <a:srgbClr val="FFFFFF"/>
                </a:solidFill>
                <a:cs typeface="Arial" pitchFamily="34" charset="0"/>
              </a:rPr>
              <a:t> </a:t>
            </a:r>
            <a:r>
              <a:rPr sz="850" dirty="0">
                <a:solidFill>
                  <a:srgbClr val="FFFFFF"/>
                </a:solidFill>
                <a:cs typeface="Arial" pitchFamily="34" charset="0"/>
              </a:rPr>
              <a:t>Oracle and/or its affiliates. All rights reserved.  </a:t>
            </a:r>
            <a:r>
              <a:rPr sz="850" dirty="0" smtClean="0">
                <a:solidFill>
                  <a:srgbClr val="FFFFFF"/>
                </a:solidFill>
                <a:cs typeface="Arial" pitchFamily="34" charset="0"/>
              </a:rPr>
              <a:t>|</a:t>
            </a:r>
            <a:endParaRPr sz="850" dirty="0">
              <a:solidFill>
                <a:srgbClr val="FFFFFF"/>
              </a:solidFill>
              <a:cs typeface="Arial" pitchFamily="34" charset="0"/>
            </a:endParaRPr>
          </a:p>
        </p:txBody>
      </p:sp>
      <p:pic>
        <p:nvPicPr>
          <p:cNvPr id="15" name="Picture 14"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598949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73022D7-D716-4AF5-B755-D22F080AC54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cs typeface="Arial" pitchFamily="34" charset="0"/>
              </a:rPr>
              <a:t>Oracle Confidential – Internal/Restricted/Highly Restricted</a:t>
            </a:r>
            <a:endParaRPr lang="en-US" sz="1800" dirty="0">
              <a:solidFill>
                <a:srgbClr val="FFFFFF"/>
              </a:solidFill>
              <a:cs typeface="Arial" pitchFamily="34" charset="0"/>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cs typeface="Arial" pitchFamily="34" charset="0"/>
              </a:rPr>
              <a:t>Copyright © </a:t>
            </a:r>
            <a:r>
              <a:rPr sz="850" dirty="0" smtClean="0">
                <a:solidFill>
                  <a:srgbClr val="FFFFFF"/>
                </a:solidFill>
                <a:cs typeface="Arial" pitchFamily="34" charset="0"/>
              </a:rPr>
              <a:t>201</a:t>
            </a:r>
            <a:r>
              <a:rPr lang="en-US" sz="850" dirty="0" smtClean="0">
                <a:solidFill>
                  <a:srgbClr val="FFFFFF"/>
                </a:solidFill>
                <a:cs typeface="Arial" pitchFamily="34" charset="0"/>
              </a:rPr>
              <a:t>5,</a:t>
            </a:r>
            <a:r>
              <a:rPr sz="850" dirty="0" smtClean="0">
                <a:solidFill>
                  <a:srgbClr val="FFFFFF"/>
                </a:solidFill>
                <a:cs typeface="Arial" pitchFamily="34" charset="0"/>
              </a:rPr>
              <a:t> </a:t>
            </a:r>
            <a:r>
              <a:rPr sz="850" dirty="0">
                <a:solidFill>
                  <a:srgbClr val="FFFFFF"/>
                </a:solidFill>
                <a:cs typeface="Arial" pitchFamily="34" charset="0"/>
              </a:rPr>
              <a:t>Oracle and/or its affiliates. All rights reserved.  </a:t>
            </a:r>
            <a:r>
              <a:rPr sz="850" dirty="0" smtClean="0">
                <a:solidFill>
                  <a:srgbClr val="FFFFFF"/>
                </a:solidFill>
                <a:cs typeface="Arial" pitchFamily="34" charset="0"/>
              </a:rPr>
              <a:t>|</a:t>
            </a:r>
            <a:endParaRPr sz="850" dirty="0">
              <a:solidFill>
                <a:srgbClr val="FFFFFF"/>
              </a:solidFill>
              <a:cs typeface="Arial" pitchFamily="34" charset="0"/>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015847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4B0713F-DA50-44B8-8328-CFEF845F652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14588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7CD2E52-83C8-44FA-88AD-FB45DDFBF65F}"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31014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B2EC637-D865-4A1A-B82E-96829CE6097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82957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FC69AA-31D1-4BE3-A7F9-4499E9495C0A}"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16082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title="Section Header with Pictu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p:grpSpPr>
        <p:sp>
          <p:nvSpPr>
            <p:cNvPr id="9" name="Rectangle 8"/>
            <p:cNvSpPr/>
            <p:nvPr/>
          </p:nvSpPr>
          <p:spPr bwMode="gray">
            <a:xfrm>
              <a:off x="-287" y="0"/>
              <a:ext cx="193962"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28D98802-C4BE-44EF-A775-109B41689843}" type="datetime1">
              <a:rPr lang="en-US" smtClean="0"/>
              <a:pPr/>
              <a:t>11/10/2016</a:t>
            </a:fld>
            <a:endParaRPr lang="en-US" dirty="0"/>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cs typeface="Arial" pitchFamily="34" charset="0"/>
              </a:rPr>
              <a:t>Oracle Confidential – Internal/Restricted/Highly Restricted</a:t>
            </a:r>
            <a:endParaRPr lang="en-US" sz="1800" dirty="0">
              <a:cs typeface="Arial" pitchFamily="34" charset="0"/>
            </a:endParaRPr>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cs typeface="Arial" pitchFamily="34" charset="0"/>
              </a:rPr>
              <a:t>Copyright © </a:t>
            </a:r>
            <a:r>
              <a:rPr sz="850" dirty="0" smtClean="0">
                <a:solidFill>
                  <a:srgbClr val="5F5F5F"/>
                </a:solidFill>
                <a:cs typeface="Arial" pitchFamily="34" charset="0"/>
              </a:rPr>
              <a:t>201</a:t>
            </a:r>
            <a:r>
              <a:rPr lang="en-US" sz="850" dirty="0" smtClean="0">
                <a:solidFill>
                  <a:srgbClr val="5F5F5F"/>
                </a:solidFill>
                <a:cs typeface="Arial" pitchFamily="34" charset="0"/>
              </a:rPr>
              <a:t>5,</a:t>
            </a:r>
            <a:r>
              <a:rPr sz="850" dirty="0" smtClean="0">
                <a:solidFill>
                  <a:srgbClr val="5F5F5F"/>
                </a:solidFill>
                <a:cs typeface="Arial" pitchFamily="34" charset="0"/>
              </a:rPr>
              <a:t> </a:t>
            </a:r>
            <a:r>
              <a:rPr sz="850" dirty="0">
                <a:solidFill>
                  <a:srgbClr val="5F5F5F"/>
                </a:solidFill>
                <a:cs typeface="Arial" pitchFamily="34" charset="0"/>
              </a:rPr>
              <a:t>Oracle and/or its affiliates. All rights reserved.  </a:t>
            </a:r>
            <a:r>
              <a:rPr sz="850" dirty="0" smtClean="0">
                <a:solidFill>
                  <a:srgbClr val="5F5F5F"/>
                </a:solidFill>
                <a:cs typeface="Arial" pitchFamily="34" charset="0"/>
              </a:rPr>
              <a:t>|</a:t>
            </a:r>
            <a:endParaRPr sz="850" dirty="0">
              <a:solidFill>
                <a:srgbClr val="5F5F5F"/>
              </a:solidFill>
              <a:cs typeface="Arial" pitchFamily="34" charset="0"/>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978123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16" name="Rectangle 15"/>
          <p:cNvSpPr/>
          <p:nvPr userDrawn="1"/>
        </p:nvSpPr>
        <p:spPr>
          <a:xfrm>
            <a:off x="7618017" y="2"/>
            <a:ext cx="4570809" cy="6175023"/>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
        <p:nvSpPr>
          <p:cNvPr id="11" name="Title 1"/>
          <p:cNvSpPr>
            <a:spLocks noGrp="1"/>
          </p:cNvSpPr>
          <p:nvPr>
            <p:ph type="title" hasCustomPrompt="1"/>
          </p:nvPr>
        </p:nvSpPr>
        <p:spPr>
          <a:xfrm>
            <a:off x="1070069" y="2095793"/>
            <a:ext cx="6277085" cy="1467631"/>
          </a:xfrm>
        </p:spPr>
        <p:txBody>
          <a:bodyPr anchor="t" anchorCtr="0"/>
          <a:lstStyle>
            <a:lvl1pPr algn="l" defTabSz="1218936" rtl="0" eaLnBrk="1" latinLnBrk="0" hangingPunct="1">
              <a:lnSpc>
                <a:spcPct val="90000"/>
              </a:lnSpc>
              <a:spcBef>
                <a:spcPct val="0"/>
              </a:spcBef>
              <a:buNone/>
              <a:defRPr lang="en-US" sz="3700" b="1" kern="1200" dirty="0">
                <a:ln w="0">
                  <a:noFill/>
                </a:ln>
                <a:solidFill>
                  <a:schemeClr val="tx1"/>
                </a:solidFill>
                <a:effectLst/>
                <a:latin typeface="Arial" pitchFamily="34" charset="0"/>
                <a:ea typeface="+mj-ea"/>
                <a:cs typeface="Arial" pitchFamily="34" charset="0"/>
              </a:defRPr>
            </a:lvl1pPr>
          </a:lstStyle>
          <a:p>
            <a:r>
              <a:rPr lang="en-US" dirty="0" smtClean="0"/>
              <a:t>Click to edit text </a:t>
            </a:r>
            <a:endParaRPr lang="en-US" dirty="0"/>
          </a:p>
        </p:txBody>
      </p:sp>
      <p:sp>
        <p:nvSpPr>
          <p:cNvPr id="10" name="Picture Placeholder 11"/>
          <p:cNvSpPr>
            <a:spLocks noGrp="1"/>
          </p:cNvSpPr>
          <p:nvPr>
            <p:ph type="pic" sz="quarter" idx="12" hasCustomPrompt="1"/>
          </p:nvPr>
        </p:nvSpPr>
        <p:spPr>
          <a:xfrm>
            <a:off x="7618017" y="-2823"/>
            <a:ext cx="4570809" cy="6172200"/>
          </a:xfrm>
          <a:ln>
            <a:noFill/>
          </a:ln>
          <a:effectLst/>
        </p:spPr>
        <p:txBody>
          <a:bodyPr anchor="ctr" anchorCtr="0"/>
          <a:lstStyle>
            <a:lvl1pPr marL="0" indent="0" algn="ctr">
              <a:buNone/>
              <a:defRPr>
                <a:ln>
                  <a:noFill/>
                </a:ln>
                <a:solidFill>
                  <a:schemeClr val="tx2"/>
                </a:solidFill>
              </a:defRPr>
            </a:lvl1pPr>
          </a:lstStyle>
          <a:p>
            <a:r>
              <a:rPr lang="en-US" dirty="0" smtClean="0"/>
              <a:t>Insert Picture Here</a:t>
            </a:r>
            <a:endParaRPr lang="en-US" dirty="0"/>
          </a:p>
        </p:txBody>
      </p:sp>
      <p:grpSp>
        <p:nvGrpSpPr>
          <p:cNvPr id="2" name="Group 5"/>
          <p:cNvGrpSpPr/>
          <p:nvPr userDrawn="1"/>
        </p:nvGrpSpPr>
        <p:grpSpPr>
          <a:xfrm>
            <a:off x="0" y="6172202"/>
            <a:ext cx="12188825" cy="224367"/>
            <a:chOff x="0" y="4629150"/>
            <a:chExt cx="9144000" cy="168275"/>
          </a:xfrm>
        </p:grpSpPr>
        <p:pic>
          <p:nvPicPr>
            <p:cNvPr id="7" name="Picture 25" descr="Red Ba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Tree>
    <p:extLst>
      <p:ext uri="{BB962C8B-B14F-4D97-AF65-F5344CB8AC3E}">
        <p14:creationId xmlns:p14="http://schemas.microsoft.com/office/powerpoint/2010/main" val="4239977194"/>
      </p:ext>
    </p:extLst>
  </p:cSld>
  <p:clrMapOvr>
    <a:masterClrMapping/>
  </p:clrMapOvr>
  <p:transition spd="med">
    <p:fade/>
  </p:transition>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4B324B-18FF-4147-BA18-D36160E9F106}"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51031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C8D6732-15F2-4802-8009-37AC693C551A}"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6356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5B7D2015-66F5-48BA-96D8-17D36F2E0AA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5783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B4BFE1CA-6658-4197-8E4E-2C35AF1F1E7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304305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6FBED1B2-9BE1-4BB3-AF93-47A29413317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76969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BE9BFC2-4754-4D3F-B8B7-155C41C1ECF0}"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75747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47832B4-CFEF-4C48-9F00-42AED7DD8CE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87627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C6703CB-F5F4-4371-82F0-CC855CC16EF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95419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834887D-8006-4942-961D-3944DDB3075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5"/>
                </a:solidFill>
              </a:defRPr>
            </a:lvl1pPr>
          </a:lstStyle>
          <a:p>
            <a:r>
              <a:rPr lang="en-US" dirty="0" smtClean="0"/>
              <a:t>XX</a:t>
            </a:r>
            <a:endParaRPr lang="en-US" dirty="0"/>
          </a:p>
        </p:txBody>
      </p:sp>
    </p:spTree>
    <p:extLst>
      <p:ext uri="{BB962C8B-B14F-4D97-AF65-F5344CB8AC3E}">
        <p14:creationId xmlns:p14="http://schemas.microsoft.com/office/powerpoint/2010/main" val="359845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D9227421-3F85-42F8-BDFD-0A6C36E3C2FA}" type="datetime1">
              <a:rPr lang="en-US" smtClean="0">
                <a:solidFill>
                  <a:srgbClr val="5F5F5F"/>
                </a:solidFill>
              </a:rPr>
              <a:pPr/>
              <a:t>11/10/2016</a:t>
            </a:fld>
            <a:endParaRPr dirty="0">
              <a:solidFill>
                <a:srgbClr val="5F5F5F"/>
              </a:solidFill>
            </a:endParaRPr>
          </a:p>
        </p:txBody>
      </p:sp>
      <p:sp>
        <p:nvSpPr>
          <p:cNvPr id="8" name="Footer Placeholder 7"/>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9" name="Slide Number Placeholder 8"/>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82454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15" name="Rectangle 14"/>
          <p:cNvSpPr/>
          <p:nvPr userDrawn="1"/>
        </p:nvSpPr>
        <p:spPr>
          <a:xfrm>
            <a:off x="-3" y="1546584"/>
            <a:ext cx="12188825" cy="39624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
        <p:nvSpPr>
          <p:cNvPr id="10" name="Text Placeholder 9"/>
          <p:cNvSpPr>
            <a:spLocks noGrp="1"/>
          </p:cNvSpPr>
          <p:nvPr>
            <p:ph type="body" sz="quarter" idx="11" hasCustomPrompt="1"/>
          </p:nvPr>
        </p:nvSpPr>
        <p:spPr>
          <a:xfrm>
            <a:off x="1072183" y="1945657"/>
            <a:ext cx="6703835" cy="3213359"/>
          </a:xfrm>
        </p:spPr>
        <p:txBody>
          <a:bodyPr anchor="t" anchorCtr="0">
            <a:noAutofit/>
          </a:bodyPr>
          <a:lstStyle>
            <a:lvl1pPr marL="0" marR="0" indent="0" algn="l" defTabSz="304735" rtl="0" eaLnBrk="1" fontAlgn="auto" latinLnBrk="0" hangingPunct="1">
              <a:lnSpc>
                <a:spcPct val="80000"/>
              </a:lnSpc>
              <a:spcBef>
                <a:spcPts val="0"/>
              </a:spcBef>
              <a:spcAft>
                <a:spcPts val="0"/>
              </a:spcAft>
              <a:buClr>
                <a:srgbClr val="FF0000"/>
              </a:buClr>
              <a:buSzPct val="85000"/>
              <a:buFont typeface="Wingdings" pitchFamily="2" charset="2"/>
              <a:buNone/>
              <a:tabLst/>
              <a:defRPr sz="5900" b="1" cap="all" baseline="0">
                <a:solidFill>
                  <a:schemeClr val="tx1"/>
                </a:solidFill>
              </a:defRPr>
            </a:lvl1pPr>
          </a:lstStyle>
          <a:p>
            <a:pPr marL="0" marR="0" lvl="0" indent="0" algn="l" defTabSz="304735" rtl="0" eaLnBrk="1" fontAlgn="auto" latinLnBrk="0" hangingPunct="1">
              <a:lnSpc>
                <a:spcPct val="80000"/>
              </a:lnSpc>
              <a:spcBef>
                <a:spcPts val="0"/>
              </a:spcBef>
              <a:spcAft>
                <a:spcPts val="0"/>
              </a:spcAft>
              <a:buClr>
                <a:srgbClr val="FF0000"/>
              </a:buClr>
              <a:buSzPct val="85000"/>
              <a:buFont typeface="Wingdings" pitchFamily="2" charset="2"/>
              <a:buNone/>
              <a:tabLst/>
              <a:defRPr/>
            </a:pPr>
            <a:r>
              <a:rPr lang="en-US" dirty="0" smtClean="0"/>
              <a:t>CLICK TO EDIT </a:t>
            </a:r>
            <a:br>
              <a:rPr lang="en-US" dirty="0" smtClean="0"/>
            </a:br>
            <a:r>
              <a:rPr lang="en-US" dirty="0" smtClean="0"/>
              <a:t>MASTER TEXT</a:t>
            </a:r>
          </a:p>
          <a:p>
            <a:pPr marL="0" marR="0" lvl="0" indent="0" algn="l" defTabSz="304735" rtl="0" eaLnBrk="1" fontAlgn="auto" latinLnBrk="0" hangingPunct="1">
              <a:lnSpc>
                <a:spcPct val="80000"/>
              </a:lnSpc>
              <a:spcBef>
                <a:spcPts val="0"/>
              </a:spcBef>
              <a:spcAft>
                <a:spcPts val="0"/>
              </a:spcAft>
              <a:buClr>
                <a:srgbClr val="FF0000"/>
              </a:buClr>
              <a:buSzPct val="85000"/>
              <a:buFont typeface="Wingdings" pitchFamily="2" charset="2"/>
              <a:buNone/>
              <a:tabLst/>
              <a:defRPr/>
            </a:pPr>
            <a:endParaRPr lang="en-US" dirty="0" smtClean="0"/>
          </a:p>
        </p:txBody>
      </p:sp>
      <p:sp>
        <p:nvSpPr>
          <p:cNvPr id="12" name="Picture Placeholder 11"/>
          <p:cNvSpPr>
            <a:spLocks noGrp="1"/>
          </p:cNvSpPr>
          <p:nvPr>
            <p:ph type="pic" sz="quarter" idx="12" hasCustomPrompt="1"/>
          </p:nvPr>
        </p:nvSpPr>
        <p:spPr>
          <a:xfrm>
            <a:off x="7919568" y="0"/>
            <a:ext cx="4085513" cy="6172200"/>
          </a:xfrm>
          <a:ln>
            <a:noFill/>
          </a:ln>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grpSp>
        <p:nvGrpSpPr>
          <p:cNvPr id="2" name="Group 8"/>
          <p:cNvGrpSpPr/>
          <p:nvPr userDrawn="1"/>
        </p:nvGrpSpPr>
        <p:grpSpPr>
          <a:xfrm>
            <a:off x="0" y="6172202"/>
            <a:ext cx="12188825" cy="224367"/>
            <a:chOff x="0" y="4629150"/>
            <a:chExt cx="9144000" cy="168275"/>
          </a:xfrm>
        </p:grpSpPr>
        <p:pic>
          <p:nvPicPr>
            <p:cNvPr id="11" name="Picture 25" descr="Red Ba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3"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Tree>
    <p:extLst>
      <p:ext uri="{BB962C8B-B14F-4D97-AF65-F5344CB8AC3E}">
        <p14:creationId xmlns:p14="http://schemas.microsoft.com/office/powerpoint/2010/main" val="2641197453"/>
      </p:ext>
    </p:extLst>
  </p:cSld>
  <p:clrMapOvr>
    <a:masterClrMapping/>
  </p:clrMapOvr>
  <p:transition spd="med">
    <p:fade/>
  </p:transition>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8A1F17C-4AFE-4B02-9BD6-67CB04075FF1}"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0954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10010B8-11AC-4175-BF29-EB4A3C61102F}"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89368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1827CA-F831-46B0-9758-B6BAE0AF4EAB}"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823424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686C7CE-9D23-4A42-845E-2EB69666472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6499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BA32AB-378C-44A6-BBCB-4C90F374D0FC}"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70979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87AD43-539D-4156-9FD6-437CAE9F93F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2859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494F0A-3A42-4B5D-A4C2-90E38C5A794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75252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title="iOS Smartphone and Tablet: Horizontal Layou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BA0AC74-C01C-456F-BD5D-BCFFCE23EE8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80719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C447B5AF-1809-4D52-BE60-78F570C83F44}"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747673" y="1013144"/>
            <a:ext cx="396213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3" name="Picture 12" descr="Photos, screen captures, graphics can be inserted in a white mobile phone and tablet" title="iOS Smartphone and Tablet: Vertical Layou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17042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title="Android Smartphone and Tablet: Horizont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A2474AE-A74B-49A7-B5B1-A400C0D62D3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975104"/>
            <a:ext cx="5248656" cy="3328416"/>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61698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New Template_Announcement Key Features">
    <p:spTree>
      <p:nvGrpSpPr>
        <p:cNvPr id="1" name=""/>
        <p:cNvGrpSpPr/>
        <p:nvPr/>
      </p:nvGrpSpPr>
      <p:grpSpPr>
        <a:xfrm>
          <a:off x="0" y="0"/>
          <a:ext cx="0" cy="0"/>
          <a:chOff x="0" y="0"/>
          <a:chExt cx="0" cy="0"/>
        </a:xfrm>
      </p:grpSpPr>
      <p:sp>
        <p:nvSpPr>
          <p:cNvPr id="9" name="Rectangle 8"/>
          <p:cNvSpPr/>
          <p:nvPr userDrawn="1"/>
        </p:nvSpPr>
        <p:spPr>
          <a:xfrm>
            <a:off x="3985746" y="1546584"/>
            <a:ext cx="8203079" cy="39624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
        <p:nvSpPr>
          <p:cNvPr id="10" name="Text Placeholder 9"/>
          <p:cNvSpPr>
            <a:spLocks noGrp="1"/>
          </p:cNvSpPr>
          <p:nvPr>
            <p:ph type="body" sz="quarter" idx="11"/>
          </p:nvPr>
        </p:nvSpPr>
        <p:spPr>
          <a:xfrm>
            <a:off x="4590568" y="1907043"/>
            <a:ext cx="7158107" cy="3364876"/>
          </a:xfrm>
        </p:spPr>
        <p:txBody>
          <a:bodyPr anchor="t" anchorCtr="0"/>
          <a:lstStyle>
            <a:lvl1pPr marL="0" indent="0">
              <a:buNone/>
              <a:defRPr sz="32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1072183" y="327385"/>
            <a:ext cx="10969924" cy="1027283"/>
          </a:xfrm>
        </p:spPr>
        <p:txBody>
          <a:bodyPr anchor="t" anchorCtr="0"/>
          <a:lstStyle>
            <a:lvl1pPr>
              <a:defRPr/>
            </a:lvl1pPr>
          </a:lstStyle>
          <a:p>
            <a:r>
              <a:rPr lang="en-US" smtClean="0"/>
              <a:t>Click to edit Master title style</a:t>
            </a:r>
            <a:endParaRPr lang="en-US" dirty="0"/>
          </a:p>
        </p:txBody>
      </p:sp>
      <p:sp>
        <p:nvSpPr>
          <p:cNvPr id="6" name="Picture Placeholder 11"/>
          <p:cNvSpPr>
            <a:spLocks noGrp="1"/>
          </p:cNvSpPr>
          <p:nvPr>
            <p:ph type="pic" sz="quarter" idx="13" hasCustomPrompt="1"/>
          </p:nvPr>
        </p:nvSpPr>
        <p:spPr>
          <a:xfrm>
            <a:off x="8466" y="1546581"/>
            <a:ext cx="3924802" cy="3962400"/>
          </a:xfrm>
          <a:ln>
            <a:noFill/>
          </a:ln>
          <a:effectLst>
            <a:reflection stA="30000" endPos="4000" dir="5400000" sy="-100000" algn="bl" rotWithShape="0"/>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spTree>
    <p:extLst>
      <p:ext uri="{BB962C8B-B14F-4D97-AF65-F5344CB8AC3E}">
        <p14:creationId xmlns:p14="http://schemas.microsoft.com/office/powerpoint/2010/main" val="3713435937"/>
      </p:ext>
    </p:extLst>
  </p:cSld>
  <p:clrMapOvr>
    <a:masterClrMapping/>
  </p:clrMapOvr>
  <p:transition spd="med">
    <p:fade/>
  </p:transition>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4B767A9A-D0AC-47FB-851D-810FC45BAB35}"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9" name="Picture 18" descr="Photos, screen captures, graphics can be inserted in a white mobile phone and tablet" title="Android Smartphone and Tablet: Vertic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405351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title="Large metric with 4-color photo"/>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2" name="Group 1"/>
          <p:cNvGrpSpPr/>
          <p:nvPr/>
        </p:nvGrpSpPr>
        <p:grpSpPr>
          <a:xfrm>
            <a:off x="0" y="0"/>
            <a:ext cx="12189399" cy="6858000"/>
            <a:chOff x="-287" y="0"/>
            <a:chExt cx="12189399" cy="6858000"/>
          </a:xfrm>
        </p:grpSpPr>
        <p:sp>
          <p:nvSpPr>
            <p:cNvPr id="10" name="Rectangle 9"/>
            <p:cNvSpPr/>
            <p:nvPr/>
          </p:nvSpPr>
          <p:spPr bwMode="gray">
            <a:xfrm>
              <a:off x="-287" y="0"/>
              <a:ext cx="193962"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11995151" y="5854"/>
              <a:ext cx="193960"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6400800"/>
              <a:ext cx="12189396"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3" name="Rectangle 12"/>
            <p:cNvSpPr/>
            <p:nvPr/>
          </p:nvSpPr>
          <p:spPr bwMode="gray">
            <a:xfrm>
              <a:off x="-286" y="0"/>
              <a:ext cx="12189398" cy="192024"/>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5" name="Date Placeholder 4"/>
          <p:cNvSpPr>
            <a:spLocks noGrp="1"/>
          </p:cNvSpPr>
          <p:nvPr>
            <p:ph type="dt" sz="half" idx="10"/>
          </p:nvPr>
        </p:nvSpPr>
        <p:spPr/>
        <p:txBody>
          <a:bodyPr/>
          <a:lstStyle>
            <a:lvl1pPr>
              <a:defRPr>
                <a:solidFill>
                  <a:srgbClr val="5F5F5F"/>
                </a:solidFill>
              </a:defRPr>
            </a:lvl1pPr>
          </a:lstStyle>
          <a:p>
            <a:fld id="{4ADD7E43-24FB-40CC-971F-1AFB4F96D58C}" type="datetime1">
              <a:rPr lang="en-US" smtClean="0"/>
              <a:pPr/>
              <a:t>11/10/2016</a:t>
            </a:fld>
            <a:endParaRPr lang="en-US" dirty="0"/>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cs typeface="Arial" pitchFamily="34" charset="0"/>
              </a:rPr>
              <a:t>Oracle Confidential – Internal/Restricted/Highly Restricted</a:t>
            </a:r>
            <a:endParaRPr lang="en-US" sz="1800" dirty="0">
              <a:cs typeface="Arial" pitchFamily="34" charset="0"/>
            </a:endParaRPr>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cs typeface="Arial" pitchFamily="34" charset="0"/>
              </a:rPr>
              <a:t>Copyright © </a:t>
            </a:r>
            <a:r>
              <a:rPr sz="850" dirty="0" smtClean="0">
                <a:solidFill>
                  <a:srgbClr val="5F5F5F"/>
                </a:solidFill>
                <a:cs typeface="Arial" pitchFamily="34" charset="0"/>
              </a:rPr>
              <a:t>201</a:t>
            </a:r>
            <a:r>
              <a:rPr lang="en-US" sz="850" dirty="0" smtClean="0">
                <a:solidFill>
                  <a:srgbClr val="5F5F5F"/>
                </a:solidFill>
                <a:cs typeface="Arial" pitchFamily="34" charset="0"/>
              </a:rPr>
              <a:t>5,</a:t>
            </a:r>
            <a:r>
              <a:rPr sz="850" dirty="0" smtClean="0">
                <a:solidFill>
                  <a:srgbClr val="5F5F5F"/>
                </a:solidFill>
                <a:cs typeface="Arial" pitchFamily="34" charset="0"/>
              </a:rPr>
              <a:t> </a:t>
            </a:r>
            <a:r>
              <a:rPr sz="850" dirty="0">
                <a:solidFill>
                  <a:srgbClr val="5F5F5F"/>
                </a:solidFill>
                <a:cs typeface="Arial" pitchFamily="34" charset="0"/>
              </a:rPr>
              <a:t>Oracle and/or its affiliates. All rights reserved.  </a:t>
            </a:r>
            <a:r>
              <a:rPr sz="850" dirty="0" smtClean="0">
                <a:solidFill>
                  <a:srgbClr val="5F5F5F"/>
                </a:solidFill>
                <a:cs typeface="Arial" pitchFamily="34" charset="0"/>
              </a:rPr>
              <a:t>|</a:t>
            </a:r>
            <a:endParaRPr sz="850" dirty="0">
              <a:solidFill>
                <a:srgbClr val="5F5F5F"/>
              </a:solidFill>
              <a:cs typeface="Arial" pitchFamily="34" charset="0"/>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2746941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ACD4C6-5F02-4E1D-8860-E571DA6DFE1F}"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cs typeface="Arial" pitchFamily="34" charset="0"/>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cs typeface="Arial" pitchFamily="34" charset="0"/>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403519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6134E1-025A-423B-B455-DC3D3A91EDB9}"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cs typeface="Arial" pitchFamily="34" charset="0"/>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cs typeface="Arial" pitchFamily="34" charset="0"/>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109190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title="Oracle corporate Tagline in colo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44214A5B-588F-4C90-9D20-DD3B4D6AC865}"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42726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title="Oracle Logo Slid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1141613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9AD8BE6-AA7C-4328-9B9F-94628525022E}" type="datetime1">
              <a:rPr lang="en-US" smtClean="0">
                <a:solidFill>
                  <a:srgbClr val="5F5F5F"/>
                </a:solidFill>
              </a:rPr>
              <a:pPr/>
              <a:t>11/10/2016</a:t>
            </a:fld>
            <a:endParaRPr lang="en-US">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lang="en-US" sz="1800" smtClean="0">
                <a:solidFill>
                  <a:srgbClr val="5F5F5F"/>
                </a:solidFill>
                <a:cs typeface="Arial" pitchFamily="34" charset="0"/>
              </a:rPr>
              <a:t>Oracle Confidential – Internal/Restricted/Highly Restricted</a:t>
            </a:r>
            <a:endParaRPr lang="en-US" sz="1800">
              <a:solidFill>
                <a:srgbClr val="5F5F5F"/>
              </a:solidFill>
              <a:cs typeface="Arial" pitchFamily="34" charset="0"/>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F5F5F"/>
                </a:solidFill>
              </a:rPr>
              <a:pPr/>
              <a:t>‹#›</a:t>
            </a:fld>
            <a:endParaRPr lang="en-US">
              <a:solidFill>
                <a:srgbClr val="5F5F5F"/>
              </a:solidFill>
            </a:endParaRPr>
          </a:p>
        </p:txBody>
      </p:sp>
    </p:spTree>
    <p:extLst>
      <p:ext uri="{BB962C8B-B14F-4D97-AF65-F5344CB8AC3E}">
        <p14:creationId xmlns:p14="http://schemas.microsoft.com/office/powerpoint/2010/main" val="189530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B8E2682-7303-4393-9F25-7F1900A10367}"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919921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700"/>
            </a:lvl1pPr>
          </a:lstStyle>
          <a:p>
            <a:r>
              <a:rPr lang="en-US" dirty="0" smtClean="0"/>
              <a:t>Click to edit Master title style</a:t>
            </a:r>
            <a:endParaRPr lang="en-US" dirty="0"/>
          </a:p>
        </p:txBody>
      </p:sp>
    </p:spTree>
    <p:extLst>
      <p:ext uri="{BB962C8B-B14F-4D97-AF65-F5344CB8AC3E}">
        <p14:creationId xmlns:p14="http://schemas.microsoft.com/office/powerpoint/2010/main" val="246385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p:nvPr>
        </p:nvSpPr>
        <p:spPr>
          <a:xfrm>
            <a:off x="979102" y="236394"/>
            <a:ext cx="10593806" cy="476225"/>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978236" y="1561033"/>
            <a:ext cx="10594672" cy="4491037"/>
          </a:xfrm>
        </p:spPr>
        <p:txBody>
          <a:bodyPr/>
          <a:lstStyle>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quarter" idx="11"/>
          </p:nvPr>
        </p:nvSpPr>
        <p:spPr>
          <a:xfrm>
            <a:off x="979102" y="668892"/>
            <a:ext cx="10593806" cy="449263"/>
          </a:xfrm>
        </p:spPr>
        <p:txBody>
          <a:bodyPr/>
          <a:lstStyle>
            <a:lvl1pPr marL="0" indent="0">
              <a:buNone/>
              <a:defRPr>
                <a:solidFill>
                  <a:schemeClr val="accent1"/>
                </a:solidFill>
              </a:defRPr>
            </a:lvl1pPr>
          </a:lstStyle>
          <a:p>
            <a:pPr lvl="0"/>
            <a:r>
              <a:rPr lang="en-US" smtClean="0"/>
              <a:t>Click to edit Master text styles</a:t>
            </a:r>
          </a:p>
        </p:txBody>
      </p:sp>
    </p:spTree>
    <p:extLst>
      <p:ext uri="{BB962C8B-B14F-4D97-AF65-F5344CB8AC3E}">
        <p14:creationId xmlns:p14="http://schemas.microsoft.com/office/powerpoint/2010/main" val="242419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and 2 Logos">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defTabSz="914323"/>
            <a:endParaRPr dirty="0">
              <a:solidFill>
                <a:srgbClr val="FFFFFF"/>
              </a:solidFill>
            </a:endParaRPr>
          </a:p>
        </p:txBody>
      </p:sp>
      <p:sp>
        <p:nvSpPr>
          <p:cNvPr id="2" name="Title 1"/>
          <p:cNvSpPr>
            <a:spLocks noGrp="1"/>
          </p:cNvSpPr>
          <p:nvPr>
            <p:ph type="ctrTitle"/>
          </p:nvPr>
        </p:nvSpPr>
        <p:spPr>
          <a:xfrm>
            <a:off x="531813" y="739778"/>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2"/>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585FCE51-BA3E-43B9-8C27-47617E4B4FE5}" type="datetime1">
              <a:rPr lang="en-US">
                <a:solidFill>
                  <a:srgbClr val="FFFFFF">
                    <a:lumMod val="60000"/>
                    <a:lumOff val="40000"/>
                  </a:srgbClr>
                </a:solidFill>
              </a:rPr>
              <a:pPr/>
              <a:t>11/10/2016</a:t>
            </a:fld>
            <a:endParaRPr dirty="0">
              <a:solidFill>
                <a:srgbClr val="FFFFFF">
                  <a:lumMod val="60000"/>
                  <a:lumOff val="40000"/>
                </a:srgbClr>
              </a:solidFill>
            </a:endParaRPr>
          </a:p>
        </p:txBody>
      </p:sp>
      <p:sp>
        <p:nvSpPr>
          <p:cNvPr id="11" name="TextBox 10"/>
          <p:cNvSpPr txBox="1"/>
          <p:nvPr/>
        </p:nvSpPr>
        <p:spPr>
          <a:xfrm>
            <a:off x="5989641" y="6556248"/>
            <a:ext cx="2787651" cy="182880"/>
          </a:xfrm>
          <a:prstGeom prst="rect">
            <a:avLst/>
          </a:prstGeom>
          <a:noFill/>
        </p:spPr>
        <p:txBody>
          <a:bodyPr wrap="none" lIns="0" tIns="0" rIns="0" bIns="0" rtlCol="0" anchor="ctr" anchorCtr="0">
            <a:noAutofit/>
          </a:bodyPr>
          <a:lstStyle/>
          <a:p>
            <a:pPr defTabSz="914323"/>
            <a:r>
              <a:rPr sz="800" dirty="0">
                <a:solidFill>
                  <a:srgbClr val="FFFFFF">
                    <a:lumMod val="60000"/>
                    <a:lumOff val="40000"/>
                  </a:srgbClr>
                </a:solidFill>
              </a:rPr>
              <a:t>Copyright © </a:t>
            </a:r>
            <a:r>
              <a:rPr lang="en-US" sz="800" dirty="0" smtClean="0">
                <a:solidFill>
                  <a:srgbClr val="FFFFFF">
                    <a:lumMod val="60000"/>
                    <a:lumOff val="40000"/>
                  </a:srgbClr>
                </a:solidFill>
              </a:rPr>
              <a:t>2016 </a:t>
            </a:r>
            <a:r>
              <a:rPr sz="800" dirty="0" smtClean="0">
                <a:solidFill>
                  <a:srgbClr val="FFFFFF">
                    <a:lumMod val="60000"/>
                    <a:lumOff val="40000"/>
                  </a:srgbClr>
                </a:solidFill>
              </a:rPr>
              <a:t>Oracle </a:t>
            </a:r>
            <a:r>
              <a:rPr sz="800" dirty="0">
                <a:solidFill>
                  <a:srgbClr val="FFFFFF">
                    <a:lumMod val="60000"/>
                    <a:lumOff val="40000"/>
                  </a:srgbClr>
                </a:solidFill>
              </a:rPr>
              <a:t>and/or its affiliates. All rights reserved.  |</a:t>
            </a:r>
          </a:p>
        </p:txBody>
      </p:sp>
      <p:sp>
        <p:nvSpPr>
          <p:cNvPr id="6" name="Slide Number Placeholder 5"/>
          <p:cNvSpPr>
            <a:spLocks noGrp="1"/>
          </p:cNvSpPr>
          <p:nvPr>
            <p:ph type="sldNum" sz="quarter" idx="12"/>
          </p:nvPr>
        </p:nvSpPr>
        <p:spPr>
          <a:xfrm>
            <a:off x="11276012" y="6934200"/>
            <a:ext cx="381661" cy="182880"/>
          </a:xfrm>
        </p:spPr>
        <p:txBody>
          <a:bodyPr/>
          <a:lstStyle>
            <a:lvl1pPr>
              <a:defRPr>
                <a:solidFill>
                  <a:srgbClr val="BCC0C4"/>
                </a:solidFill>
              </a:defRPr>
            </a:lvl1pPr>
          </a:lstStyle>
          <a:p>
            <a:fld id="{C51EAA63-D034-42AE-91FA-B13B9518C7BE}" type="slidenum">
              <a:rPr/>
              <a:pPr/>
              <a:t>‹#›</a:t>
            </a:fld>
            <a:endParaRPr dirty="0"/>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defTabSz="914323"/>
            <a:endParaRPr dirty="0">
              <a:solidFill>
                <a:srgbClr val="FFFFFF"/>
              </a:solidFill>
            </a:endParaRPr>
          </a:p>
        </p:txBody>
      </p:sp>
      <p:sp>
        <p:nvSpPr>
          <p:cNvPr id="21" name="Text Placeholder 12"/>
          <p:cNvSpPr>
            <a:spLocks noGrp="1"/>
          </p:cNvSpPr>
          <p:nvPr>
            <p:ph type="body" sz="quarter" idx="15" hasCustomPrompt="1"/>
          </p:nvPr>
        </p:nvSpPr>
        <p:spPr>
          <a:xfrm>
            <a:off x="9904412" y="228600"/>
            <a:ext cx="1676401" cy="228600"/>
          </a:xfrm>
        </p:spPr>
        <p:txBody>
          <a:bodyPr anchor="b">
            <a:normAutofit/>
          </a:bodyPr>
          <a:lstStyle>
            <a:lvl1pPr marL="1588" indent="0" algn="ctr">
              <a:spcBef>
                <a:spcPts val="0"/>
              </a:spcBef>
              <a:buFontTx/>
              <a:buNone/>
              <a:defRPr sz="15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pic>
        <p:nvPicPr>
          <p:cNvPr id="14"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4" y="6263640"/>
            <a:ext cx="1622861" cy="594360"/>
          </a:xfrm>
          <a:prstGeom prst="rect">
            <a:avLst/>
          </a:prstGeom>
        </p:spPr>
      </p:pic>
      <p:sp>
        <p:nvSpPr>
          <p:cNvPr id="15" name="Rectangle 14"/>
          <p:cNvSpPr/>
          <p:nvPr userDrawn="1"/>
        </p:nvSpPr>
        <p:spPr>
          <a:xfrm>
            <a:off x="9823444"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2" tIns="45717" rIns="91432" bIns="45717" numCol="1" spcCol="0" rtlCol="0" fromWordArt="0" anchor="ctr" anchorCtr="0" forceAA="0" compatLnSpc="1">
            <a:prstTxWarp prst="textNoShape">
              <a:avLst/>
            </a:prstTxWarp>
            <a:noAutofit/>
          </a:bodyPr>
          <a:lstStyle/>
          <a:p>
            <a:pPr algn="ctr" defTabSz="914323">
              <a:lnSpc>
                <a:spcPct val="90000"/>
              </a:lnSpc>
            </a:pPr>
            <a:endParaRPr lang="en-US">
              <a:solidFill>
                <a:srgbClr val="FFFFFF"/>
              </a:solidFill>
            </a:endParaRPr>
          </a:p>
        </p:txBody>
      </p:sp>
    </p:spTree>
    <p:extLst>
      <p:ext uri="{BB962C8B-B14F-4D97-AF65-F5344CB8AC3E}">
        <p14:creationId xmlns:p14="http://schemas.microsoft.com/office/powerpoint/2010/main" val="1416678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New Template_Case Study">
    <p:spTree>
      <p:nvGrpSpPr>
        <p:cNvPr id="1" name=""/>
        <p:cNvGrpSpPr/>
        <p:nvPr/>
      </p:nvGrpSpPr>
      <p:grpSpPr>
        <a:xfrm>
          <a:off x="0" y="0"/>
          <a:ext cx="0" cy="0"/>
          <a:chOff x="0" y="0"/>
          <a:chExt cx="0" cy="0"/>
        </a:xfrm>
      </p:grpSpPr>
      <p:sp>
        <p:nvSpPr>
          <p:cNvPr id="7" name="Rectangle 6"/>
          <p:cNvSpPr/>
          <p:nvPr userDrawn="1"/>
        </p:nvSpPr>
        <p:spPr>
          <a:xfrm>
            <a:off x="-1" y="2288586"/>
            <a:ext cx="5710690" cy="322730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
        <p:nvSpPr>
          <p:cNvPr id="8" name="Rectangle 7"/>
          <p:cNvSpPr/>
          <p:nvPr userDrawn="1"/>
        </p:nvSpPr>
        <p:spPr bwMode="auto">
          <a:xfrm>
            <a:off x="2031" y="1542200"/>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40" tIns="61371" rIns="122740" bIns="61371" anchor="ctr"/>
          <a:lstStyle/>
          <a:p>
            <a:pPr marL="158716" indent="-158716" algn="ctr" defTabSz="1218936">
              <a:defRPr/>
            </a:pPr>
            <a:endParaRPr lang="en-US" sz="5300" b="1" dirty="0">
              <a:solidFill>
                <a:srgbClr val="FFFFFF"/>
              </a:solidFill>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6"/>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222717205"/>
      </p:ext>
    </p:extLst>
  </p:cSld>
  <p:clrMapOvr>
    <a:masterClrMapping/>
  </p:clrMapOvr>
  <p:transition spd="med">
    <p:fade/>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93971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2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lumMod val="60000"/>
                    <a:lumOff val="40000"/>
                  </a:srgbClr>
                </a:solidFill>
                <a:cs typeface="Arial" pitchFamily="34" charset="0"/>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333692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6538" y="142860"/>
            <a:ext cx="10969943" cy="1143000"/>
          </a:xfrm>
        </p:spPr>
        <p:txBody>
          <a:bodyPr/>
          <a:lstStyle/>
          <a:p>
            <a:r>
              <a:rPr lang="fr-FR" smtClean="0"/>
              <a:t>Cliquez pour modifier le style du titre</a:t>
            </a:r>
            <a:endParaRPr lang="fr-FR" dirty="0"/>
          </a:p>
        </p:txBody>
      </p:sp>
      <p:sp>
        <p:nvSpPr>
          <p:cNvPr id="3" name="Rectangle 4"/>
          <p:cNvSpPr>
            <a:spLocks noGrp="1" noChangeArrowheads="1"/>
          </p:cNvSpPr>
          <p:nvPr>
            <p:ph type="sldNum" sz="quarter" idx="10"/>
          </p:nvPr>
        </p:nvSpPr>
        <p:spPr>
          <a:xfrm>
            <a:off x="304721" y="6146803"/>
            <a:ext cx="914162" cy="342900"/>
          </a:xfrm>
          <a:prstGeom prst="rect">
            <a:avLst/>
          </a:prstGeom>
          <a:ln/>
        </p:spPr>
        <p:txBody>
          <a:bodyPr/>
          <a:lstStyle>
            <a:lvl1pPr>
              <a:defRPr/>
            </a:lvl1pPr>
          </a:lstStyle>
          <a:p>
            <a:pPr>
              <a:defRPr/>
            </a:pPr>
            <a:fld id="{014C4AE8-6643-4E84-BA1A-ECD40571EF33}" type="slidenum">
              <a:rPr lang="fr-FR">
                <a:solidFill>
                  <a:srgbClr val="5F5F5F"/>
                </a:solidFill>
              </a:rPr>
              <a:pPr>
                <a:defRPr/>
              </a:pPr>
              <a:t>‹#›</a:t>
            </a:fld>
            <a:endParaRPr lang="fr-FR">
              <a:solidFill>
                <a:srgbClr val="5F5F5F"/>
              </a:solidFill>
            </a:endParaRPr>
          </a:p>
        </p:txBody>
      </p:sp>
    </p:spTree>
    <p:extLst>
      <p:ext uri="{BB962C8B-B14F-4D97-AF65-F5344CB8AC3E}">
        <p14:creationId xmlns:p14="http://schemas.microsoft.com/office/powerpoint/2010/main" val="34064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51AB1A54-131B-434B-AAD1-AD1F7D7DAA2B}"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11" name="TextBox 10"/>
          <p:cNvSpPr txBox="1"/>
          <p:nvPr/>
        </p:nvSpPr>
        <p:spPr>
          <a:xfrm>
            <a:off x="5989638" y="6556248"/>
            <a:ext cx="2787651" cy="182880"/>
          </a:xfrm>
          <a:prstGeom prst="rect">
            <a:avLst/>
          </a:prstGeom>
          <a:noFill/>
        </p:spPr>
        <p:txBody>
          <a:bodyPr wrap="none" lIns="0" tIns="0" rIns="0" bIns="0" rtlCol="0" anchor="ctr" anchorCtr="0">
            <a:noAutofit/>
          </a:bodyPr>
          <a:lstStyle/>
          <a:p>
            <a:pPr defTabSz="914400"/>
            <a:r>
              <a:rPr sz="800" dirty="0">
                <a:solidFill>
                  <a:srgbClr val="5F5F5F">
                    <a:lumMod val="60000"/>
                    <a:lumOff val="40000"/>
                  </a:srgbClr>
                </a:solidFill>
              </a:rPr>
              <a:t>Copyright © 2014 Oracle and/or its affiliates. All rights reserved.  |</a:t>
            </a:r>
          </a:p>
        </p:txBody>
      </p:sp>
      <p:sp>
        <p:nvSpPr>
          <p:cNvPr id="5" name="Footer Placeholder 4"/>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a:xfrm>
            <a:off x="11276011" y="6934200"/>
            <a:ext cx="381661" cy="182880"/>
          </a:xfrm>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4" name="Oracle red badge logo" descr="Oracle logo in white on red staging backgroun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531812" y="6263640"/>
            <a:ext cx="1622861" cy="594360"/>
          </a:xfrm>
          <a:prstGeom prst="rect">
            <a:avLst/>
          </a:prstGeom>
        </p:spPr>
      </p:pic>
    </p:spTree>
    <p:extLst>
      <p:ext uri="{BB962C8B-B14F-4D97-AF65-F5344CB8AC3E}">
        <p14:creationId xmlns:p14="http://schemas.microsoft.com/office/powerpoint/2010/main" val="245163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39">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p>
            <a:fld id="{BCD2CDC6-9352-4ED5-B272-74DDB6DCFEAF}"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11" name="TextBox 10"/>
          <p:cNvSpPr txBox="1"/>
          <p:nvPr/>
        </p:nvSpPr>
        <p:spPr>
          <a:xfrm>
            <a:off x="5989638" y="6556248"/>
            <a:ext cx="2787651" cy="182880"/>
          </a:xfrm>
          <a:prstGeom prst="rect">
            <a:avLst/>
          </a:prstGeom>
          <a:noFill/>
        </p:spPr>
        <p:txBody>
          <a:bodyPr wrap="none" lIns="0" tIns="0" rIns="0" bIns="0" rtlCol="0" anchor="ctr" anchorCtr="0">
            <a:noAutofit/>
          </a:bodyPr>
          <a:lstStyle/>
          <a:p>
            <a:pPr defTabSz="914400"/>
            <a:r>
              <a:rPr sz="800" dirty="0">
                <a:solidFill>
                  <a:srgbClr val="5F5F5F">
                    <a:lumMod val="60000"/>
                    <a:lumOff val="40000"/>
                  </a:srgbClr>
                </a:solidFill>
              </a:rPr>
              <a:t>Copyright © 2014 Oracle and/or its affiliates. All rights reserved.  |</a:t>
            </a:r>
          </a:p>
        </p:txBody>
      </p:sp>
      <p:sp>
        <p:nvSpPr>
          <p:cNvPr id="5" name="Footer Placeholder 4"/>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a:xfrm>
            <a:off x="11276011" y="6934200"/>
            <a:ext cx="381661" cy="182880"/>
          </a:xfrm>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9" name="Oracle red badge logo"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ltGray">
          <a:xfrm>
            <a:off x="531812" y="6263640"/>
            <a:ext cx="1622861" cy="594360"/>
          </a:xfrm>
          <a:prstGeom prst="rect">
            <a:avLst/>
          </a:prstGeom>
        </p:spPr>
      </p:pic>
    </p:spTree>
    <p:extLst>
      <p:ext uri="{BB962C8B-B14F-4D97-AF65-F5344CB8AC3E}">
        <p14:creationId xmlns:p14="http://schemas.microsoft.com/office/powerpoint/2010/main" val="105031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7C7481E7-6827-45FD-8717-13B961EEBD99}" type="datetime1">
              <a:rPr lang="en-US">
                <a:solidFill>
                  <a:srgbClr val="FFFFFF">
                    <a:lumMod val="60000"/>
                    <a:lumOff val="40000"/>
                  </a:srgbClr>
                </a:solidFill>
              </a:rPr>
              <a:pPr/>
              <a:t>11/10/2016</a:t>
            </a:fld>
            <a:endParaRPr dirty="0">
              <a:solidFill>
                <a:srgbClr val="FFFFFF">
                  <a:lumMod val="60000"/>
                  <a:lumOff val="40000"/>
                </a:srgbClr>
              </a:solidFill>
            </a:endParaRPr>
          </a:p>
        </p:txBody>
      </p:sp>
      <p:sp>
        <p:nvSpPr>
          <p:cNvPr id="11" name="TextBox 10"/>
          <p:cNvSpPr txBox="1"/>
          <p:nvPr/>
        </p:nvSpPr>
        <p:spPr>
          <a:xfrm>
            <a:off x="5989638" y="6556248"/>
            <a:ext cx="2787651" cy="182880"/>
          </a:xfrm>
          <a:prstGeom prst="rect">
            <a:avLst/>
          </a:prstGeom>
          <a:noFill/>
        </p:spPr>
        <p:txBody>
          <a:bodyPr wrap="none" lIns="0" tIns="0" rIns="0" bIns="0" rtlCol="0" anchor="ctr" anchorCtr="0">
            <a:noAutofit/>
          </a:bodyPr>
          <a:lstStyle/>
          <a:p>
            <a:pPr defTabSz="914400"/>
            <a:r>
              <a:rPr sz="800" dirty="0">
                <a:solidFill>
                  <a:srgbClr val="FFFFFF">
                    <a:lumMod val="60000"/>
                    <a:lumOff val="40000"/>
                  </a:srgbClr>
                </a:solidFill>
              </a:rPr>
              <a:t>Copyright © 2014 Oracle and/or its affiliates. All rights reserved.  |</a:t>
            </a:r>
          </a:p>
        </p:txBody>
      </p:sp>
      <p:sp>
        <p:nvSpPr>
          <p:cNvPr id="5" name="Footer Placeholder 4"/>
          <p:cNvSpPr>
            <a:spLocks noGrp="1"/>
          </p:cNvSpPr>
          <p:nvPr>
            <p:ph type="ftr" sz="quarter" idx="11"/>
          </p:nvPr>
        </p:nvSpPr>
        <p:spPr/>
        <p:txBody>
          <a:bodyPr/>
          <a:lstStyle/>
          <a:p>
            <a:r>
              <a:rPr dirty="0">
                <a:solidFill>
                  <a:srgbClr val="FFFFF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a:xfrm>
            <a:off x="11276011" y="6934200"/>
            <a:ext cx="381661" cy="182880"/>
          </a:xfrm>
        </p:spPr>
        <p:txBody>
          <a:bodyPr/>
          <a:lstStyle>
            <a:lvl1pPr>
              <a:defRPr>
                <a:solidFill>
                  <a:srgbClr val="BDC1C5"/>
                </a:solidFill>
              </a:defRPr>
            </a:lvl1pPr>
          </a:lstStyle>
          <a:p>
            <a:fld id="{C51EAA63-D034-42AE-91FA-B13B9518C7BE}" type="slidenum">
              <a:rPr/>
              <a:pPr/>
              <a:t>‹#›</a:t>
            </a:fld>
            <a:endParaRPr dirty="0"/>
          </a:p>
        </p:txBody>
      </p:sp>
      <p:pic>
        <p:nvPicPr>
          <p:cNvPr id="12"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2" y="6263640"/>
            <a:ext cx="1622861" cy="594360"/>
          </a:xfrm>
          <a:prstGeom prst="rect">
            <a:avLst/>
          </a:prstGeom>
        </p:spPr>
      </p:pic>
    </p:spTree>
    <p:extLst>
      <p:ext uri="{BB962C8B-B14F-4D97-AF65-F5344CB8AC3E}">
        <p14:creationId xmlns:p14="http://schemas.microsoft.com/office/powerpoint/2010/main" val="1533433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and Logo">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585FCE51-BA3E-43B9-8C27-47617E4B4FE5}" type="datetime1">
              <a:rPr lang="en-US">
                <a:solidFill>
                  <a:srgbClr val="FFFFFF">
                    <a:lumMod val="60000"/>
                    <a:lumOff val="40000"/>
                  </a:srgbClr>
                </a:solidFill>
              </a:rPr>
              <a:pPr/>
              <a:t>11/10/2016</a:t>
            </a:fld>
            <a:endParaRPr dirty="0">
              <a:solidFill>
                <a:srgbClr val="FFFFFF">
                  <a:lumMod val="60000"/>
                  <a:lumOff val="40000"/>
                </a:srgbClr>
              </a:solidFill>
            </a:endParaRPr>
          </a:p>
        </p:txBody>
      </p:sp>
      <p:sp>
        <p:nvSpPr>
          <p:cNvPr id="11" name="TextBox 10"/>
          <p:cNvSpPr txBox="1"/>
          <p:nvPr/>
        </p:nvSpPr>
        <p:spPr>
          <a:xfrm>
            <a:off x="5989638" y="6556248"/>
            <a:ext cx="2787651" cy="182880"/>
          </a:xfrm>
          <a:prstGeom prst="rect">
            <a:avLst/>
          </a:prstGeom>
          <a:noFill/>
        </p:spPr>
        <p:txBody>
          <a:bodyPr wrap="none" lIns="0" tIns="0" rIns="0" bIns="0" rtlCol="0" anchor="ctr" anchorCtr="0">
            <a:noAutofit/>
          </a:bodyPr>
          <a:lstStyle/>
          <a:p>
            <a:pPr defTabSz="914400"/>
            <a:r>
              <a:rPr sz="800" dirty="0">
                <a:solidFill>
                  <a:srgbClr val="FFFFFF">
                    <a:lumMod val="60000"/>
                    <a:lumOff val="40000"/>
                  </a:srgbClr>
                </a:solidFill>
              </a:rPr>
              <a:t>Copyright © 2014 Oracle and/or its affiliates. All rights reserved.  |</a:t>
            </a:r>
          </a:p>
        </p:txBody>
      </p:sp>
      <p:sp>
        <p:nvSpPr>
          <p:cNvPr id="5" name="Footer Placeholder 4"/>
          <p:cNvSpPr>
            <a:spLocks noGrp="1"/>
          </p:cNvSpPr>
          <p:nvPr>
            <p:ph type="ftr" sz="quarter" idx="11"/>
          </p:nvPr>
        </p:nvSpPr>
        <p:spPr/>
        <p:txBody>
          <a:bodyPr/>
          <a:lstStyle/>
          <a:p>
            <a:r>
              <a:rPr dirty="0">
                <a:solidFill>
                  <a:srgbClr val="FFFFF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a:xfrm>
            <a:off x="11276011" y="6934200"/>
            <a:ext cx="381661" cy="182880"/>
          </a:xfrm>
        </p:spPr>
        <p:txBody>
          <a:bodyPr/>
          <a:lstStyle>
            <a:lvl1pPr>
              <a:defRPr>
                <a:solidFill>
                  <a:srgbClr val="BCC0C4"/>
                </a:solidFill>
              </a:defRPr>
            </a:lvl1pPr>
          </a:lstStyle>
          <a:p>
            <a:fld id="{C51EAA63-D034-42AE-91FA-B13B9518C7BE}" type="slidenum">
              <a:rPr/>
              <a:pPr/>
              <a:t>‹#›</a:t>
            </a:fld>
            <a:endParaRPr dirty="0"/>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pic>
        <p:nvPicPr>
          <p:cNvPr id="14"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2" y="6263640"/>
            <a:ext cx="1622861" cy="594360"/>
          </a:xfrm>
          <a:prstGeom prst="rect">
            <a:avLst/>
          </a:prstGeom>
        </p:spPr>
      </p:pic>
    </p:spTree>
    <p:extLst>
      <p:ext uri="{BB962C8B-B14F-4D97-AF65-F5344CB8AC3E}">
        <p14:creationId xmlns:p14="http://schemas.microsoft.com/office/powerpoint/2010/main" val="30305137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and 2 Logos">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585FCE51-BA3E-43B9-8C27-47617E4B4FE5}" type="datetime1">
              <a:rPr lang="en-US">
                <a:solidFill>
                  <a:srgbClr val="FFFFFF">
                    <a:lumMod val="60000"/>
                    <a:lumOff val="40000"/>
                  </a:srgbClr>
                </a:solidFill>
              </a:rPr>
              <a:pPr/>
              <a:t>11/10/2016</a:t>
            </a:fld>
            <a:endParaRPr dirty="0">
              <a:solidFill>
                <a:srgbClr val="FFFFFF">
                  <a:lumMod val="60000"/>
                  <a:lumOff val="40000"/>
                </a:srgbClr>
              </a:solidFill>
            </a:endParaRPr>
          </a:p>
        </p:txBody>
      </p:sp>
      <p:sp>
        <p:nvSpPr>
          <p:cNvPr id="11" name="TextBox 10"/>
          <p:cNvSpPr txBox="1"/>
          <p:nvPr/>
        </p:nvSpPr>
        <p:spPr>
          <a:xfrm>
            <a:off x="5989638" y="6556248"/>
            <a:ext cx="2787651" cy="182880"/>
          </a:xfrm>
          <a:prstGeom prst="rect">
            <a:avLst/>
          </a:prstGeom>
          <a:noFill/>
        </p:spPr>
        <p:txBody>
          <a:bodyPr wrap="none" lIns="0" tIns="0" rIns="0" bIns="0" rtlCol="0" anchor="ctr" anchorCtr="0">
            <a:noAutofit/>
          </a:bodyPr>
          <a:lstStyle/>
          <a:p>
            <a:pPr defTabSz="914400"/>
            <a:r>
              <a:rPr sz="800" dirty="0">
                <a:solidFill>
                  <a:srgbClr val="FFFFFF">
                    <a:lumMod val="60000"/>
                    <a:lumOff val="40000"/>
                  </a:srgbClr>
                </a:solidFill>
              </a:rPr>
              <a:t>Copyright © 2014 Oracle and/or its affiliates. All rights reserved.  |</a:t>
            </a:r>
          </a:p>
        </p:txBody>
      </p:sp>
      <p:sp>
        <p:nvSpPr>
          <p:cNvPr id="5" name="Footer Placeholder 4"/>
          <p:cNvSpPr>
            <a:spLocks noGrp="1"/>
          </p:cNvSpPr>
          <p:nvPr>
            <p:ph type="ftr" sz="quarter" idx="11"/>
          </p:nvPr>
        </p:nvSpPr>
        <p:spPr/>
        <p:txBody>
          <a:bodyPr/>
          <a:lstStyle/>
          <a:p>
            <a:r>
              <a:rPr dirty="0">
                <a:solidFill>
                  <a:srgbClr val="FFFFF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a:xfrm>
            <a:off x="11276011" y="6934200"/>
            <a:ext cx="381661" cy="182880"/>
          </a:xfrm>
        </p:spPr>
        <p:txBody>
          <a:bodyPr/>
          <a:lstStyle>
            <a:lvl1pPr>
              <a:defRPr>
                <a:solidFill>
                  <a:srgbClr val="BCC0C4"/>
                </a:solidFill>
              </a:defRPr>
            </a:lvl1pPr>
          </a:lstStyle>
          <a:p>
            <a:fld id="{C51EAA63-D034-42AE-91FA-B13B9518C7BE}" type="slidenum">
              <a:rPr/>
              <a:pPr/>
              <a:t>‹#›</a:t>
            </a:fld>
            <a:endParaRPr dirty="0"/>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pic>
        <p:nvPicPr>
          <p:cNvPr id="14"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2" y="6263640"/>
            <a:ext cx="1622861" cy="594360"/>
          </a:xfrm>
          <a:prstGeom prst="rect">
            <a:avLst/>
          </a:prstGeom>
        </p:spPr>
      </p:pic>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Tree>
    <p:extLst>
      <p:ext uri="{BB962C8B-B14F-4D97-AF65-F5344CB8AC3E}">
        <p14:creationId xmlns:p14="http://schemas.microsoft.com/office/powerpoint/2010/main" val="1574714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ECCD66E-6DF0-4B16-8ACA-D0D93A7B1DC8}"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5" name="Footer Placeholder 4"/>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64167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E248A2DF-98E5-4437-B842-E0DCD9A6A408}"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5" name="Footer Placeholder 4"/>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680169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19" name="Rectangle 18"/>
          <p:cNvSpPr/>
          <p:nvPr userDrawn="1"/>
        </p:nvSpPr>
        <p:spPr>
          <a:xfrm>
            <a:off x="0" y="1546586"/>
            <a:ext cx="12188825" cy="3962399"/>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
        <p:nvSpPr>
          <p:cNvPr id="11" name="Text Placeholder 9"/>
          <p:cNvSpPr>
            <a:spLocks noGrp="1"/>
          </p:cNvSpPr>
          <p:nvPr>
            <p:ph type="body" sz="quarter" idx="11"/>
          </p:nvPr>
        </p:nvSpPr>
        <p:spPr bwMode="white">
          <a:xfrm>
            <a:off x="1063722" y="1896541"/>
            <a:ext cx="10154530" cy="1806223"/>
          </a:xfrm>
        </p:spPr>
        <p:txBody>
          <a:bodyPr lIns="0" tIns="0" rIns="0" bIns="0" anchor="t" anchorCtr="0">
            <a:normAutofit/>
          </a:bodyPr>
          <a:lstStyle>
            <a:lvl1pPr marL="152367" indent="-152367">
              <a:lnSpc>
                <a:spcPct val="90000"/>
              </a:lnSpc>
              <a:spcBef>
                <a:spcPts val="0"/>
              </a:spcBef>
              <a:spcAft>
                <a:spcPts val="2400"/>
              </a:spcAft>
              <a:buNone/>
              <a:defRPr sz="32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hasCustomPrompt="1"/>
          </p:nvPr>
        </p:nvSpPr>
        <p:spPr bwMode="white">
          <a:xfrm>
            <a:off x="1199159" y="3793073"/>
            <a:ext cx="5324145" cy="591937"/>
          </a:xfrm>
          <a:noFill/>
        </p:spPr>
        <p:txBody>
          <a:bodyPr lIns="0" tIns="0" rIns="0" bIns="0" anchor="b" anchorCtr="0">
            <a:normAutofit/>
          </a:bodyPr>
          <a:lstStyle>
            <a:lvl1pPr marL="0" indent="0">
              <a:lnSpc>
                <a:spcPct val="90000"/>
              </a:lnSpc>
              <a:spcBef>
                <a:spcPts val="0"/>
              </a:spcBef>
              <a:spcAft>
                <a:spcPts val="2400"/>
              </a:spcAft>
              <a:buFont typeface="Arial" pitchFamily="34" charset="0"/>
              <a:buNone/>
              <a:defRPr lang="en-US" sz="2700" b="1" kern="1200" cap="none" baseline="0" dirty="0" smtClean="0">
                <a:solidFill>
                  <a:schemeClr val="bg1"/>
                </a:solidFill>
                <a:latin typeface="Arial" pitchFamily="34" charset="0"/>
                <a:ea typeface="+mn-ea"/>
                <a:cs typeface="Arial" pitchFamily="34" charset="0"/>
              </a:defRPr>
            </a:lvl1pPr>
          </a:lstStyle>
          <a:p>
            <a:pPr marL="0" lvl="0" indent="0" algn="l" defTabSz="1218936" rtl="0" eaLnBrk="1" latinLnBrk="0" hangingPunct="1">
              <a:lnSpc>
                <a:spcPct val="75000"/>
              </a:lnSpc>
              <a:spcBef>
                <a:spcPts val="0"/>
              </a:spcBef>
              <a:spcAft>
                <a:spcPts val="0"/>
              </a:spcAft>
              <a:buClr>
                <a:srgbClr val="FF0000"/>
              </a:buClr>
              <a:buFont typeface="Wingdings" pitchFamily="2" charset="2"/>
              <a:buNone/>
            </a:pPr>
            <a:r>
              <a:rPr lang="en-US" dirty="0" smtClean="0"/>
              <a:t>Click to edit name</a:t>
            </a:r>
          </a:p>
        </p:txBody>
      </p:sp>
      <p:sp>
        <p:nvSpPr>
          <p:cNvPr id="8" name="Text Placeholder 22"/>
          <p:cNvSpPr>
            <a:spLocks noGrp="1"/>
          </p:cNvSpPr>
          <p:nvPr>
            <p:ph type="body" sz="quarter" idx="17" hasCustomPrompt="1"/>
          </p:nvPr>
        </p:nvSpPr>
        <p:spPr bwMode="white">
          <a:xfrm>
            <a:off x="1199159" y="4458165"/>
            <a:ext cx="5324145" cy="937931"/>
          </a:xfrm>
          <a:noFill/>
        </p:spPr>
        <p:txBody>
          <a:bodyPr lIns="0" tIns="0" rIns="0" bIns="0" anchor="t" anchorCtr="0">
            <a:normAutofit/>
          </a:bodyPr>
          <a:lstStyle>
            <a:lvl1pPr marL="0" indent="0">
              <a:lnSpc>
                <a:spcPct val="90000"/>
              </a:lnSpc>
              <a:spcBef>
                <a:spcPts val="0"/>
              </a:spcBef>
              <a:spcAft>
                <a:spcPts val="2400"/>
              </a:spcAft>
              <a:buFont typeface="Arial" pitchFamily="34" charset="0"/>
              <a:buNone/>
              <a:defRPr lang="en-US" sz="2100" b="0" kern="1200" cap="none" baseline="0" dirty="0" smtClean="0">
                <a:solidFill>
                  <a:schemeClr val="bg1"/>
                </a:solidFill>
                <a:latin typeface="Arial" pitchFamily="34" charset="0"/>
                <a:ea typeface="+mn-ea"/>
                <a:cs typeface="Arial" pitchFamily="34" charset="0"/>
              </a:defRPr>
            </a:lvl1pPr>
          </a:lstStyle>
          <a:p>
            <a:pPr marL="0" lvl="0" indent="0" algn="l" defTabSz="1218936" rtl="0" eaLnBrk="1" latinLnBrk="0" hangingPunct="1">
              <a:lnSpc>
                <a:spcPct val="75000"/>
              </a:lnSpc>
              <a:spcBef>
                <a:spcPts val="0"/>
              </a:spcBef>
              <a:spcAft>
                <a:spcPts val="0"/>
              </a:spcAft>
              <a:buClr>
                <a:srgbClr val="FF0000"/>
              </a:buClr>
              <a:buFont typeface="Wingdings" pitchFamily="2" charset="2"/>
              <a:buNone/>
            </a:pPr>
            <a:r>
              <a:rPr lang="en-US" dirty="0" smtClean="0"/>
              <a:t>Click to edit title</a:t>
            </a:r>
          </a:p>
        </p:txBody>
      </p:sp>
    </p:spTree>
    <p:extLst>
      <p:ext uri="{BB962C8B-B14F-4D97-AF65-F5344CB8AC3E}">
        <p14:creationId xmlns:p14="http://schemas.microsoft.com/office/powerpoint/2010/main" val="3708294325"/>
      </p:ext>
    </p:extLst>
  </p:cSld>
  <p:clrMapOvr>
    <a:masterClrMapping/>
  </p:clrMapOvr>
  <p:transition spd="med">
    <p:fade/>
  </p:transition>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dirty="0"/>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10"/>
          </p:nvPr>
        </p:nvSpPr>
        <p:spPr/>
        <p:txBody>
          <a:bodyPr>
            <a:noAutofit/>
          </a:bodyPr>
          <a:lstStyle/>
          <a:p>
            <a:fld id="{CECCD66E-6DF0-4B16-8ACA-D0D93A7B1DC8}"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5" name="Footer Placeholder 4"/>
          <p:cNvSpPr>
            <a:spLocks noGrp="1"/>
          </p:cNvSpPr>
          <p:nvPr>
            <p:ph type="ftr" sz="quarter" idx="11"/>
          </p:nvPr>
        </p:nvSpPr>
        <p:spPr/>
        <p:txBody>
          <a:bodyPr>
            <a:noAutofit/>
          </a:body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p:txBody>
          <a:bodyPr>
            <a:noAutofit/>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797118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C35900-9CAD-4F88-ADA2-63803E0474C8}"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5" name="Footer Placeholder 4"/>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09563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p:grpSpPr>
        <p:sp>
          <p:nvSpPr>
            <p:cNvPr id="9" name="Rectangle 8"/>
            <p:cNvSpPr/>
            <p:nvPr/>
          </p:nvSpPr>
          <p:spPr bwMode="gray">
            <a:xfrm>
              <a:off x="-287" y="0"/>
              <a:ext cx="193962"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noAutofit/>
          </a:bodyPr>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noAutofit/>
          </a:bodyPr>
          <a:lstStyle>
            <a:lvl1pPr>
              <a:defRPr>
                <a:solidFill>
                  <a:schemeClr val="bg1">
                    <a:lumMod val="60000"/>
                    <a:lumOff val="40000"/>
                  </a:schemeClr>
                </a:solidFill>
              </a:defRPr>
            </a:lvl1pPr>
          </a:lstStyle>
          <a:p>
            <a:fld id="{19816439-F3A6-4E53-9E59-0015DD1FA257}"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14" name="TextBox 13"/>
          <p:cNvSpPr txBox="1"/>
          <p:nvPr/>
        </p:nvSpPr>
        <p:spPr>
          <a:xfrm>
            <a:off x="5989638" y="6556248"/>
            <a:ext cx="2787651" cy="182880"/>
          </a:xfrm>
          <a:prstGeom prst="rect">
            <a:avLst/>
          </a:prstGeom>
          <a:noFill/>
        </p:spPr>
        <p:txBody>
          <a:bodyPr wrap="none" lIns="0" tIns="0" rIns="0" bIns="0" rtlCol="0" anchor="ctr" anchorCtr="0">
            <a:noAutofit/>
          </a:bodyPr>
          <a:lstStyle/>
          <a:p>
            <a:pPr defTabSz="914400"/>
            <a:r>
              <a:rPr sz="800" dirty="0">
                <a:solidFill>
                  <a:srgbClr val="5F5F5F">
                    <a:lumMod val="60000"/>
                    <a:lumOff val="40000"/>
                  </a:srgbClr>
                </a:solidFill>
              </a:rPr>
              <a:t>Copyright © 2014 Oracle and/or its affiliates. All rights reserved.  |</a:t>
            </a:r>
          </a:p>
        </p:txBody>
      </p:sp>
      <p:sp>
        <p:nvSpPr>
          <p:cNvPr id="5" name="Footer Placeholder 4"/>
          <p:cNvSpPr>
            <a:spLocks noGrp="1"/>
          </p:cNvSpPr>
          <p:nvPr>
            <p:ph type="ftr" sz="quarter" idx="11"/>
          </p:nvPr>
        </p:nvSpPr>
        <p:spPr/>
        <p:txBody>
          <a:bodyPr>
            <a:noAutofit/>
          </a:bodyPr>
          <a:lstStyle>
            <a:lvl1pPr>
              <a:defRPr>
                <a:solidFill>
                  <a:schemeClr val="bg1">
                    <a:lumMod val="60000"/>
                    <a:lumOff val="40000"/>
                  </a:schemeClr>
                </a:solidFill>
              </a:defRPr>
            </a:lvl1p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p:txBody>
          <a:bodyPr>
            <a:noAutofit/>
          </a:bodyPr>
          <a:lstStyle>
            <a:lvl1pPr>
              <a:defRPr>
                <a:solidFill>
                  <a:schemeClr val="bg1">
                    <a:lumMod val="60000"/>
                    <a:lumOff val="40000"/>
                  </a:schemeClr>
                </a:solidFill>
              </a:defRPr>
            </a:lvl1p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5"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2" y="6263640"/>
            <a:ext cx="1622861" cy="594360"/>
          </a:xfrm>
          <a:prstGeom prst="rect">
            <a:avLst/>
          </a:prstGeom>
        </p:spPr>
      </p:pic>
    </p:spTree>
    <p:extLst>
      <p:ext uri="{BB962C8B-B14F-4D97-AF65-F5344CB8AC3E}">
        <p14:creationId xmlns:p14="http://schemas.microsoft.com/office/powerpoint/2010/main" val="3039951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Picture Placeholder 2" descr="A photo of your product can be included here"/>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6CFF0A86-8A92-4FBC-80CD-36517BAA55B7}"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89875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Remote Speaker Pictur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EE11BFD-AD4C-4A98-9D38-1958507EA4E5}" type="datetime1">
              <a:rPr lang="en-US" smtClean="0">
                <a:solidFill>
                  <a:srgbClr val="5F5F5F">
                    <a:lumMod val="60000"/>
                    <a:lumOff val="40000"/>
                  </a:srgbClr>
                </a:solidFill>
              </a:rPr>
              <a:pPr/>
              <a:t>11/10/2016</a:t>
            </a:fld>
            <a:endParaRPr lang="en-US" dirty="0">
              <a:solidFill>
                <a:srgbClr val="5F5F5F">
                  <a:lumMod val="60000"/>
                  <a:lumOff val="40000"/>
                </a:srgbClr>
              </a:solidFill>
            </a:endParaRPr>
          </a:p>
        </p:txBody>
      </p:sp>
      <p:sp>
        <p:nvSpPr>
          <p:cNvPr id="4" name="Footer Placeholder 3"/>
          <p:cNvSpPr>
            <a:spLocks noGrp="1"/>
          </p:cNvSpPr>
          <p:nvPr>
            <p:ph type="ftr" sz="quarter" idx="11"/>
          </p:nvPr>
        </p:nvSpPr>
        <p:spPr/>
        <p:txBody>
          <a:bodyPr/>
          <a:lstStyle/>
          <a:p>
            <a:r>
              <a:rPr lang="en-US" smtClean="0">
                <a:solidFill>
                  <a:srgbClr val="5F5F5F">
                    <a:lumMod val="60000"/>
                    <a:lumOff val="40000"/>
                  </a:srgbClr>
                </a:solidFill>
              </a:rPr>
              <a:t>Oracle Confidential – Internal/Restricted/Highly Restricted</a:t>
            </a:r>
            <a:endParaRPr lang="en-US" dirty="0">
              <a:solidFill>
                <a:srgbClr val="5F5F5F">
                  <a:lumMod val="60000"/>
                  <a:lumOff val="40000"/>
                </a:srgbClr>
              </a:solidFill>
            </a:endParaRPr>
          </a:p>
        </p:txBody>
      </p:sp>
      <p:sp>
        <p:nvSpPr>
          <p:cNvPr id="5" name="Slide Number Placeholder 4"/>
          <p:cNvSpPr>
            <a:spLocks noGrp="1"/>
          </p:cNvSpPr>
          <p:nvPr>
            <p:ph type="sldNum" sz="quarter" idx="12"/>
          </p:nvPr>
        </p:nvSpPr>
        <p:spPr/>
        <p:txBody>
          <a:bodyPr/>
          <a:lstStyle/>
          <a:p>
            <a:fld id="{C51EAA63-D034-42AE-91FA-B13B9518C7BE}" type="slidenum">
              <a:rPr lang="en-US" smtClean="0">
                <a:solidFill>
                  <a:srgbClr val="5F5F5F">
                    <a:lumMod val="60000"/>
                    <a:lumOff val="40000"/>
                  </a:srgbClr>
                </a:solidFill>
              </a:rPr>
              <a:pPr/>
              <a:t>‹#›</a:t>
            </a:fld>
            <a:endParaRPr lang="en-US" dirty="0">
              <a:solidFill>
                <a:srgbClr val="5F5F5F">
                  <a:lumMod val="60000"/>
                  <a:lumOff val="40000"/>
                </a:srgbClr>
              </a:solidFill>
            </a:endParaRPr>
          </a:p>
        </p:txBody>
      </p:sp>
      <p:sp>
        <p:nvSpPr>
          <p:cNvPr id="6" name="Picture Placeholder 2" descr="If presenting remotely, you can insert your photo here"/>
          <p:cNvSpPr>
            <a:spLocks noGrp="1" noChangeAspect="1"/>
          </p:cNvSpPr>
          <p:nvPr>
            <p:ph type="pic" idx="1"/>
          </p:nvPr>
        </p:nvSpPr>
        <p:spPr>
          <a:xfrm>
            <a:off x="2285999" y="1828800"/>
            <a:ext cx="3474720" cy="3841445"/>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1" name="Text Placeholder 10"/>
          <p:cNvSpPr>
            <a:spLocks noGrp="1"/>
          </p:cNvSpPr>
          <p:nvPr>
            <p:ph type="body" sz="quarter" idx="14"/>
          </p:nvPr>
        </p:nvSpPr>
        <p:spPr>
          <a:xfrm>
            <a:off x="6035040" y="1828799"/>
            <a:ext cx="510235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2527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FFFBC65A-03AE-423D-B3EC-68D1D32BF9D6}"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614746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8" name="Picture Placeholder 15" descr="Customer photo can be included here"/>
          <p:cNvSpPr>
            <a:spLocks noGrp="1" noChangeAspect="1"/>
          </p:cNvSpPr>
          <p:nvPr>
            <p:ph type="pic" sz="quarter" idx="14" hasCustomPrompt="1"/>
          </p:nvPr>
        </p:nvSpPr>
        <p:spPr>
          <a:xfrm>
            <a:off x="531812" y="1905000"/>
            <a:ext cx="2194560" cy="3072384"/>
          </a:xfrm>
          <a:no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FFFBC65A-03AE-423D-B3EC-68D1D32BF9D6}"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4976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F189F9BA-FB97-45D5-8F27-56629FBBC98C}"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93627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AA91E92C-9068-4C32-AE92-C97502324FE4}"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76649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5EDC5EE-48A0-4FB5-B27F-88FDBE6F1684}"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69070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12" name="Text Placeholder 22"/>
          <p:cNvSpPr>
            <a:spLocks noGrp="1"/>
          </p:cNvSpPr>
          <p:nvPr>
            <p:ph type="body" sz="quarter" idx="16"/>
          </p:nvPr>
        </p:nvSpPr>
        <p:spPr>
          <a:xfrm>
            <a:off x="609443" y="1501424"/>
            <a:ext cx="3475636" cy="4199467"/>
          </a:xfrm>
          <a:noFill/>
        </p:spPr>
        <p:txBody>
          <a:bodyPr lIns="0" tIns="0" rIns="0" bIns="0" anchor="ctr" anchorCtr="0">
            <a:noAutofit/>
          </a:bodyPr>
          <a:lstStyle>
            <a:lvl1pPr marL="0" marR="0" indent="0" algn="l" defTabSz="304735" rtl="0" eaLnBrk="1" fontAlgn="auto" latinLnBrk="0" hangingPunct="1">
              <a:lnSpc>
                <a:spcPct val="100000"/>
              </a:lnSpc>
              <a:spcBef>
                <a:spcPts val="0"/>
              </a:spcBef>
              <a:spcAft>
                <a:spcPts val="800"/>
              </a:spcAft>
              <a:buClr>
                <a:srgbClr val="FF0000"/>
              </a:buClr>
              <a:buSzPct val="85000"/>
              <a:buFont typeface="Arial" pitchFamily="34" charset="0"/>
              <a:buNone/>
              <a:tabLst/>
              <a:defRPr sz="2400" b="0" cap="none" baseline="0">
                <a:solidFill>
                  <a:schemeClr val="tx1"/>
                </a:solidFill>
              </a:defRPr>
            </a:lvl1pPr>
            <a:lvl2pPr marL="226435" indent="-226435">
              <a:buClr>
                <a:schemeClr val="accent1"/>
              </a:buClr>
              <a:buFont typeface="Wingdings" charset="2"/>
              <a:buChar char="§"/>
              <a:defRPr sz="2100"/>
            </a:lvl2pPr>
          </a:lstStyle>
          <a:p>
            <a:pPr lvl="0"/>
            <a:r>
              <a:rPr lang="en-US" smtClean="0"/>
              <a:t>Click to edit Master text styles</a:t>
            </a:r>
          </a:p>
          <a:p>
            <a:pPr lvl="1"/>
            <a:r>
              <a:rPr lang="en-US" smtClean="0"/>
              <a:t>Second level</a:t>
            </a:r>
          </a:p>
        </p:txBody>
      </p:sp>
      <p:sp>
        <p:nvSpPr>
          <p:cNvPr id="3" name="Chart Placeholder 2"/>
          <p:cNvSpPr>
            <a:spLocks noGrp="1"/>
          </p:cNvSpPr>
          <p:nvPr>
            <p:ph type="chart" sz="quarter" idx="17" hasCustomPrompt="1"/>
          </p:nvPr>
        </p:nvSpPr>
        <p:spPr>
          <a:xfrm>
            <a:off x="4642759" y="1498602"/>
            <a:ext cx="6980262" cy="4202289"/>
          </a:xfrm>
        </p:spPr>
        <p:txBody>
          <a:bodyPr anchor="ctr" anchorCtr="1"/>
          <a:lstStyle>
            <a:lvl1pPr marL="80415" indent="0" algn="ctr">
              <a:buNone/>
              <a:defRPr/>
            </a:lvl1pPr>
          </a:lstStyle>
          <a:p>
            <a:r>
              <a:rPr lang="en-US" dirty="0" smtClean="0"/>
              <a:t>Insert Chart Here</a:t>
            </a:r>
            <a:endParaRPr lang="en-US" dirty="0"/>
          </a:p>
        </p:txBody>
      </p:sp>
      <p:sp>
        <p:nvSpPr>
          <p:cNvPr id="9" name="Title 1"/>
          <p:cNvSpPr>
            <a:spLocks noGrp="1"/>
          </p:cNvSpPr>
          <p:nvPr>
            <p:ph type="title"/>
          </p:nvPr>
        </p:nvSpPr>
        <p:spPr>
          <a:xfrm>
            <a:off x="1072183" y="327385"/>
            <a:ext cx="10969924" cy="1027283"/>
          </a:xfrm>
        </p:spPr>
        <p:txBody>
          <a:bodyPr anchor="t" anchorCtr="0"/>
          <a:lstStyle>
            <a:lvl1pPr>
              <a:defRPr/>
            </a:lvl1pPr>
          </a:lstStyle>
          <a:p>
            <a:r>
              <a:rPr lang="en-US" smtClean="0"/>
              <a:t>Click to edit Master title style</a:t>
            </a:r>
            <a:endParaRPr lang="en-US" dirty="0"/>
          </a:p>
        </p:txBody>
      </p:sp>
      <p:sp>
        <p:nvSpPr>
          <p:cNvPr id="8" name="Rectangle 26"/>
          <p:cNvSpPr>
            <a:spLocks noChangeArrowheads="1"/>
          </p:cNvSpPr>
          <p:nvPr userDrawn="1"/>
        </p:nvSpPr>
        <p:spPr bwMode="auto">
          <a:xfrm flipH="1">
            <a:off x="4227999" y="1491135"/>
            <a:ext cx="36566" cy="4206876"/>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45699" tIns="22848" rIns="45699" bIns="22848" anchor="ctr"/>
          <a:lstStyle/>
          <a:p>
            <a:pPr defTabSz="1218936"/>
            <a:endParaRPr lang="en-US" sz="2400" dirty="0">
              <a:solidFill>
                <a:srgbClr val="000000"/>
              </a:solidFill>
            </a:endParaRPr>
          </a:p>
        </p:txBody>
      </p:sp>
    </p:spTree>
    <p:extLst>
      <p:ext uri="{BB962C8B-B14F-4D97-AF65-F5344CB8AC3E}">
        <p14:creationId xmlns:p14="http://schemas.microsoft.com/office/powerpoint/2010/main" val="3964558175"/>
      </p:ext>
    </p:extLst>
  </p:cSld>
  <p:clrMapOvr>
    <a:masterClrMapping/>
  </p:clrMapOvr>
  <p:transition spd="med">
    <p:fade/>
  </p:transition>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dirty="0"/>
          </a:p>
        </p:txBody>
      </p: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A3CED5-6656-4A7A-BB77-071ABD96C5A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44426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2" name="Title 1" descr="A large metric can be called out here in font size 166pt, Calibri"/>
          <p:cNvSpPr>
            <a:spLocks noGrp="1"/>
          </p:cNvSpPr>
          <p:nvPr>
            <p:ph type="title" hasCustomPrompt="1"/>
          </p:nvPr>
        </p:nvSpPr>
        <p:spPr>
          <a:xfrm>
            <a:off x="760412" y="1524000"/>
            <a:ext cx="4076700" cy="2743200"/>
          </a:xfrm>
        </p:spPr>
        <p:txBody>
          <a:bodyPr anchor="ctr"/>
          <a:lstStyle>
            <a:lvl1pPr algn="r">
              <a:defRPr sz="16600" b="1">
                <a:solidFill>
                  <a:schemeClr val="accent5"/>
                </a:solidFill>
              </a:defRPr>
            </a:lvl1pPr>
          </a:lstStyle>
          <a:p>
            <a:r>
              <a:rPr lang="en-US" dirty="0" smtClean="0"/>
              <a:t>XX</a:t>
            </a:r>
            <a:endParaRPr lang="en-US" dirty="0"/>
          </a:p>
        </p:txBody>
      </p:sp>
      <p:sp>
        <p:nvSpPr>
          <p:cNvPr id="12" name="Text Placeholder 11"/>
          <p:cNvSpPr>
            <a:spLocks noGrp="1"/>
          </p:cNvSpPr>
          <p:nvPr>
            <p:ph type="body" sz="quarter" idx="15"/>
          </p:nvPr>
        </p:nvSpPr>
        <p:spPr>
          <a:xfrm>
            <a:off x="5256213" y="1524000"/>
            <a:ext cx="50292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8A3CED5-6656-4A7A-BB77-071ABD96C5A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75396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noAutofit/>
          </a:bodyPr>
          <a:lstStyle/>
          <a:p>
            <a:fld id="{35287FB7-DD26-4AD5-8D24-298016D86790}"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8" name="Footer Placeholder 7"/>
          <p:cNvSpPr>
            <a:spLocks noGrp="1"/>
          </p:cNvSpPr>
          <p:nvPr>
            <p:ph type="ftr" sz="quarter" idx="11"/>
          </p:nvPr>
        </p:nvSpPr>
        <p:spPr/>
        <p:txBody>
          <a:bodyPr>
            <a:noAutofit/>
          </a:bodyPr>
          <a:lstStyle/>
          <a:p>
            <a:r>
              <a:rPr dirty="0">
                <a:solidFill>
                  <a:srgbClr val="5F5F5F">
                    <a:lumMod val="60000"/>
                    <a:lumOff val="40000"/>
                  </a:srgbClr>
                </a:solidFill>
              </a:rPr>
              <a:t>Oracle Confidential – Internal/Restricted/Highly Restricted</a:t>
            </a:r>
          </a:p>
        </p:txBody>
      </p:sp>
      <p:sp>
        <p:nvSpPr>
          <p:cNvPr id="9" name="Slide Number Placeholder 8"/>
          <p:cNvSpPr>
            <a:spLocks noGrp="1"/>
          </p:cNvSpPr>
          <p:nvPr>
            <p:ph type="sldNum" sz="quarter" idx="12"/>
          </p:nvPr>
        </p:nvSpPr>
        <p:spPr/>
        <p:txBody>
          <a:bodyPr>
            <a:noAutofit/>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62538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52D99EC-ABE5-42A5-B15B-B8C044BE7365}"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4" name="Footer Placeholder 3"/>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84745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dirty="0"/>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3" name="Date Placeholder 2"/>
          <p:cNvSpPr>
            <a:spLocks noGrp="1"/>
          </p:cNvSpPr>
          <p:nvPr>
            <p:ph type="dt" sz="half" idx="10"/>
          </p:nvPr>
        </p:nvSpPr>
        <p:spPr/>
        <p:txBody>
          <a:bodyPr/>
          <a:lstStyle/>
          <a:p>
            <a:fld id="{CD2D53DD-9B43-42E6-B664-927F3AEBDA21}"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4" name="Footer Placeholder 3"/>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7944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53D265-744D-4F8C-A86B-A5B53F14B0D6}"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3" name="Footer Placeholder 2"/>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50551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Content Placeholder 2" descr="Chart using colors from the approved palette included here"/>
          <p:cNvSpPr>
            <a:spLocks noGrp="1"/>
          </p:cNvSpPr>
          <p:nvPr>
            <p:ph idx="1"/>
          </p:nvPr>
        </p:nvSpPr>
        <p:spPr>
          <a:xfrm>
            <a:off x="531662" y="1524000"/>
            <a:ext cx="758952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879725"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2C216A-5BF3-4B4A-AA09-367DB23952F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244017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420517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1" name="Title 10"/>
          <p:cNvSpPr>
            <a:spLocks noGrp="1"/>
          </p:cNvSpPr>
          <p:nvPr>
            <p:ph type="title"/>
          </p:nvPr>
        </p:nvSpPr>
        <p:spPr/>
        <p:txBody>
          <a:bodyPr>
            <a:noAutofit/>
          </a:bodyPr>
          <a:lstStyle/>
          <a:p>
            <a:r>
              <a:rPr lang="en-US" smtClean="0"/>
              <a:t>Click to edit Master title style</a:t>
            </a:r>
            <a:endParaRPr dirty="0"/>
          </a:p>
        </p:txBody>
      </p:sp>
      <p:sp>
        <p:nvSpPr>
          <p:cNvPr id="3" name="Picture Placeholder 2" descr="Two 4-color photos can be included here"/>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4B64933-8490-48F1-856F-778E124FF883}"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40560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Three 4-color photos can be included here"/>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E6F5346-BDDE-46E4-B222-C487F9E706DD}"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756122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pic>
        <p:nvPicPr>
          <p:cNvPr id="6" name="Picture 11"/>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12188825" cy="64177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1072183" y="1602452"/>
            <a:ext cx="10969943" cy="4753192"/>
          </a:xfrm>
        </p:spPr>
        <p:txBody>
          <a:bodyPr>
            <a:noAutofit/>
          </a:bodyPr>
          <a:lstStyle>
            <a:lvl1pPr>
              <a:defRPr sz="1900"/>
            </a:lvl1pPr>
            <a:lvl2pPr>
              <a:defRPr sz="1500"/>
            </a:lvl2pPr>
            <a:lvl3pPr>
              <a:defRPr sz="15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1072183" y="327385"/>
            <a:ext cx="10969943"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520651237"/>
      </p:ext>
    </p:extLst>
  </p:cSld>
  <p:clrMapOvr>
    <a:masterClrMapping/>
  </p:clrMapOvr>
  <p:transition spd="med">
    <p:fade/>
  </p:transition>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Smartphone and Tablet: Horizonta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ick to edit Master title style</a:t>
            </a:r>
            <a:endParaRPr dirty="0"/>
          </a:p>
        </p:txBody>
      </p:sp>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6A15AD86-CD0E-461B-AA18-D070A5CB2CA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2" name="Picture 11" descr="Photos, screen captures, graphics can be inserted in a white mobile phone and tablet"/>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770062" y="1828800"/>
            <a:ext cx="1840875" cy="3887139"/>
          </a:xfrm>
          <a:prstGeom prst="rect">
            <a:avLst/>
          </a:prstGeom>
        </p:spPr>
      </p:pic>
      <p:sp>
        <p:nvSpPr>
          <p:cNvPr id="13" name="Picture Placeholder 2"/>
          <p:cNvSpPr>
            <a:spLocks noGrp="1"/>
          </p:cNvSpPr>
          <p:nvPr>
            <p:ph type="pic" idx="1"/>
          </p:nvPr>
        </p:nvSpPr>
        <p:spPr bwMode="gray">
          <a:xfrm>
            <a:off x="1888693" y="2372664"/>
            <a:ext cx="1618488" cy="2834640"/>
          </a:xfrm>
          <a:solidFill>
            <a:schemeClr val="bg2"/>
          </a:solidFill>
          <a:ln w="12700">
            <a:solidFill>
              <a:schemeClr val="bg2"/>
            </a:solidFill>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390578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Smartphone and Tablet: Vertical">
    <p:spTree>
      <p:nvGrpSpPr>
        <p:cNvPr id="1" name=""/>
        <p:cNvGrpSpPr/>
        <p:nvPr/>
      </p:nvGrpSpPr>
      <p:grpSpPr>
        <a:xfrm>
          <a:off x="0" y="0"/>
          <a:ext cx="0" cy="0"/>
          <a:chOff x="0" y="0"/>
          <a:chExt cx="0" cy="0"/>
        </a:xfrm>
      </p:grpSpPr>
      <p:sp>
        <p:nvSpPr>
          <p:cNvPr id="2" name="Title 1"/>
          <p:cNvSpPr>
            <a:spLocks noGrp="1"/>
          </p:cNvSpPr>
          <p:nvPr>
            <p:ph type="title"/>
          </p:nvPr>
        </p:nvSpPr>
        <p:spPr>
          <a:xfrm>
            <a:off x="531812" y="406400"/>
            <a:ext cx="5852160" cy="889000"/>
          </a:xfrm>
        </p:spPr>
        <p:txBody>
          <a:bodyPr anchor="b">
            <a:noAutofit/>
          </a:bodyPr>
          <a:lstStyle>
            <a:lvl1pPr algn="l">
              <a:defRPr sz="3600" b="0"/>
            </a:lvl1pPr>
          </a:lstStyle>
          <a:p>
            <a:r>
              <a:rPr lang="en-US" dirty="0" smtClean="0"/>
              <a:t>Click to edit Master title style</a:t>
            </a:r>
            <a:endParaRPr dirty="0"/>
          </a:p>
        </p:txBody>
      </p:sp>
      <p:pic>
        <p:nvPicPr>
          <p:cNvPr id="13" name="Picture 12" descr="Photos, screen captures, graphics can be inserted in a white mobile phone and tablet"/>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0" name="Picture 9"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9" name="Picture Placeholder 2"/>
          <p:cNvSpPr>
            <a:spLocks noGrp="1"/>
          </p:cNvSpPr>
          <p:nvPr>
            <p:ph type="pic" idx="13"/>
          </p:nvPr>
        </p:nvSpPr>
        <p:spPr bwMode="gray">
          <a:xfrm>
            <a:off x="6747673" y="1013144"/>
            <a:ext cx="3962137" cy="5252348"/>
          </a:xfrm>
          <a:solidFill>
            <a:schemeClr val="bg2"/>
          </a:solidFill>
          <a:ln w="12700">
            <a:solidFill>
              <a:schemeClr val="bg2"/>
            </a:solidFill>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6A15AD86-CD0E-461B-AA18-D070A5CB2CA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20334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6A15AD86-CD0E-461B-AA18-D070A5CB2CA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257675" y="1584167"/>
            <a:ext cx="5829300" cy="4109594"/>
          </a:xfrm>
          <a:prstGeom prst="rect">
            <a:avLst/>
          </a:prstGeom>
        </p:spPr>
      </p:pic>
      <p:sp>
        <p:nvSpPr>
          <p:cNvPr id="16" name="Picture Placeholder 2"/>
          <p:cNvSpPr>
            <a:spLocks noGrp="1"/>
          </p:cNvSpPr>
          <p:nvPr>
            <p:ph type="pic" idx="13"/>
          </p:nvPr>
        </p:nvSpPr>
        <p:spPr bwMode="gray">
          <a:xfrm>
            <a:off x="4532312" y="1971675"/>
            <a:ext cx="5246688" cy="3324225"/>
          </a:xfrm>
          <a:solidFill>
            <a:schemeClr val="bg2"/>
          </a:solidFill>
          <a:ln w="12700">
            <a:solidFill>
              <a:schemeClr val="bg2"/>
            </a:solidFill>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61299" y="1981200"/>
            <a:ext cx="1877251" cy="3634952"/>
          </a:xfrm>
          <a:prstGeom prst="rect">
            <a:avLst/>
          </a:prstGeom>
        </p:spPr>
      </p:pic>
      <p:sp>
        <p:nvSpPr>
          <p:cNvPr id="18" name="Picture Placeholder 2"/>
          <p:cNvSpPr>
            <a:spLocks noGrp="1"/>
          </p:cNvSpPr>
          <p:nvPr>
            <p:ph type="pic" idx="1"/>
          </p:nvPr>
        </p:nvSpPr>
        <p:spPr bwMode="gray">
          <a:xfrm>
            <a:off x="1885137" y="2363138"/>
            <a:ext cx="1631569" cy="2894661"/>
          </a:xfrm>
          <a:solidFill>
            <a:schemeClr val="bg2"/>
          </a:solidFill>
          <a:ln w="12700">
            <a:solidFill>
              <a:schemeClr val="bg2"/>
            </a:solidFill>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83822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sp>
        <p:nvSpPr>
          <p:cNvPr id="2" name="Title 1"/>
          <p:cNvSpPr>
            <a:spLocks noGrp="1"/>
          </p:cNvSpPr>
          <p:nvPr>
            <p:ph type="title"/>
          </p:nvPr>
        </p:nvSpPr>
        <p:spPr>
          <a:xfrm>
            <a:off x="531811" y="406400"/>
            <a:ext cx="5852160" cy="889000"/>
          </a:xfrm>
        </p:spPr>
        <p:txBody>
          <a:bodyPr anchor="b">
            <a:noAutofit/>
          </a:bodyPr>
          <a:lstStyle>
            <a:lvl1pPr algn="l">
              <a:defRPr sz="3600" b="0"/>
            </a:lvl1pPr>
          </a:lstStyle>
          <a:p>
            <a:r>
              <a:rPr lang="en-US" dirty="0" smtClean="0"/>
              <a:t>Click to edit Master title style</a:t>
            </a:r>
            <a:endParaRPr dirty="0"/>
          </a:p>
        </p:txBody>
      </p:sp>
      <p:sp>
        <p:nvSpPr>
          <p:cNvPr id="5" name="Date Placeholder 4"/>
          <p:cNvSpPr>
            <a:spLocks noGrp="1"/>
          </p:cNvSpPr>
          <p:nvPr>
            <p:ph type="dt" sz="half" idx="10"/>
          </p:nvPr>
        </p:nvSpPr>
        <p:spPr/>
        <p:txBody>
          <a:bodyPr/>
          <a:lstStyle/>
          <a:p>
            <a:fld id="{6A15AD86-CD0E-461B-AA18-D070A5CB2CA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val="0"/>
              </a:ext>
            </a:extLst>
          </a:blip>
          <a:srcRect r="3674"/>
          <a:stretch/>
        </p:blipFill>
        <p:spPr>
          <a:xfrm rot="5400000">
            <a:off x="5794266" y="1258781"/>
            <a:ext cx="5935471" cy="4345394"/>
          </a:xfrm>
          <a:prstGeom prst="rect">
            <a:avLst/>
          </a:prstGeom>
        </p:spPr>
      </p:pic>
      <p:sp>
        <p:nvSpPr>
          <p:cNvPr id="11" name="Picture Placeholder 2"/>
          <p:cNvSpPr>
            <a:spLocks noGrp="1"/>
          </p:cNvSpPr>
          <p:nvPr>
            <p:ph type="pic" idx="13"/>
          </p:nvPr>
        </p:nvSpPr>
        <p:spPr bwMode="gray">
          <a:xfrm>
            <a:off x="7019925" y="771524"/>
            <a:ext cx="3486149" cy="5534025"/>
          </a:xfrm>
          <a:solidFill>
            <a:schemeClr val="bg2"/>
          </a:solidFill>
          <a:ln w="12700">
            <a:solidFill>
              <a:schemeClr val="bg2"/>
            </a:solidFill>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1574" y="2019300"/>
            <a:ext cx="1877251" cy="3634952"/>
          </a:xfrm>
          <a:prstGeom prst="rect">
            <a:avLst/>
          </a:prstGeom>
        </p:spPr>
      </p:pic>
      <p:sp>
        <p:nvSpPr>
          <p:cNvPr id="18" name="Picture Placeholder 2"/>
          <p:cNvSpPr>
            <a:spLocks noGrp="1"/>
          </p:cNvSpPr>
          <p:nvPr>
            <p:ph type="pic" idx="14"/>
          </p:nvPr>
        </p:nvSpPr>
        <p:spPr bwMode="gray">
          <a:xfrm>
            <a:off x="4088968" y="2401238"/>
            <a:ext cx="1618488" cy="2894661"/>
          </a:xfrm>
          <a:solidFill>
            <a:schemeClr val="bg2"/>
          </a:solidFill>
          <a:ln w="12700">
            <a:solidFill>
              <a:schemeClr val="bg2"/>
            </a:solidFill>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113999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2" name="Group 1"/>
          <p:cNvGrpSpPr/>
          <p:nvPr/>
        </p:nvGrpSpPr>
        <p:grpSpPr>
          <a:xfrm>
            <a:off x="-287" y="0"/>
            <a:ext cx="12189399" cy="6858000"/>
            <a:chOff x="-287" y="0"/>
            <a:chExt cx="12189399" cy="6858000"/>
          </a:xfrm>
        </p:grpSpPr>
        <p:sp>
          <p:nvSpPr>
            <p:cNvPr id="10" name="Rectangle 9"/>
            <p:cNvSpPr/>
            <p:nvPr/>
          </p:nvSpPr>
          <p:spPr bwMode="gray">
            <a:xfrm>
              <a:off x="-287" y="0"/>
              <a:ext cx="193962"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11995151" y="5854"/>
              <a:ext cx="193960"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6400800"/>
              <a:ext cx="12189396"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3" name="Rectangle 12"/>
            <p:cNvSpPr/>
            <p:nvPr/>
          </p:nvSpPr>
          <p:spPr bwMode="gray">
            <a:xfrm>
              <a:off x="-286" y="0"/>
              <a:ext cx="12189398" cy="192024"/>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3" name="Title 2"/>
          <p:cNvSpPr>
            <a:spLocks noGrp="1"/>
          </p:cNvSpPr>
          <p:nvPr>
            <p:ph type="title" hasCustomPrompt="1"/>
          </p:nvPr>
        </p:nvSpPr>
        <p:spPr>
          <a:xfrm>
            <a:off x="760412" y="609600"/>
            <a:ext cx="4572000" cy="2044700"/>
          </a:xfrm>
        </p:spPr>
        <p:txBody>
          <a:bodyPr/>
          <a:lstStyle>
            <a:lvl1pPr>
              <a:defRPr sz="13800" b="1"/>
            </a:lvl1pPr>
          </a:lstStyle>
          <a:p>
            <a:r>
              <a:rPr lang="en-US" dirty="0" smtClean="0"/>
              <a:t>XX</a:t>
            </a:r>
            <a:endParaRPr lang="en-US" dirty="0"/>
          </a:p>
        </p:txBody>
      </p:sp>
      <p:sp>
        <p:nvSpPr>
          <p:cNvPr id="22" name="Text Placeholder 12"/>
          <p:cNvSpPr>
            <a:spLocks noGrp="1"/>
          </p:cNvSpPr>
          <p:nvPr>
            <p:ph type="body" sz="quarter" idx="13" hasCustomPrompt="1"/>
          </p:nvPr>
        </p:nvSpPr>
        <p:spPr>
          <a:xfrm>
            <a:off x="760412" y="2666999"/>
            <a:ext cx="45720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5" name="Date Placeholder 4"/>
          <p:cNvSpPr>
            <a:spLocks noGrp="1"/>
          </p:cNvSpPr>
          <p:nvPr>
            <p:ph type="dt" sz="half" idx="10"/>
          </p:nvPr>
        </p:nvSpPr>
        <p:spPr/>
        <p:txBody>
          <a:bodyPr/>
          <a:lstStyle>
            <a:lvl1pPr>
              <a:defRPr>
                <a:solidFill>
                  <a:schemeClr val="bg1">
                    <a:lumMod val="60000"/>
                    <a:lumOff val="40000"/>
                  </a:schemeClr>
                </a:solidFill>
              </a:defRPr>
            </a:lvl1pPr>
          </a:lstStyle>
          <a:p>
            <a:fld id="{43D5EDE7-61B4-4C98-ADE6-D86346041BA3}"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14" name="TextBox 13"/>
          <p:cNvSpPr txBox="1"/>
          <p:nvPr/>
        </p:nvSpPr>
        <p:spPr>
          <a:xfrm>
            <a:off x="5989638" y="6556248"/>
            <a:ext cx="2787651" cy="182880"/>
          </a:xfrm>
          <a:prstGeom prst="rect">
            <a:avLst/>
          </a:prstGeom>
          <a:noFill/>
        </p:spPr>
        <p:txBody>
          <a:bodyPr wrap="none" lIns="0" tIns="0" rIns="0" bIns="0" rtlCol="0" anchor="ctr" anchorCtr="0">
            <a:noAutofit/>
          </a:bodyPr>
          <a:lstStyle/>
          <a:p>
            <a:pPr defTabSz="914400"/>
            <a:r>
              <a:rPr sz="800" dirty="0">
                <a:solidFill>
                  <a:srgbClr val="5F5F5F">
                    <a:lumMod val="60000"/>
                    <a:lumOff val="40000"/>
                  </a:srgbClr>
                </a:solidFill>
              </a:rPr>
              <a:t>Copyright © 2014 Oracle and/or its affiliates. All rights reserved.  |</a:t>
            </a:r>
          </a:p>
        </p:txBody>
      </p:sp>
      <p:sp>
        <p:nvSpPr>
          <p:cNvPr id="6" name="Footer Placeholder 5"/>
          <p:cNvSpPr>
            <a:spLocks noGrp="1"/>
          </p:cNvSpPr>
          <p:nvPr>
            <p:ph type="ftr" sz="quarter" idx="11"/>
          </p:nvPr>
        </p:nvSpPr>
        <p:spPr/>
        <p:txBody>
          <a:bodyPr/>
          <a:lstStyle>
            <a:lvl1pPr>
              <a:defRPr>
                <a:solidFill>
                  <a:schemeClr val="bg1">
                    <a:lumMod val="60000"/>
                    <a:lumOff val="40000"/>
                  </a:schemeClr>
                </a:solidFill>
              </a:defRPr>
            </a:lvl1p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lvl1pPr>
              <a:defRPr>
                <a:solidFill>
                  <a:schemeClr val="bg1">
                    <a:lumMod val="60000"/>
                    <a:lumOff val="40000"/>
                  </a:schemeClr>
                </a:solidFill>
              </a:defRPr>
            </a:lvl1p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15"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2" y="6263640"/>
            <a:ext cx="1622861" cy="594360"/>
          </a:xfrm>
          <a:prstGeom prst="rect">
            <a:avLst/>
          </a:prstGeom>
        </p:spPr>
      </p:pic>
    </p:spTree>
    <p:extLst>
      <p:ext uri="{BB962C8B-B14F-4D97-AF65-F5344CB8AC3E}">
        <p14:creationId xmlns:p14="http://schemas.microsoft.com/office/powerpoint/2010/main" val="2386064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
        <p:nvSpPr>
          <p:cNvPr id="2" name="Date Placeholder 1"/>
          <p:cNvSpPr>
            <a:spLocks noGrp="1"/>
          </p:cNvSpPr>
          <p:nvPr>
            <p:ph type="dt" sz="half" idx="10"/>
          </p:nvPr>
        </p:nvSpPr>
        <p:spPr/>
        <p:txBody>
          <a:bodyPr>
            <a:noAutofit/>
          </a:bodyPr>
          <a:lstStyle/>
          <a:p>
            <a:fld id="{93A56FF2-64EC-4614-951E-8B8E4681BF2B}"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3" name="Footer Placeholder 2"/>
          <p:cNvSpPr>
            <a:spLocks noGrp="1"/>
          </p:cNvSpPr>
          <p:nvPr>
            <p:ph type="ftr" sz="quarter" idx="11"/>
          </p:nvPr>
        </p:nvSpPr>
        <p:spPr/>
        <p:txBody>
          <a:bodyPr>
            <a:noAutofit/>
          </a:bodyPr>
          <a:lstStyle/>
          <a:p>
            <a:r>
              <a:rPr dirty="0">
                <a:solidFill>
                  <a:srgbClr val="5F5F5F">
                    <a:lumMod val="60000"/>
                    <a:lumOff val="40000"/>
                  </a:srgbClr>
                </a:solidFill>
              </a:rPr>
              <a:t>Oracle Confidential – Internal/Restricted/Highly Restricted</a:t>
            </a:r>
          </a:p>
        </p:txBody>
      </p:sp>
      <p:sp>
        <p:nvSpPr>
          <p:cNvPr id="4" name="Slide Number Placeholder 3"/>
          <p:cNvSpPr>
            <a:spLocks noGrp="1"/>
          </p:cNvSpPr>
          <p:nvPr>
            <p:ph type="sldNum" sz="quarter" idx="12"/>
          </p:nvPr>
        </p:nvSpPr>
        <p:spPr/>
        <p:txBody>
          <a:bodyPr>
            <a:noAutofit/>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264448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
        <p:nvSpPr>
          <p:cNvPr id="2" name="Date Placeholder 1"/>
          <p:cNvSpPr>
            <a:spLocks noGrp="1"/>
          </p:cNvSpPr>
          <p:nvPr>
            <p:ph type="dt" sz="half" idx="10"/>
          </p:nvPr>
        </p:nvSpPr>
        <p:spPr/>
        <p:txBody>
          <a:bodyPr>
            <a:noAutofit/>
          </a:bodyPr>
          <a:lstStyle/>
          <a:p>
            <a:fld id="{AD051CE8-BCD3-4683-83D4-D0AC55C5EB15}"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3" name="Footer Placeholder 2"/>
          <p:cNvSpPr>
            <a:spLocks noGrp="1"/>
          </p:cNvSpPr>
          <p:nvPr>
            <p:ph type="ftr" sz="quarter" idx="11"/>
          </p:nvPr>
        </p:nvSpPr>
        <p:spPr/>
        <p:txBody>
          <a:bodyPr>
            <a:noAutofit/>
          </a:bodyPr>
          <a:lstStyle/>
          <a:p>
            <a:r>
              <a:rPr dirty="0">
                <a:solidFill>
                  <a:srgbClr val="5F5F5F">
                    <a:lumMod val="60000"/>
                    <a:lumOff val="40000"/>
                  </a:srgbClr>
                </a:solidFill>
              </a:rPr>
              <a:t>Oracle Confidential – Internal/Restricted/Highly Restricted</a:t>
            </a:r>
          </a:p>
        </p:txBody>
      </p:sp>
      <p:sp>
        <p:nvSpPr>
          <p:cNvPr id="4" name="Slide Number Placeholder 3"/>
          <p:cNvSpPr>
            <a:spLocks noGrp="1"/>
          </p:cNvSpPr>
          <p:nvPr>
            <p:ph type="sldNum" sz="quarter" idx="12"/>
          </p:nvPr>
        </p:nvSpPr>
        <p:spPr/>
        <p:txBody>
          <a:bodyPr>
            <a:noAutofit/>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420790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A9802F-4D43-4C32-8177-0644B387545A}"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3" name="Footer Placeholder 2"/>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pic>
        <p:nvPicPr>
          <p:cNvPr id="8" name="Picture 7" descr="&quot;Hardware and Software Engineered to work together&quot; tagline in red and blac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20860" y="2313432"/>
            <a:ext cx="6547104" cy="1832339"/>
          </a:xfrm>
          <a:prstGeom prst="rect">
            <a:avLst/>
          </a:prstGeom>
        </p:spPr>
      </p:pic>
    </p:spTree>
    <p:extLst>
      <p:ext uri="{BB962C8B-B14F-4D97-AF65-F5344CB8AC3E}">
        <p14:creationId xmlns:p14="http://schemas.microsoft.com/office/powerpoint/2010/main" val="1992113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grpSp>
        <p:nvGrpSpPr>
          <p:cNvPr id="3" name="Group 2"/>
          <p:cNvGrpSpPr/>
          <p:nvPr userDrawn="1"/>
        </p:nvGrpSpPr>
        <p:grpSpPr>
          <a:xfrm>
            <a:off x="-287" y="0"/>
            <a:ext cx="12189399" cy="6858000"/>
            <a:chOff x="-287" y="0"/>
            <a:chExt cx="12189399" cy="6858000"/>
          </a:xfrm>
        </p:grpSpPr>
        <p:sp>
          <p:nvSpPr>
            <p:cNvPr id="6" name="Rectangle 5"/>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pic>
        <p:nvPicPr>
          <p:cNvPr id="11" name="Picture 10"/>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Tree>
    <p:extLst>
      <p:ext uri="{BB962C8B-B14F-4D97-AF65-F5344CB8AC3E}">
        <p14:creationId xmlns:p14="http://schemas.microsoft.com/office/powerpoint/2010/main" val="31612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noAutofit/>
          </a:bodyPr>
          <a:lstStyle/>
          <a:p>
            <a:fld id="{21991926-9D37-40E7-80C4-EC5F27AFCB67}" type="datetimeFigureOut">
              <a:rPr lang="en-US" smtClean="0">
                <a:solidFill>
                  <a:srgbClr val="5F5F5F">
                    <a:lumMod val="60000"/>
                    <a:lumOff val="40000"/>
                  </a:srgbClr>
                </a:solidFill>
              </a:rPr>
              <a:pPr/>
              <a:t>11/10/2016</a:t>
            </a:fld>
            <a:endParaRPr lang="en-US">
              <a:solidFill>
                <a:srgbClr val="5F5F5F">
                  <a:lumMod val="60000"/>
                  <a:lumOff val="40000"/>
                </a:srgbClr>
              </a:solidFill>
            </a:endParaRPr>
          </a:p>
        </p:txBody>
      </p:sp>
      <p:sp>
        <p:nvSpPr>
          <p:cNvPr id="5" name="Footer Placeholder 4"/>
          <p:cNvSpPr>
            <a:spLocks noGrp="1"/>
          </p:cNvSpPr>
          <p:nvPr>
            <p:ph type="ftr" sz="quarter" idx="11"/>
          </p:nvPr>
        </p:nvSpPr>
        <p:spPr/>
        <p:txBody>
          <a:bodyPr>
            <a:noAutofit/>
          </a:bodyPr>
          <a:lstStyle/>
          <a:p>
            <a:endParaRPr lang="en-US">
              <a:solidFill>
                <a:srgbClr val="5F5F5F">
                  <a:lumMod val="60000"/>
                  <a:lumOff val="40000"/>
                </a:srgbClr>
              </a:solidFill>
            </a:endParaRPr>
          </a:p>
        </p:txBody>
      </p:sp>
      <p:sp>
        <p:nvSpPr>
          <p:cNvPr id="6" name="Slide Number Placeholder 5"/>
          <p:cNvSpPr>
            <a:spLocks noGrp="1"/>
          </p:cNvSpPr>
          <p:nvPr>
            <p:ph type="sldNum" sz="quarter" idx="12"/>
          </p:nvPr>
        </p:nvSpPr>
        <p:spPr/>
        <p:txBody>
          <a:bodyPr>
            <a:noAutofit/>
          </a:bodyPr>
          <a:lstStyle/>
          <a:p>
            <a:fld id="{D4EAF17A-378C-49D5-A479-C71FF9D7F1E7}" type="slidenum">
              <a:rPr lang="en-US" smtClean="0">
                <a:solidFill>
                  <a:srgbClr val="5F5F5F">
                    <a:lumMod val="60000"/>
                    <a:lumOff val="40000"/>
                  </a:srgbClr>
                </a:solidFill>
              </a:rPr>
              <a:pPr/>
              <a:t>‹#›</a:t>
            </a:fld>
            <a:endParaRPr lang="en-US">
              <a:solidFill>
                <a:srgbClr val="5F5F5F">
                  <a:lumMod val="60000"/>
                  <a:lumOff val="40000"/>
                </a:srgbClr>
              </a:solidFill>
            </a:endParaRPr>
          </a:p>
        </p:txBody>
      </p:sp>
    </p:spTree>
    <p:extLst>
      <p:ext uri="{BB962C8B-B14F-4D97-AF65-F5344CB8AC3E}">
        <p14:creationId xmlns:p14="http://schemas.microsoft.com/office/powerpoint/2010/main" val="261124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pic>
        <p:nvPicPr>
          <p:cNvPr id="7" name="Picture 11"/>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12188825" cy="64177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1072183" y="1602452"/>
            <a:ext cx="10969943" cy="4753192"/>
          </a:xfrm>
        </p:spPr>
        <p:txBody>
          <a:bodyPr>
            <a:noAutofit/>
          </a:bodyPr>
          <a:lstStyle>
            <a:lvl1pPr>
              <a:defRPr sz="1900"/>
            </a:lvl1pPr>
            <a:lvl2pPr>
              <a:defRPr sz="1500"/>
            </a:lvl2pPr>
            <a:lvl3pPr>
              <a:defRPr sz="15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68" indent="0">
              <a:buFontTx/>
              <a:buNone/>
              <a:defRPr/>
            </a:lvl2pPr>
            <a:lvl3pPr marL="1218936" indent="0">
              <a:buFontTx/>
              <a:buNone/>
              <a:defRPr/>
            </a:lvl3pPr>
            <a:lvl4pPr marL="1828404" indent="0">
              <a:buFontTx/>
              <a:buNone/>
              <a:defRPr/>
            </a:lvl4pPr>
            <a:lvl5pPr marL="2437872" indent="0">
              <a:buFontTx/>
              <a:buNone/>
              <a:defRPr/>
            </a:lvl5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61497494"/>
      </p:ext>
    </p:extLst>
  </p:cSld>
  <p:clrMapOvr>
    <a:masterClrMapping/>
  </p:clrMapOvr>
  <p:transition spd="med">
    <p:fade/>
  </p:transition>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D3D3DC0-E8DA-4DFB-93A6-6089D43271B1}"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5" name="Footer Placeholder 4"/>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41826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1077103" y="1552222"/>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1077105" y="845469"/>
            <a:ext cx="10849323" cy="424921"/>
          </a:xfrm>
        </p:spPr>
        <p:txBody>
          <a:bodyPr/>
          <a:lstStyle>
            <a:lvl1pPr marL="0" indent="0">
              <a:buNone/>
              <a:defRPr sz="2700">
                <a:solidFill>
                  <a:schemeClr val="accent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a:solidFill>
                <a:srgbClr val="000000">
                  <a:tint val="75000"/>
                </a:srgbClr>
              </a:solidFill>
            </a:endParaRPr>
          </a:p>
        </p:txBody>
      </p:sp>
      <p:sp>
        <p:nvSpPr>
          <p:cNvPr id="6" name="Text Box 14"/>
          <p:cNvSpPr txBox="1">
            <a:spLocks noChangeArrowheads="1"/>
          </p:cNvSpPr>
          <p:nvPr userDrawn="1"/>
        </p:nvSpPr>
        <p:spPr bwMode="auto">
          <a:xfrm>
            <a:off x="4164978" y="6500921"/>
            <a:ext cx="3011692" cy="29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003" tIns="23011" rIns="46003" bIns="23011"/>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456857" eaLnBrk="1" hangingPunct="1">
              <a:buClr>
                <a:srgbClr val="829E7E"/>
              </a:buClr>
              <a:buFont typeface="Arial"/>
              <a:buNone/>
              <a:defRPr/>
            </a:pPr>
            <a:r>
              <a:rPr lang="en-US" sz="800" smtClean="0">
                <a:solidFill>
                  <a:srgbClr val="292929"/>
                </a:solidFill>
              </a:rPr>
              <a:t>Confidential – Oracle Restricted</a:t>
            </a:r>
            <a:endParaRPr lang="en-US" sz="1100" smtClean="0">
              <a:solidFill>
                <a:srgbClr val="292929"/>
              </a:solidFill>
            </a:endParaRPr>
          </a:p>
        </p:txBody>
      </p:sp>
    </p:spTree>
    <p:extLst>
      <p:ext uri="{BB962C8B-B14F-4D97-AF65-F5344CB8AC3E}">
        <p14:creationId xmlns:p14="http://schemas.microsoft.com/office/powerpoint/2010/main" val="1184737985"/>
      </p:ext>
    </p:extLst>
  </p:cSld>
  <p:clrMapOvr>
    <a:masterClrMapping/>
  </p:clrMapOvr>
  <p:transition spd="slow">
    <p:wipe dir="r"/>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5" name="Rectangle 4"/>
          <p:cNvSpPr/>
          <p:nvPr userDrawn="1"/>
        </p:nvSpPr>
        <p:spPr>
          <a:xfrm>
            <a:off x="3" y="17"/>
            <a:ext cx="768151" cy="742951"/>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anchor="ctr"/>
          <a:lstStyle/>
          <a:p>
            <a:pPr algn="ctr" defTabSz="1218987">
              <a:defRPr/>
            </a:pPr>
            <a:endParaRPr lang="en-US" sz="1800">
              <a:solidFill>
                <a:prstClr val="white"/>
              </a:solidFill>
            </a:endParaRPr>
          </a:p>
        </p:txBody>
      </p:sp>
      <p:sp>
        <p:nvSpPr>
          <p:cNvPr id="2" name="Title 1"/>
          <p:cNvSpPr>
            <a:spLocks noGrp="1"/>
          </p:cNvSpPr>
          <p:nvPr>
            <p:ph type="title"/>
          </p:nvPr>
        </p:nvSpPr>
        <p:spPr>
          <a:xfrm>
            <a:off x="1072183" y="327387"/>
            <a:ext cx="10969924" cy="541860"/>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oAutofit/>
          </a:bodyPr>
          <a:lstStyle>
            <a:lvl1pPr marL="0" indent="0">
              <a:spcAft>
                <a:spcPts val="0"/>
              </a:spcAft>
              <a:buFontTx/>
              <a:buNone/>
              <a:defRPr sz="2700">
                <a:solidFill>
                  <a:schemeClr val="accent1"/>
                </a:solidFill>
              </a:defRPr>
            </a:lvl1pPr>
            <a:lvl2pPr marL="609493" indent="0">
              <a:buFontTx/>
              <a:buNone/>
              <a:defRPr/>
            </a:lvl2pPr>
            <a:lvl3pPr marL="1218987"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Tree>
    <p:extLst>
      <p:ext uri="{BB962C8B-B14F-4D97-AF65-F5344CB8AC3E}">
        <p14:creationId xmlns:p14="http://schemas.microsoft.com/office/powerpoint/2010/main" val="391664070"/>
      </p:ext>
    </p:extLst>
  </p:cSld>
  <p:clrMapOvr>
    <a:masterClrMapping/>
  </p:clrMapOvr>
  <p:transition spd="med">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F58637A1-2757-41E8-AD98-43E9D0558D9A}" type="datetime1">
              <a:rPr lang="en-US" smtClean="0"/>
              <a:pPr/>
              <a:t>11/10/2016</a:t>
            </a:fld>
            <a:endParaRPr lang="en-US" dirty="0"/>
          </a:p>
        </p:txBody>
      </p:sp>
      <p:sp>
        <p:nvSpPr>
          <p:cNvPr id="8" name="Footer Placeholder 7"/>
          <p:cNvSpPr>
            <a:spLocks noGrp="1"/>
          </p:cNvSpPr>
          <p:nvPr>
            <p:ph type="ftr" sz="quarter" idx="15"/>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t>Oracle Confidential – Internal/Restricted/Highly Restricted</a:t>
            </a:r>
            <a:endParaRPr lang="en-US" sz="1800"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95811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8DA0FC38-0FA5-4886-ABB4-D52548B1A4EE}" type="datetime1">
              <a:rPr lang="en-US" smtClean="0"/>
              <a:pPr/>
              <a:t>11/10/2016</a:t>
            </a:fld>
            <a:endParaRPr lang="en-US" dirty="0"/>
          </a:p>
        </p:txBody>
      </p:sp>
      <p:sp>
        <p:nvSpPr>
          <p:cNvPr id="8" name="Footer Placeholder 7"/>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t>Oracle Confidential – Internal/Restricted/Highly Restricted</a:t>
            </a:r>
            <a:endParaRPr lang="en-US" sz="1800"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591410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title="Title Slide with Pictu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4C505D5A-B256-44E1-AC96-C2C7474C5D8D}"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rPr>
              <a:t>Oracle Confidential – Internal/Restricted/Highly Restricted</a:t>
            </a:r>
            <a:endParaRPr lang="en-US" sz="1800"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235295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B3EEE87-DDB3-4675-99CC-7EF64D192D2F}"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rPr>
              <a:t>Oracle Confidential – Internal/Restricted/Highly Restricted</a:t>
            </a:r>
            <a:endParaRPr lang="en-US" sz="1800"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207858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73022D7-D716-4AF5-B755-D22F080AC54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rPr>
              <a:t>Oracle Confidential – Internal/Restricted/Highly Restricted</a:t>
            </a:r>
            <a:endParaRPr lang="en-US" sz="1800"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7113368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5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4B0713F-DA50-44B8-8328-CFEF845F652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71086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7CD2E52-83C8-44FA-88AD-FB45DDFBF65F}"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87174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6"/>
            <a:ext cx="10969924" cy="1025071"/>
          </a:xfrm>
        </p:spPr>
        <p:txBody>
          <a:bodyPr anchor="t" anchorCtr="0"/>
          <a:lstStyle/>
          <a:p>
            <a:r>
              <a:rPr lang="en-US" smtClean="0"/>
              <a:t>Click to edit Master title style</a:t>
            </a:r>
            <a:endParaRPr lang="en-US" dirty="0"/>
          </a:p>
        </p:txBody>
      </p:sp>
      <p:sp>
        <p:nvSpPr>
          <p:cNvPr id="5" name="Rectangle 4"/>
          <p:cNvSpPr/>
          <p:nvPr userDrawn="1"/>
        </p:nvSpPr>
        <p:spPr>
          <a:xfrm>
            <a:off x="0" y="0"/>
            <a:ext cx="767896" cy="743712"/>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defTabSz="1218936"/>
            <a:endParaRPr lang="en-US" sz="2400" dirty="0">
              <a:solidFill>
                <a:prstClr val="white"/>
              </a:solidFill>
            </a:endParaRPr>
          </a:p>
        </p:txBody>
      </p:sp>
    </p:spTree>
    <p:extLst>
      <p:ext uri="{BB962C8B-B14F-4D97-AF65-F5344CB8AC3E}">
        <p14:creationId xmlns:p14="http://schemas.microsoft.com/office/powerpoint/2010/main" val="389024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B2EC637-D865-4A1A-B82E-96829CE6097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9117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1.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FC69AA-31D1-4BE3-A7F9-4499E9495C0A}"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3157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title="Section Header with Pictu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p:grpSpPr>
        <p:sp>
          <p:nvSpPr>
            <p:cNvPr id="9" name="Rectangle 8"/>
            <p:cNvSpPr/>
            <p:nvPr/>
          </p:nvSpPr>
          <p:spPr bwMode="gray">
            <a:xfrm>
              <a:off x="-287" y="0"/>
              <a:ext cx="193962"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28D98802-C4BE-44EF-A775-109B41689843}" type="datetime1">
              <a:rPr lang="en-US" smtClean="0"/>
              <a:pPr/>
              <a:t>11/10/2016</a:t>
            </a:fld>
            <a:endParaRPr lang="en-US" dirty="0"/>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t>Oracle Confidential – Internal/Restricted/Highly Restricted</a:t>
            </a:r>
            <a:endParaRPr lang="en-US" sz="1800"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698299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4B324B-18FF-4147-BA18-D36160E9F106}"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548554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C8D6732-15F2-4802-8009-37AC693C551A}"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67039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5B7D2015-66F5-48BA-96D8-17D36F2E0AA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57032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B4BFE1CA-6658-4197-8E4E-2C35AF1F1E7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224208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6FBED1B2-9BE1-4BB3-AF93-47A29413317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76910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BE9BFC2-4754-4D3F-B8B7-155C41C1ECF0}"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62529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47832B4-CFEF-4C48-9F00-42AED7DD8CE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600393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90"/>
            <a:ext cx="10969924" cy="1025071"/>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1072183" y="1358904"/>
            <a:ext cx="10969943" cy="46143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1072183" y="800808"/>
            <a:ext cx="10969943" cy="406400"/>
          </a:xfrm>
        </p:spPr>
        <p:txBody>
          <a:bodyPr>
            <a:noAutofit/>
          </a:bodyPr>
          <a:lstStyle>
            <a:lvl1pPr marL="0" indent="0">
              <a:spcAft>
                <a:spcPts val="0"/>
              </a:spcAft>
              <a:buFontTx/>
              <a:buNone/>
              <a:defRPr sz="2700">
                <a:solidFill>
                  <a:schemeClr val="accent1"/>
                </a:solidFill>
              </a:defRPr>
            </a:lvl1pPr>
            <a:lvl2pPr marL="609392" indent="0">
              <a:buFontTx/>
              <a:buNone/>
              <a:defRPr/>
            </a:lvl2pPr>
            <a:lvl3pPr marL="1218784" indent="0">
              <a:buFontTx/>
              <a:buNone/>
              <a:defRPr/>
            </a:lvl3pPr>
            <a:lvl4pPr marL="1828176" indent="0">
              <a:buFontTx/>
              <a:buNone/>
              <a:defRPr/>
            </a:lvl4pPr>
            <a:lvl5pPr marL="2437568" indent="0">
              <a:buFontTx/>
              <a:buNone/>
              <a:defRPr/>
            </a:lvl5pPr>
          </a:lstStyle>
          <a:p>
            <a:pPr lvl="0"/>
            <a:r>
              <a:rPr lang="en-US" dirty="0" smtClean="0"/>
              <a:t>Click to edit Master text styles</a:t>
            </a:r>
          </a:p>
        </p:txBody>
      </p:sp>
    </p:spTree>
  </p:cSld>
  <p:clrMapOvr>
    <a:masterClrMapping/>
  </p:clrMapOvr>
  <p:transition spd="med">
    <p:fade/>
  </p:transition>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C6703CB-F5F4-4371-82F0-CC855CC16EF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82990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834887D-8006-4942-961D-3944DDB3075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5"/>
                </a:solidFill>
              </a:defRPr>
            </a:lvl1pPr>
          </a:lstStyle>
          <a:p>
            <a:r>
              <a:rPr lang="en-US" dirty="0" smtClean="0"/>
              <a:t>XX</a:t>
            </a:r>
            <a:endParaRPr lang="en-US" dirty="0"/>
          </a:p>
        </p:txBody>
      </p:sp>
    </p:spTree>
    <p:extLst>
      <p:ext uri="{BB962C8B-B14F-4D97-AF65-F5344CB8AC3E}">
        <p14:creationId xmlns:p14="http://schemas.microsoft.com/office/powerpoint/2010/main" val="4120473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D9227421-3F85-42F8-BDFD-0A6C36E3C2FA}" type="datetime1">
              <a:rPr lang="en-US" smtClean="0">
                <a:solidFill>
                  <a:srgbClr val="5F5F5F"/>
                </a:solidFill>
              </a:rPr>
              <a:pPr/>
              <a:t>11/10/2016</a:t>
            </a:fld>
            <a:endParaRPr dirty="0">
              <a:solidFill>
                <a:srgbClr val="5F5F5F"/>
              </a:solidFill>
            </a:endParaRPr>
          </a:p>
        </p:txBody>
      </p:sp>
      <p:sp>
        <p:nvSpPr>
          <p:cNvPr id="8" name="Footer Placeholder 7"/>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9" name="Slide Number Placeholder 8"/>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557036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8A1F17C-4AFE-4B02-9BD6-67CB04075FF1}"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1009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10010B8-11AC-4175-BF29-EB4A3C61102F}"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50770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1827CA-F831-46B0-9758-B6BAE0AF4EAB}"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69605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686C7CE-9D23-4A42-845E-2EB69666472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246310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BA32AB-378C-44A6-BBCB-4C90F374D0FC}"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63841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87AD43-539D-4156-9FD6-437CAE9F93F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82170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494F0A-3A42-4B5D-A4C2-90E38C5A794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5709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2183" y="327387"/>
            <a:ext cx="10969924" cy="541860"/>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17" indent="0">
              <a:buFontTx/>
              <a:buNone/>
              <a:defRPr/>
            </a:lvl2pPr>
            <a:lvl3pPr marL="1218835" indent="0">
              <a:buFontTx/>
              <a:buNone/>
              <a:defRPr/>
            </a:lvl3pPr>
            <a:lvl4pPr marL="1828252" indent="0">
              <a:buFontTx/>
              <a:buNone/>
              <a:defRPr/>
            </a:lvl4pPr>
            <a:lvl5pPr marL="2437669"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772204284"/>
      </p:ext>
    </p:extLst>
  </p:cSld>
  <p:clrMapOvr>
    <a:masterClrMapping/>
  </p:clrMapOvr>
  <p:transition spd="med">
    <p:fade/>
  </p:transition>
  <p:timing>
    <p:tnLst>
      <p:par>
        <p:cTn id="1" dur="indefinite" restart="never" nodeType="tmRoot"/>
      </p:par>
    </p:tnLst>
  </p:timing>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title="iOS Smartphone and Tablet: Horizontal Layou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BA0AC74-C01C-456F-BD5D-BCFFCE23EE8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63104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C447B5AF-1809-4D52-BE60-78F570C83F44}"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747673" y="1013144"/>
            <a:ext cx="396213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3" name="Picture 12" descr="Photos, screen captures, graphics can be inserted in a white mobile phone and tablet" title="iOS Smartphone and Tablet: Vertical Layou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63108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title="Android Smartphone and Tablet: Horizont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A2474AE-A74B-49A7-B5B1-A400C0D62D3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975104"/>
            <a:ext cx="5248656" cy="3328416"/>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18452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4B767A9A-D0AC-47FB-851D-810FC45BAB35}"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9" name="Picture 18" descr="Photos, screen captures, graphics can be inserted in a white mobile phone and tablet" title="Android Smartphone and Tablet: Vertic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36754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title="Large metric with 4-color photo"/>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2" name="Group 1"/>
          <p:cNvGrpSpPr/>
          <p:nvPr/>
        </p:nvGrpSpPr>
        <p:grpSpPr>
          <a:xfrm>
            <a:off x="0" y="0"/>
            <a:ext cx="12189399" cy="6858000"/>
            <a:chOff x="-287" y="0"/>
            <a:chExt cx="12189399" cy="6858000"/>
          </a:xfrm>
        </p:grpSpPr>
        <p:sp>
          <p:nvSpPr>
            <p:cNvPr id="10" name="Rectangle 9"/>
            <p:cNvSpPr/>
            <p:nvPr/>
          </p:nvSpPr>
          <p:spPr bwMode="gray">
            <a:xfrm>
              <a:off x="-287" y="0"/>
              <a:ext cx="193962"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11995151" y="5854"/>
              <a:ext cx="193960"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6400800"/>
              <a:ext cx="12189396"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3" name="Rectangle 12"/>
            <p:cNvSpPr/>
            <p:nvPr/>
          </p:nvSpPr>
          <p:spPr bwMode="gray">
            <a:xfrm>
              <a:off x="-286" y="0"/>
              <a:ext cx="12189398" cy="192024"/>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5" name="Date Placeholder 4"/>
          <p:cNvSpPr>
            <a:spLocks noGrp="1"/>
          </p:cNvSpPr>
          <p:nvPr>
            <p:ph type="dt" sz="half" idx="10"/>
          </p:nvPr>
        </p:nvSpPr>
        <p:spPr/>
        <p:txBody>
          <a:bodyPr/>
          <a:lstStyle>
            <a:lvl1pPr>
              <a:defRPr>
                <a:solidFill>
                  <a:srgbClr val="5F5F5F"/>
                </a:solidFill>
              </a:defRPr>
            </a:lvl1pPr>
          </a:lstStyle>
          <a:p>
            <a:fld id="{4ADD7E43-24FB-40CC-971F-1AFB4F96D58C}" type="datetime1">
              <a:rPr lang="en-US" smtClean="0"/>
              <a:pPr/>
              <a:t>11/10/2016</a:t>
            </a:fld>
            <a:endParaRPr lang="en-US" dirty="0"/>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t>Oracle Confidential – Internal/Restricted/Highly Restricted</a:t>
            </a:r>
            <a:endParaRPr lang="en-US" sz="1800"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77923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ACD4C6-5F02-4E1D-8860-E571DA6DFE1F}"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63241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6134E1-025A-423B-B455-DC3D3A91EDB9}"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86952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title="Oracle corporate Tagline in colo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44214A5B-588F-4C90-9D20-DD3B4D6AC865}"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92792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title="Oracle Logo Slid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144818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9AD8BE6-AA7C-4328-9B9F-94628525022E}" type="datetime1">
              <a:rPr lang="en-US" smtClean="0">
                <a:solidFill>
                  <a:srgbClr val="5F5F5F"/>
                </a:solidFill>
              </a:rPr>
              <a:pPr/>
              <a:t>11/10/2016</a:t>
            </a:fld>
            <a:endParaRPr lang="en-US">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lang="en-US" sz="1800" smtClean="0">
                <a:solidFill>
                  <a:srgbClr val="5F5F5F"/>
                </a:solidFill>
              </a:rPr>
              <a:t>Oracle Confidential – Internal/Restricted/Highly Restricted</a:t>
            </a:r>
            <a:endParaRPr lang="en-US" sz="1800">
              <a:solidFill>
                <a:srgbClr val="5F5F5F"/>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F5F5F"/>
                </a:solidFill>
              </a:rPr>
              <a:pPr/>
              <a:t>‹#›</a:t>
            </a:fld>
            <a:endParaRPr lang="en-US">
              <a:solidFill>
                <a:srgbClr val="5F5F5F"/>
              </a:solidFill>
            </a:endParaRPr>
          </a:p>
        </p:txBody>
      </p:sp>
    </p:spTree>
    <p:extLst>
      <p:ext uri="{BB962C8B-B14F-4D97-AF65-F5344CB8AC3E}">
        <p14:creationId xmlns:p14="http://schemas.microsoft.com/office/powerpoint/2010/main" val="1373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9"/>
            <a:ext cx="10969924" cy="1025071"/>
          </a:xfrm>
        </p:spPr>
        <p:txBody>
          <a:bodyPr anchor="t" anchorCtr="0"/>
          <a:lstStyle/>
          <a:p>
            <a:r>
              <a:rPr lang="en-US" smtClean="0"/>
              <a:t>Click to edit Master title style</a:t>
            </a:r>
            <a:endParaRPr lang="en-US" dirty="0"/>
          </a:p>
        </p:txBody>
      </p:sp>
      <p:sp>
        <p:nvSpPr>
          <p:cNvPr id="5" name="Rectangle 4"/>
          <p:cNvSpPr/>
          <p:nvPr userDrawn="1"/>
        </p:nvSpPr>
        <p:spPr>
          <a:xfrm>
            <a:off x="0" y="0"/>
            <a:ext cx="767896" cy="743712"/>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60941" rtlCol="0" anchor="ctr"/>
          <a:lstStyle/>
          <a:p>
            <a:pPr algn="ctr"/>
            <a:endParaRPr lang="en-US">
              <a:solidFill>
                <a:prstClr val="white"/>
              </a:solidFill>
            </a:endParaRPr>
          </a:p>
        </p:txBody>
      </p:sp>
    </p:spTree>
    <p:extLst>
      <p:ext uri="{BB962C8B-B14F-4D97-AF65-F5344CB8AC3E}">
        <p14:creationId xmlns:p14="http://schemas.microsoft.com/office/powerpoint/2010/main" val="389024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B8E2682-7303-4393-9F25-7F1900A10367}"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93014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700"/>
            </a:lvl1pPr>
          </a:lstStyle>
          <a:p>
            <a:r>
              <a:rPr lang="en-US" dirty="0" smtClean="0"/>
              <a:t>Click to edit Master title style</a:t>
            </a:r>
            <a:endParaRPr lang="en-US" dirty="0"/>
          </a:p>
        </p:txBody>
      </p:sp>
    </p:spTree>
    <p:extLst>
      <p:ext uri="{BB962C8B-B14F-4D97-AF65-F5344CB8AC3E}">
        <p14:creationId xmlns:p14="http://schemas.microsoft.com/office/powerpoint/2010/main" val="2446546630"/>
      </p:ext>
    </p:extLst>
  </p:cSld>
  <p:clrMapOvr>
    <a:masterClrMapping/>
  </p:clrMapOvr>
  <p:transition/>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p:nvPr>
        </p:nvSpPr>
        <p:spPr>
          <a:xfrm>
            <a:off x="979102" y="236394"/>
            <a:ext cx="10593806" cy="476225"/>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978236" y="1561033"/>
            <a:ext cx="10594672" cy="4491037"/>
          </a:xfrm>
        </p:spPr>
        <p:txBody>
          <a:bodyPr/>
          <a:lstStyle>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quarter" idx="11"/>
          </p:nvPr>
        </p:nvSpPr>
        <p:spPr>
          <a:xfrm>
            <a:off x="979102" y="668892"/>
            <a:ext cx="10593806" cy="449263"/>
          </a:xfrm>
        </p:spPr>
        <p:txBody>
          <a:bodyPr/>
          <a:lstStyle>
            <a:lvl1pPr marL="0" indent="0">
              <a:buNone/>
              <a:defRPr>
                <a:solidFill>
                  <a:schemeClr val="accent1"/>
                </a:solidFill>
              </a:defRPr>
            </a:lvl1pPr>
          </a:lstStyle>
          <a:p>
            <a:pPr lvl="0"/>
            <a:r>
              <a:rPr lang="en-US" smtClean="0"/>
              <a:t>Click to edit Master text styles</a:t>
            </a:r>
          </a:p>
        </p:txBody>
      </p:sp>
    </p:spTree>
    <p:extLst>
      <p:ext uri="{BB962C8B-B14F-4D97-AF65-F5344CB8AC3E}">
        <p14:creationId xmlns:p14="http://schemas.microsoft.com/office/powerpoint/2010/main" val="3197481193"/>
      </p:ext>
    </p:extLst>
  </p:cSld>
  <p:clrMapOvr>
    <a:masterClrMapping/>
  </p:clrMapOvr>
  <p:transition spd="med">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380706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2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213105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1077103" y="1552222"/>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1077105" y="878116"/>
            <a:ext cx="10849323" cy="424921"/>
          </a:xfrm>
        </p:spPr>
        <p:txBody>
          <a:bodyPr/>
          <a:lstStyle>
            <a:lvl1pPr marL="0" indent="0">
              <a:buNone/>
              <a:defRPr sz="3200">
                <a:solidFill>
                  <a:schemeClr val="accent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
        <p:nvSpPr>
          <p:cNvPr id="5" name="Footer Placeholder 4"/>
          <p:cNvSpPr>
            <a:spLocks noGrp="1"/>
          </p:cNvSpPr>
          <p:nvPr>
            <p:ph type="ftr" sz="quarter" idx="10"/>
          </p:nvPr>
        </p:nvSpPr>
        <p:spPr>
          <a:xfrm>
            <a:off x="8621423" y="6556248"/>
            <a:ext cx="2743200" cy="182880"/>
          </a:xfrm>
          <a:prstGeom prst="rect">
            <a:avLst/>
          </a:prstGeom>
        </p:spPr>
        <p:txBody>
          <a:bodyPr/>
          <a:lstStyle>
            <a:lvl1pPr>
              <a:defRPr/>
            </a:lvl1pPr>
          </a:lstStyle>
          <a:p>
            <a:pPr defTabSz="914400">
              <a:buClr>
                <a:srgbClr val="829E7E"/>
              </a:buClr>
              <a:defRPr/>
            </a:pPr>
            <a:r>
              <a:rPr lang="en-US" sz="1800" smtClean="0">
                <a:solidFill>
                  <a:srgbClr val="000000">
                    <a:tint val="75000"/>
                  </a:srgbClr>
                </a:solidFill>
              </a:rPr>
              <a:t>© 2005 Siebel Systems, Inc. Confidential.</a:t>
            </a:r>
            <a:endParaRPr lang="en-US" sz="1800" dirty="0">
              <a:solidFill>
                <a:srgbClr val="000000">
                  <a:tint val="75000"/>
                </a:srgbClr>
              </a:solidFill>
            </a:endParaRPr>
          </a:p>
        </p:txBody>
      </p:sp>
    </p:spTree>
    <p:extLst>
      <p:ext uri="{BB962C8B-B14F-4D97-AF65-F5344CB8AC3E}">
        <p14:creationId xmlns:p14="http://schemas.microsoft.com/office/powerpoint/2010/main" val="78839336"/>
      </p:ext>
    </p:extLst>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6538" y="142860"/>
            <a:ext cx="10969943" cy="1143000"/>
          </a:xfrm>
        </p:spPr>
        <p:txBody>
          <a:bodyPr/>
          <a:lstStyle/>
          <a:p>
            <a:r>
              <a:rPr lang="fr-FR" smtClean="0"/>
              <a:t>Cliquez pour modifier le style du titre</a:t>
            </a:r>
            <a:endParaRPr lang="fr-FR" dirty="0"/>
          </a:p>
        </p:txBody>
      </p:sp>
      <p:sp>
        <p:nvSpPr>
          <p:cNvPr id="3" name="Rectangle 4"/>
          <p:cNvSpPr>
            <a:spLocks noGrp="1" noChangeArrowheads="1"/>
          </p:cNvSpPr>
          <p:nvPr>
            <p:ph type="sldNum" sz="quarter" idx="10"/>
          </p:nvPr>
        </p:nvSpPr>
        <p:spPr>
          <a:xfrm>
            <a:off x="304721" y="6146803"/>
            <a:ext cx="914162" cy="342900"/>
          </a:xfrm>
          <a:prstGeom prst="rect">
            <a:avLst/>
          </a:prstGeom>
          <a:ln/>
        </p:spPr>
        <p:txBody>
          <a:bodyPr/>
          <a:lstStyle>
            <a:lvl1pPr>
              <a:defRPr/>
            </a:lvl1pPr>
          </a:lstStyle>
          <a:p>
            <a:pPr>
              <a:defRPr/>
            </a:pPr>
            <a:fld id="{014C4AE8-6643-4E84-BA1A-ECD40571EF33}" type="slidenum">
              <a:rPr lang="fr-FR">
                <a:solidFill>
                  <a:srgbClr val="5F5F5F"/>
                </a:solidFill>
              </a:rPr>
              <a:pPr>
                <a:defRPr/>
              </a:pPr>
              <a:t>‹#›</a:t>
            </a:fld>
            <a:endParaRPr lang="fr-FR">
              <a:solidFill>
                <a:srgbClr val="5F5F5F"/>
              </a:solidFill>
            </a:endParaRPr>
          </a:p>
        </p:txBody>
      </p:sp>
    </p:spTree>
    <p:extLst>
      <p:ext uri="{BB962C8B-B14F-4D97-AF65-F5344CB8AC3E}">
        <p14:creationId xmlns:p14="http://schemas.microsoft.com/office/powerpoint/2010/main" val="237211523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F58637A1-2757-41E8-AD98-43E9D0558D9A}" type="datetime1">
              <a:rPr lang="en-US" smtClean="0"/>
              <a:pPr/>
              <a:t>11/10/2016</a:t>
            </a:fld>
            <a:endParaRPr lang="en-US" dirty="0"/>
          </a:p>
        </p:txBody>
      </p:sp>
      <p:sp>
        <p:nvSpPr>
          <p:cNvPr id="8" name="Footer Placeholder 7"/>
          <p:cNvSpPr>
            <a:spLocks noGrp="1"/>
          </p:cNvSpPr>
          <p:nvPr>
            <p:ph type="ftr" sz="quarter" idx="15"/>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t>Oracle Confidential – Internal/Restricted/Highly Restricted</a:t>
            </a:r>
            <a:endParaRPr lang="en-US" sz="1800"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63750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8DA0FC38-0FA5-4886-ABB4-D52548B1A4EE}" type="datetime1">
              <a:rPr lang="en-US" smtClean="0"/>
              <a:pPr/>
              <a:t>11/10/2016</a:t>
            </a:fld>
            <a:endParaRPr lang="en-US" dirty="0"/>
          </a:p>
        </p:txBody>
      </p:sp>
      <p:sp>
        <p:nvSpPr>
          <p:cNvPr id="8" name="Footer Placeholder 7"/>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t>Oracle Confidential – Internal/Restricted/Highly Restricted</a:t>
            </a:r>
            <a:endParaRPr lang="en-US" sz="1800"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14081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title="Title Slide with Pictu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4C505D5A-B256-44E1-AC96-C2C7474C5D8D}"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rPr>
              <a:t>Oracle Confidential – Internal/Restricted/Highly Restricted</a:t>
            </a:r>
            <a:endParaRPr lang="en-US" sz="1800"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187342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New Template_Case Study">
    <p:spTree>
      <p:nvGrpSpPr>
        <p:cNvPr id="1" name=""/>
        <p:cNvGrpSpPr/>
        <p:nvPr/>
      </p:nvGrpSpPr>
      <p:grpSpPr>
        <a:xfrm>
          <a:off x="0" y="0"/>
          <a:ext cx="0" cy="0"/>
          <a:chOff x="0" y="0"/>
          <a:chExt cx="0" cy="0"/>
        </a:xfrm>
      </p:grpSpPr>
      <p:sp>
        <p:nvSpPr>
          <p:cNvPr id="7" name="Rectangle 6"/>
          <p:cNvSpPr/>
          <p:nvPr userDrawn="1"/>
        </p:nvSpPr>
        <p:spPr>
          <a:xfrm>
            <a:off x="-1" y="2288588"/>
            <a:ext cx="5710690" cy="322730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60941" rtlCol="0" anchor="ctr"/>
          <a:lstStyle/>
          <a:p>
            <a:pPr algn="ctr"/>
            <a:endParaRPr lang="en-US"/>
          </a:p>
        </p:txBody>
      </p:sp>
      <p:sp>
        <p:nvSpPr>
          <p:cNvPr id="8" name="Rectangle 7"/>
          <p:cNvSpPr/>
          <p:nvPr userDrawn="1"/>
        </p:nvSpPr>
        <p:spPr bwMode="auto">
          <a:xfrm>
            <a:off x="2031" y="1542202"/>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1" tIns="61365" rIns="122731" bIns="61365" anchor="ctr"/>
          <a:lstStyle/>
          <a:p>
            <a:pPr marL="158703" indent="-158703" algn="ctr">
              <a:defRPr/>
            </a:pPr>
            <a:endParaRPr lang="en-US" sz="53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8"/>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222717205"/>
      </p:ext>
    </p:extLst>
  </p:cSld>
  <p:clrMapOvr>
    <a:masterClrMapping/>
  </p:clrMapOvr>
  <p:transition spd="med">
    <p:fade/>
  </p:transition>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B3EEE87-DDB3-4675-99CC-7EF64D192D2F}"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rPr>
              <a:t>Oracle Confidential – Internal/Restricted/Highly Restricted</a:t>
            </a:r>
            <a:endParaRPr lang="en-US" sz="1800"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793086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73022D7-D716-4AF5-B755-D22F080AC54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chemeClr val="tx1"/>
                </a:solidFill>
              </a:defRPr>
            </a:lvl1pPr>
          </a:lstStyle>
          <a:p>
            <a:pPr defTabSz="914400"/>
            <a:r>
              <a:rPr lang="en-US" sz="1800" smtClean="0">
                <a:solidFill>
                  <a:srgbClr val="FFFFFF"/>
                </a:solidFill>
              </a:rPr>
              <a:t>Oracle Confidential – Internal/Restricted/Highly Restricted</a:t>
            </a:r>
            <a:endParaRPr lang="en-US" sz="1800"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812276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4B0713F-DA50-44B8-8328-CFEF845F652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14552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7CD2E52-83C8-44FA-88AD-FB45DDFBF65F}"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231661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B2EC637-D865-4A1A-B82E-96829CE6097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5180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FC69AA-31D1-4BE3-A7F9-4499E9495C0A}"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98885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title="Section Header with Pictu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p:grpSpPr>
        <p:sp>
          <p:nvSpPr>
            <p:cNvPr id="9" name="Rectangle 8"/>
            <p:cNvSpPr/>
            <p:nvPr/>
          </p:nvSpPr>
          <p:spPr bwMode="gray">
            <a:xfrm>
              <a:off x="-287" y="0"/>
              <a:ext cx="193962"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28D98802-C4BE-44EF-A775-109B41689843}" type="datetime1">
              <a:rPr lang="en-US" smtClean="0"/>
              <a:pPr/>
              <a:t>11/10/2016</a:t>
            </a:fld>
            <a:endParaRPr lang="en-US" dirty="0"/>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t>Oracle Confidential – Internal/Restricted/Highly Restricted</a:t>
            </a:r>
            <a:endParaRPr lang="en-US" sz="1800"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563952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4B324B-18FF-4147-BA18-D36160E9F106}"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46164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C8D6732-15F2-4802-8009-37AC693C551A}"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62477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5B7D2015-66F5-48BA-96D8-17D36F2E0AA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22916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3"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ECCD66E-6DF0-4B16-8ACA-D0D93A7B1DC8}" type="datetime1">
              <a:rPr lang="en-US">
                <a:solidFill>
                  <a:srgbClr val="5F5F5F">
                    <a:lumMod val="60000"/>
                    <a:lumOff val="40000"/>
                  </a:srgbClr>
                </a:solidFill>
              </a:rPr>
              <a:pPr/>
              <a:t>11/10/2016</a:t>
            </a:fld>
            <a:endParaRPr dirty="0">
              <a:solidFill>
                <a:srgbClr val="5F5F5F">
                  <a:lumMod val="60000"/>
                  <a:lumOff val="40000"/>
                </a:srgbClr>
              </a:solidFill>
            </a:endParaRPr>
          </a:p>
        </p:txBody>
      </p:sp>
    </p:spTree>
    <p:extLst>
      <p:ext uri="{BB962C8B-B14F-4D97-AF65-F5344CB8AC3E}">
        <p14:creationId xmlns:p14="http://schemas.microsoft.com/office/powerpoint/2010/main" val="20752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Picture and Logo">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dirty="0"/>
          </a:p>
        </p:txBody>
      </p:sp>
      <p:sp>
        <p:nvSpPr>
          <p:cNvPr id="2" name="Title 1"/>
          <p:cNvSpPr>
            <a:spLocks noGrp="1"/>
          </p:cNvSpPr>
          <p:nvPr>
            <p:ph type="ctrTitle"/>
          </p:nvPr>
        </p:nvSpPr>
        <p:spPr>
          <a:xfrm>
            <a:off x="531813" y="739780"/>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141" indent="0" algn="ctr">
              <a:buNone/>
              <a:defRPr>
                <a:solidFill>
                  <a:schemeClr val="tx1">
                    <a:tint val="75000"/>
                  </a:schemeClr>
                </a:solidFill>
              </a:defRPr>
            </a:lvl2pPr>
            <a:lvl3pPr marL="914285" indent="0" algn="ctr">
              <a:buNone/>
              <a:defRPr>
                <a:solidFill>
                  <a:schemeClr val="tx1">
                    <a:tint val="75000"/>
                  </a:schemeClr>
                </a:solidFill>
              </a:defRPr>
            </a:lvl3pPr>
            <a:lvl4pPr marL="1371428" indent="0" algn="ctr">
              <a:buNone/>
              <a:defRPr>
                <a:solidFill>
                  <a:schemeClr val="tx1">
                    <a:tint val="75000"/>
                  </a:schemeClr>
                </a:solidFill>
              </a:defRPr>
            </a:lvl4pPr>
            <a:lvl5pPr marL="1828572" indent="0" algn="ctr">
              <a:buNone/>
              <a:defRPr>
                <a:solidFill>
                  <a:schemeClr val="tx1">
                    <a:tint val="75000"/>
                  </a:schemeClr>
                </a:solidFill>
              </a:defRPr>
            </a:lvl5pPr>
            <a:lvl6pPr marL="2285713"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4"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2"/>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585FCE51-BA3E-43B9-8C27-47617E4B4FE5}" type="datetime1">
              <a:rPr lang="en-US"/>
              <a:pPr/>
              <a:t>11/10/2016</a:t>
            </a:fld>
            <a:endParaRPr dirty="0"/>
          </a:p>
        </p:txBody>
      </p:sp>
      <p:sp>
        <p:nvSpPr>
          <p:cNvPr id="11" name="TextBox 10"/>
          <p:cNvSpPr txBox="1"/>
          <p:nvPr/>
        </p:nvSpPr>
        <p:spPr>
          <a:xfrm>
            <a:off x="5989642" y="6556248"/>
            <a:ext cx="2787651" cy="182880"/>
          </a:xfrm>
          <a:prstGeom prst="rect">
            <a:avLst/>
          </a:prstGeom>
          <a:noFill/>
        </p:spPr>
        <p:txBody>
          <a:bodyPr wrap="none" lIns="0" tIns="0" rIns="0" bIns="0" rtlCol="0" anchor="ctr" anchorCtr="0">
            <a:noAutofit/>
          </a:bodyPr>
          <a:lstStyle/>
          <a:p>
            <a:r>
              <a:rPr sz="800" dirty="0">
                <a:solidFill>
                  <a:schemeClr val="tx1">
                    <a:lumMod val="60000"/>
                    <a:lumOff val="40000"/>
                  </a:schemeClr>
                </a:solidFill>
              </a:rPr>
              <a:t>Copyright © 2014 Oracle and/or its affiliates. All rights reserved.  |</a:t>
            </a:r>
          </a:p>
        </p:txBody>
      </p:sp>
      <p:sp>
        <p:nvSpPr>
          <p:cNvPr id="5" name="Footer Placeholder 4"/>
          <p:cNvSpPr>
            <a:spLocks noGrp="1"/>
          </p:cNvSpPr>
          <p:nvPr>
            <p:ph type="ftr" sz="quarter" idx="11"/>
          </p:nvPr>
        </p:nvSpPr>
        <p:spPr>
          <a:xfrm>
            <a:off x="8777290" y="6556248"/>
            <a:ext cx="2498722" cy="182880"/>
          </a:xfrm>
          <a:prstGeom prst="rect">
            <a:avLst/>
          </a:prstGeom>
        </p:spPr>
        <p:txBody>
          <a:bodyPr/>
          <a:lstStyle/>
          <a:p>
            <a:r>
              <a:rPr dirty="0"/>
              <a:t>Oracle Confidential – Internal/Restricted/Highly Restricted</a:t>
            </a:r>
          </a:p>
        </p:txBody>
      </p:sp>
      <p:sp>
        <p:nvSpPr>
          <p:cNvPr id="6" name="Slide Number Placeholder 5"/>
          <p:cNvSpPr>
            <a:spLocks noGrp="1"/>
          </p:cNvSpPr>
          <p:nvPr>
            <p:ph type="sldNum" sz="quarter" idx="12"/>
          </p:nvPr>
        </p:nvSpPr>
        <p:spPr>
          <a:xfrm>
            <a:off x="11276012" y="6934200"/>
            <a:ext cx="381661" cy="182880"/>
          </a:xfrm>
        </p:spPr>
        <p:txBody>
          <a:bodyPr/>
          <a:lstStyle>
            <a:lvl1pPr>
              <a:defRPr>
                <a:solidFill>
                  <a:srgbClr val="BCC0C4"/>
                </a:solidFill>
              </a:defRPr>
            </a:lvl1pPr>
          </a:lstStyle>
          <a:p>
            <a:fld id="{C51EAA63-D034-42AE-91FA-B13B9518C7BE}" type="slidenum">
              <a:rPr/>
              <a:pPr/>
              <a:t>‹#›</a:t>
            </a:fld>
            <a:endParaRPr dirty="0"/>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dirty="0"/>
          </a:p>
        </p:txBody>
      </p:sp>
      <p:sp>
        <p:nvSpPr>
          <p:cNvPr id="21" name="Text Placeholder 12"/>
          <p:cNvSpPr>
            <a:spLocks noGrp="1"/>
          </p:cNvSpPr>
          <p:nvPr>
            <p:ph type="body" sz="quarter" idx="15" hasCustomPrompt="1"/>
          </p:nvPr>
        </p:nvSpPr>
        <p:spPr>
          <a:xfrm>
            <a:off x="9904412" y="228600"/>
            <a:ext cx="1676401" cy="228600"/>
          </a:xfrm>
        </p:spPr>
        <p:txBody>
          <a:bodyPr anchor="b">
            <a:normAutofit/>
          </a:bodyPr>
          <a:lstStyle>
            <a:lvl1pPr marL="1588" indent="0" algn="ctr">
              <a:spcBef>
                <a:spcPts val="0"/>
              </a:spcBef>
              <a:buFontTx/>
              <a:buNone/>
              <a:defRPr sz="15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pic>
        <p:nvPicPr>
          <p:cNvPr id="14"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6" y="6263640"/>
            <a:ext cx="1622861" cy="594360"/>
          </a:xfrm>
          <a:prstGeom prst="rect">
            <a:avLst/>
          </a:prstGeom>
        </p:spPr>
      </p:pic>
    </p:spTree>
    <p:extLst>
      <p:ext uri="{BB962C8B-B14F-4D97-AF65-F5344CB8AC3E}">
        <p14:creationId xmlns:p14="http://schemas.microsoft.com/office/powerpoint/2010/main" val="306378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B4BFE1CA-6658-4197-8E4E-2C35AF1F1E7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23483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6FBED1B2-9BE1-4BB3-AF93-47A29413317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048105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BE9BFC2-4754-4D3F-B8B7-155C41C1ECF0}"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753416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47832B4-CFEF-4C48-9F00-42AED7DD8CE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18184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C6703CB-F5F4-4371-82F0-CC855CC16EF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29034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834887D-8006-4942-961D-3944DDB3075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5"/>
                </a:solidFill>
              </a:defRPr>
            </a:lvl1pPr>
          </a:lstStyle>
          <a:p>
            <a:r>
              <a:rPr lang="en-US" dirty="0" smtClean="0"/>
              <a:t>XX</a:t>
            </a:r>
            <a:endParaRPr lang="en-US" dirty="0"/>
          </a:p>
        </p:txBody>
      </p:sp>
    </p:spTree>
    <p:extLst>
      <p:ext uri="{BB962C8B-B14F-4D97-AF65-F5344CB8AC3E}">
        <p14:creationId xmlns:p14="http://schemas.microsoft.com/office/powerpoint/2010/main" val="48833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D9227421-3F85-42F8-BDFD-0A6C36E3C2FA}" type="datetime1">
              <a:rPr lang="en-US" smtClean="0">
                <a:solidFill>
                  <a:srgbClr val="5F5F5F"/>
                </a:solidFill>
              </a:rPr>
              <a:pPr/>
              <a:t>11/10/2016</a:t>
            </a:fld>
            <a:endParaRPr dirty="0">
              <a:solidFill>
                <a:srgbClr val="5F5F5F"/>
              </a:solidFill>
            </a:endParaRPr>
          </a:p>
        </p:txBody>
      </p:sp>
      <p:sp>
        <p:nvSpPr>
          <p:cNvPr id="8" name="Footer Placeholder 7"/>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9" name="Slide Number Placeholder 8"/>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84904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8A1F17C-4AFE-4B02-9BD6-67CB04075FF1}"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176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10010B8-11AC-4175-BF29-EB4A3C61102F}"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670597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1827CA-F831-46B0-9758-B6BAE0AF4EAB}"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30352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Picture and 2 Logos">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dirty="0"/>
          </a:p>
        </p:txBody>
      </p:sp>
      <p:sp>
        <p:nvSpPr>
          <p:cNvPr id="2" name="Title 1"/>
          <p:cNvSpPr>
            <a:spLocks noGrp="1"/>
          </p:cNvSpPr>
          <p:nvPr>
            <p:ph type="ctrTitle"/>
          </p:nvPr>
        </p:nvSpPr>
        <p:spPr>
          <a:xfrm>
            <a:off x="531813" y="739780"/>
            <a:ext cx="8763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8764141" cy="914400"/>
          </a:xfrm>
        </p:spPr>
        <p:txBody>
          <a:bodyPr>
            <a:noAutofit/>
          </a:bodyPr>
          <a:lstStyle>
            <a:lvl1pPr marL="0" indent="0" algn="l">
              <a:spcBef>
                <a:spcPts val="0"/>
              </a:spcBef>
              <a:buNone/>
              <a:defRPr sz="2400" b="1">
                <a:solidFill>
                  <a:schemeClr val="tx1"/>
                </a:solidFill>
              </a:defRPr>
            </a:lvl1pPr>
            <a:lvl2pPr marL="457141" indent="0" algn="ctr">
              <a:buNone/>
              <a:defRPr>
                <a:solidFill>
                  <a:schemeClr val="tx1">
                    <a:tint val="75000"/>
                  </a:schemeClr>
                </a:solidFill>
              </a:defRPr>
            </a:lvl2pPr>
            <a:lvl3pPr marL="914285" indent="0" algn="ctr">
              <a:buNone/>
              <a:defRPr>
                <a:solidFill>
                  <a:schemeClr val="tx1">
                    <a:tint val="75000"/>
                  </a:schemeClr>
                </a:solidFill>
              </a:defRPr>
            </a:lvl3pPr>
            <a:lvl4pPr marL="1371428" indent="0" algn="ctr">
              <a:buNone/>
              <a:defRPr>
                <a:solidFill>
                  <a:schemeClr val="tx1">
                    <a:tint val="75000"/>
                  </a:schemeClr>
                </a:solidFill>
              </a:defRPr>
            </a:lvl4pPr>
            <a:lvl5pPr marL="1828572" indent="0" algn="ctr">
              <a:buNone/>
              <a:defRPr>
                <a:solidFill>
                  <a:schemeClr val="tx1">
                    <a:tint val="75000"/>
                  </a:schemeClr>
                </a:solidFill>
              </a:defRPr>
            </a:lvl5pPr>
            <a:lvl6pPr marL="2285713" indent="0" algn="ctr">
              <a:buNone/>
              <a:defRPr>
                <a:solidFill>
                  <a:schemeClr val="tx1">
                    <a:tint val="75000"/>
                  </a:schemeClr>
                </a:solidFill>
              </a:defRPr>
            </a:lvl6pPr>
            <a:lvl7pPr marL="2742857" indent="0" algn="ctr">
              <a:buNone/>
              <a:defRPr>
                <a:solidFill>
                  <a:schemeClr val="tx1">
                    <a:tint val="75000"/>
                  </a:schemeClr>
                </a:solidFill>
              </a:defRPr>
            </a:lvl7pPr>
            <a:lvl8pPr marL="3200000" indent="0" algn="ctr">
              <a:buNone/>
              <a:defRPr>
                <a:solidFill>
                  <a:schemeClr val="tx1">
                    <a:tint val="75000"/>
                  </a:schemeClr>
                </a:solidFill>
              </a:defRPr>
            </a:lvl8pPr>
            <a:lvl9pPr marL="3657144"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2"/>
            <a:ext cx="8763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4" name="Date Placeholder 3"/>
          <p:cNvSpPr>
            <a:spLocks noGrp="1"/>
          </p:cNvSpPr>
          <p:nvPr>
            <p:ph type="dt" sz="half" idx="10"/>
          </p:nvPr>
        </p:nvSpPr>
        <p:spPr/>
        <p:txBody>
          <a:bodyPr/>
          <a:lstStyle/>
          <a:p>
            <a:fld id="{585FCE51-BA3E-43B9-8C27-47617E4B4FE5}" type="datetime1">
              <a:rPr lang="en-US"/>
              <a:pPr/>
              <a:t>11/10/2016</a:t>
            </a:fld>
            <a:endParaRPr dirty="0"/>
          </a:p>
        </p:txBody>
      </p:sp>
      <p:sp>
        <p:nvSpPr>
          <p:cNvPr id="11" name="TextBox 10"/>
          <p:cNvSpPr txBox="1"/>
          <p:nvPr/>
        </p:nvSpPr>
        <p:spPr>
          <a:xfrm>
            <a:off x="5989642" y="6556248"/>
            <a:ext cx="2787651" cy="182880"/>
          </a:xfrm>
          <a:prstGeom prst="rect">
            <a:avLst/>
          </a:prstGeom>
          <a:noFill/>
        </p:spPr>
        <p:txBody>
          <a:bodyPr wrap="none" lIns="0" tIns="0" rIns="0" bIns="0" rtlCol="0" anchor="ctr" anchorCtr="0">
            <a:noAutofit/>
          </a:bodyPr>
          <a:lstStyle/>
          <a:p>
            <a:r>
              <a:rPr sz="800" dirty="0">
                <a:solidFill>
                  <a:schemeClr val="tx1">
                    <a:lumMod val="60000"/>
                    <a:lumOff val="40000"/>
                  </a:schemeClr>
                </a:solidFill>
              </a:rPr>
              <a:t>Copyright © 2014 Oracle and/or its affiliates. All rights reserved.  |</a:t>
            </a:r>
          </a:p>
        </p:txBody>
      </p:sp>
      <p:sp>
        <p:nvSpPr>
          <p:cNvPr id="5" name="Footer Placeholder 4"/>
          <p:cNvSpPr>
            <a:spLocks noGrp="1"/>
          </p:cNvSpPr>
          <p:nvPr>
            <p:ph type="ftr" sz="quarter" idx="11"/>
          </p:nvPr>
        </p:nvSpPr>
        <p:spPr>
          <a:xfrm>
            <a:off x="8777290" y="6556248"/>
            <a:ext cx="2498722" cy="182880"/>
          </a:xfrm>
          <a:prstGeom prst="rect">
            <a:avLst/>
          </a:prstGeom>
        </p:spPr>
        <p:txBody>
          <a:bodyPr/>
          <a:lstStyle/>
          <a:p>
            <a:r>
              <a:rPr dirty="0"/>
              <a:t>Oracle Confidential – Internal/Restricted/Highly Restricted</a:t>
            </a:r>
          </a:p>
        </p:txBody>
      </p:sp>
      <p:sp>
        <p:nvSpPr>
          <p:cNvPr id="6" name="Slide Number Placeholder 5"/>
          <p:cNvSpPr>
            <a:spLocks noGrp="1"/>
          </p:cNvSpPr>
          <p:nvPr>
            <p:ph type="sldNum" sz="quarter" idx="12"/>
          </p:nvPr>
        </p:nvSpPr>
        <p:spPr>
          <a:xfrm>
            <a:off x="11276012" y="6934200"/>
            <a:ext cx="381661" cy="182880"/>
          </a:xfrm>
        </p:spPr>
        <p:txBody>
          <a:bodyPr/>
          <a:lstStyle>
            <a:lvl1pPr>
              <a:defRPr>
                <a:solidFill>
                  <a:srgbClr val="BCC0C4"/>
                </a:solidFill>
              </a:defRPr>
            </a:lvl1pPr>
          </a:lstStyle>
          <a:p>
            <a:fld id="{C51EAA63-D034-42AE-91FA-B13B9518C7BE}" type="slidenum">
              <a:rPr/>
              <a:pPr/>
              <a:t>‹#›</a:t>
            </a:fld>
            <a:endParaRPr dirty="0"/>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a:endParaRPr dirty="0"/>
          </a:p>
        </p:txBody>
      </p:sp>
      <p:sp>
        <p:nvSpPr>
          <p:cNvPr id="21" name="Text Placeholder 12"/>
          <p:cNvSpPr>
            <a:spLocks noGrp="1"/>
          </p:cNvSpPr>
          <p:nvPr>
            <p:ph type="body" sz="quarter" idx="15" hasCustomPrompt="1"/>
          </p:nvPr>
        </p:nvSpPr>
        <p:spPr>
          <a:xfrm>
            <a:off x="9904412" y="228600"/>
            <a:ext cx="1676401" cy="228600"/>
          </a:xfrm>
        </p:spPr>
        <p:txBody>
          <a:bodyPr anchor="b">
            <a:normAutofit/>
          </a:bodyPr>
          <a:lstStyle>
            <a:lvl1pPr marL="1588" indent="0" algn="ctr">
              <a:spcBef>
                <a:spcPts val="0"/>
              </a:spcBef>
              <a:buFontTx/>
              <a:buNone/>
              <a:defRPr sz="15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pic>
        <p:nvPicPr>
          <p:cNvPr id="14" name="Oracle red badge logo"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ltGray">
          <a:xfrm>
            <a:off x="531816" y="6263640"/>
            <a:ext cx="1622861" cy="594360"/>
          </a:xfrm>
          <a:prstGeom prst="rect">
            <a:avLst/>
          </a:prstGeom>
        </p:spPr>
      </p:pic>
      <p:sp>
        <p:nvSpPr>
          <p:cNvPr id="15" name="Rectangle 14"/>
          <p:cNvSpPr/>
          <p:nvPr userDrawn="1"/>
        </p:nvSpPr>
        <p:spPr>
          <a:xfrm>
            <a:off x="9823444"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lnSpc>
                <a:spcPct val="90000"/>
              </a:lnSpc>
            </a:pPr>
            <a:endParaRPr lang="en-US"/>
          </a:p>
        </p:txBody>
      </p:sp>
    </p:spTree>
    <p:extLst>
      <p:ext uri="{BB962C8B-B14F-4D97-AF65-F5344CB8AC3E}">
        <p14:creationId xmlns:p14="http://schemas.microsoft.com/office/powerpoint/2010/main" val="1416678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686C7CE-9D23-4A42-845E-2EB69666472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8515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BA32AB-378C-44A6-BBCB-4C90F374D0FC}"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15783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87AD43-539D-4156-9FD6-437CAE9F93F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551618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494F0A-3A42-4B5D-A4C2-90E38C5A794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504162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title="iOS Smartphone and Tablet: Horizontal Layou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BA0AC74-C01C-456F-BD5D-BCFFCE23EE8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808440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C447B5AF-1809-4D52-BE60-78F570C83F44}"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747673" y="1013144"/>
            <a:ext cx="396213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3" name="Picture 12" descr="Photos, screen captures, graphics can be inserted in a white mobile phone and tablet" title="iOS Smartphone and Tablet: Vertical Layou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125209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title="Android Smartphone and Tablet: Horizont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A2474AE-A74B-49A7-B5B1-A400C0D62D3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975104"/>
            <a:ext cx="5248656" cy="3328416"/>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442464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4B767A9A-D0AC-47FB-851D-810FC45BAB35}"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9" name="Picture 18" descr="Photos, screen captures, graphics can be inserted in a white mobile phone and tablet" title="Android Smartphone and Tablet: Vertic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4159200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title="Large metric with 4-color photo"/>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2" name="Group 1"/>
          <p:cNvGrpSpPr/>
          <p:nvPr/>
        </p:nvGrpSpPr>
        <p:grpSpPr>
          <a:xfrm>
            <a:off x="0" y="0"/>
            <a:ext cx="12189399" cy="6858000"/>
            <a:chOff x="-287" y="0"/>
            <a:chExt cx="12189399" cy="6858000"/>
          </a:xfrm>
        </p:grpSpPr>
        <p:sp>
          <p:nvSpPr>
            <p:cNvPr id="10" name="Rectangle 9"/>
            <p:cNvSpPr/>
            <p:nvPr/>
          </p:nvSpPr>
          <p:spPr bwMode="gray">
            <a:xfrm>
              <a:off x="-287" y="0"/>
              <a:ext cx="193962"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11995151" y="5854"/>
              <a:ext cx="193960"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6400800"/>
              <a:ext cx="12189396"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3" name="Rectangle 12"/>
            <p:cNvSpPr/>
            <p:nvPr/>
          </p:nvSpPr>
          <p:spPr bwMode="gray">
            <a:xfrm>
              <a:off x="-286" y="0"/>
              <a:ext cx="12189398" cy="192024"/>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5" name="Date Placeholder 4"/>
          <p:cNvSpPr>
            <a:spLocks noGrp="1"/>
          </p:cNvSpPr>
          <p:nvPr>
            <p:ph type="dt" sz="half" idx="10"/>
          </p:nvPr>
        </p:nvSpPr>
        <p:spPr/>
        <p:txBody>
          <a:bodyPr/>
          <a:lstStyle>
            <a:lvl1pPr>
              <a:defRPr>
                <a:solidFill>
                  <a:srgbClr val="5F5F5F"/>
                </a:solidFill>
              </a:defRPr>
            </a:lvl1pPr>
          </a:lstStyle>
          <a:p>
            <a:fld id="{4ADD7E43-24FB-40CC-971F-1AFB4F96D58C}" type="datetime1">
              <a:rPr lang="en-US" smtClean="0"/>
              <a:pPr/>
              <a:t>11/10/2016</a:t>
            </a:fld>
            <a:endParaRPr lang="en-US" dirty="0"/>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lvl1pPr>
              <a:defRPr>
                <a:solidFill>
                  <a:srgbClr val="5F5F5F"/>
                </a:solidFill>
              </a:defRPr>
            </a:lvl1pPr>
          </a:lstStyle>
          <a:p>
            <a:pPr defTabSz="914400"/>
            <a:r>
              <a:rPr lang="en-US" sz="1800" smtClean="0"/>
              <a:t>Oracle Confidential – Internal/Restricted/Highly Restricted</a:t>
            </a:r>
            <a:endParaRPr lang="en-US" sz="1800"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718165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9.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ACD4C6-5F02-4E1D-8860-E571DA6DFE1F}"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416030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Remote Speaker Pictur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EE11BFD-AD4C-4A98-9D38-1958507EA4E5}" type="datetime1">
              <a:rPr lang="en-US" smtClean="0"/>
              <a:pPr/>
              <a:t>11/10/2016</a:t>
            </a:fld>
            <a:endParaRPr lang="en-US" dirty="0"/>
          </a:p>
        </p:txBody>
      </p:sp>
      <p:sp>
        <p:nvSpPr>
          <p:cNvPr id="4" name="Footer Placeholder 3"/>
          <p:cNvSpPr>
            <a:spLocks noGrp="1"/>
          </p:cNvSpPr>
          <p:nvPr>
            <p:ph type="ftr" sz="quarter" idx="11"/>
          </p:nvPr>
        </p:nvSpPr>
        <p:spPr>
          <a:xfrm>
            <a:off x="8777290" y="6556248"/>
            <a:ext cx="2498722" cy="182880"/>
          </a:xfrm>
          <a:prstGeom prst="rect">
            <a:avLst/>
          </a:prstGeom>
        </p:spPr>
        <p:txBody>
          <a:bodyPr/>
          <a:lstStyle/>
          <a:p>
            <a:r>
              <a:rPr lang="en-US" smtClean="0"/>
              <a:t>Oracle Confidential – Internal/Restricted/Highly Restricted</a:t>
            </a:r>
            <a:endParaRPr lang="en-US" dirty="0"/>
          </a:p>
        </p:txBody>
      </p:sp>
      <p:sp>
        <p:nvSpPr>
          <p:cNvPr id="5" name="Slide Number Placeholder 4"/>
          <p:cNvSpPr>
            <a:spLocks noGrp="1"/>
          </p:cNvSpPr>
          <p:nvPr>
            <p:ph type="sldNum" sz="quarter" idx="12"/>
          </p:nvPr>
        </p:nvSpPr>
        <p:spPr/>
        <p:txBody>
          <a:bodyPr/>
          <a:lstStyle/>
          <a:p>
            <a:fld id="{C51EAA63-D034-42AE-91FA-B13B9518C7BE}" type="slidenum">
              <a:rPr lang="en-US" smtClean="0"/>
              <a:pPr/>
              <a:t>‹#›</a:t>
            </a:fld>
            <a:endParaRPr lang="en-US" dirty="0"/>
          </a:p>
        </p:txBody>
      </p:sp>
      <p:sp>
        <p:nvSpPr>
          <p:cNvPr id="6" name="Picture Placeholder 2" descr="If presenting remotely, you can insert your photo here"/>
          <p:cNvSpPr>
            <a:spLocks noGrp="1" noChangeAspect="1"/>
          </p:cNvSpPr>
          <p:nvPr>
            <p:ph type="pic" idx="1"/>
          </p:nvPr>
        </p:nvSpPr>
        <p:spPr>
          <a:xfrm>
            <a:off x="2286001" y="1828800"/>
            <a:ext cx="3474720" cy="3841445"/>
          </a:xfrm>
          <a:noFill/>
        </p:spPr>
        <p:txBody>
          <a:bodyPr tIns="182856">
            <a:noAutofit/>
          </a:bodyPr>
          <a:lstStyle>
            <a:lvl1pPr marL="0" indent="0" algn="ctr">
              <a:buNone/>
              <a:defRPr sz="24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sp>
        <p:nvSpPr>
          <p:cNvPr id="11" name="Text Placeholder 10"/>
          <p:cNvSpPr>
            <a:spLocks noGrp="1"/>
          </p:cNvSpPr>
          <p:nvPr>
            <p:ph type="body" sz="quarter" idx="14"/>
          </p:nvPr>
        </p:nvSpPr>
        <p:spPr>
          <a:xfrm>
            <a:off x="6035042" y="1828799"/>
            <a:ext cx="5102352" cy="3840480"/>
          </a:xfrm>
        </p:spPr>
        <p:txBody>
          <a:bodyPr anchor="ctr" anchorCtr="0"/>
          <a:lstStyle>
            <a:lvl1pPr>
              <a:spcBef>
                <a:spcPts val="0"/>
              </a:spcBef>
              <a:spcAft>
                <a:spcPts val="800"/>
              </a:spcAft>
              <a:buClr>
                <a:schemeClr val="bg1"/>
              </a:buClr>
              <a:defRPr b="1"/>
            </a:lvl1pPr>
            <a:lvl2pPr marL="228572">
              <a:spcBef>
                <a:spcPts val="0"/>
              </a:spcBef>
              <a:buClr>
                <a:schemeClr val="bg1"/>
              </a:buClr>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9625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0.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6134E1-025A-423B-B455-DC3D3A91EDB9}"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89565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title="Oracle corporate Tagline in colo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44214A5B-588F-4C90-9D20-DD3B4D6AC865}"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65339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title="Oracle Logo Slid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224105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9AD8BE6-AA7C-4328-9B9F-94628525022E}" type="datetime1">
              <a:rPr lang="en-US" smtClean="0">
                <a:solidFill>
                  <a:srgbClr val="5F5F5F"/>
                </a:solidFill>
              </a:rPr>
              <a:pPr/>
              <a:t>11/10/2016</a:t>
            </a:fld>
            <a:endParaRPr lang="en-US">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lang="en-US" sz="1800" smtClean="0">
                <a:solidFill>
                  <a:srgbClr val="5F5F5F"/>
                </a:solidFill>
              </a:rPr>
              <a:t>Oracle Confidential – Internal/Restricted/Highly Restricted</a:t>
            </a:r>
            <a:endParaRPr lang="en-US" sz="1800">
              <a:solidFill>
                <a:srgbClr val="5F5F5F"/>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F5F5F"/>
                </a:solidFill>
              </a:rPr>
              <a:pPr/>
              <a:t>‹#›</a:t>
            </a:fld>
            <a:endParaRPr lang="en-US">
              <a:solidFill>
                <a:srgbClr val="5F5F5F"/>
              </a:solidFill>
            </a:endParaRPr>
          </a:p>
        </p:txBody>
      </p:sp>
    </p:spTree>
    <p:extLst>
      <p:ext uri="{BB962C8B-B14F-4D97-AF65-F5344CB8AC3E}">
        <p14:creationId xmlns:p14="http://schemas.microsoft.com/office/powerpoint/2010/main" val="336290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B8E2682-7303-4393-9F25-7F1900A10367}"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12922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700"/>
            </a:lvl1pPr>
          </a:lstStyle>
          <a:p>
            <a:r>
              <a:rPr lang="en-US" dirty="0" smtClean="0"/>
              <a:t>Click to edit Master title style</a:t>
            </a:r>
            <a:endParaRPr lang="en-US" dirty="0"/>
          </a:p>
        </p:txBody>
      </p:sp>
    </p:spTree>
    <p:extLst>
      <p:ext uri="{BB962C8B-B14F-4D97-AF65-F5344CB8AC3E}">
        <p14:creationId xmlns:p14="http://schemas.microsoft.com/office/powerpoint/2010/main" val="4240392528"/>
      </p:ext>
    </p:extLst>
  </p:cSld>
  <p:clrMapOvr>
    <a:masterClrMapping/>
  </p:clrMapOvr>
  <p:transition/>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p:nvPr>
        </p:nvSpPr>
        <p:spPr>
          <a:xfrm>
            <a:off x="979102" y="236394"/>
            <a:ext cx="10593806" cy="476225"/>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978236" y="1561033"/>
            <a:ext cx="10594672" cy="4491037"/>
          </a:xfrm>
        </p:spPr>
        <p:txBody>
          <a:bodyPr/>
          <a:lstStyle>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quarter" idx="11"/>
          </p:nvPr>
        </p:nvSpPr>
        <p:spPr>
          <a:xfrm>
            <a:off x="979102" y="668892"/>
            <a:ext cx="10593806" cy="449263"/>
          </a:xfrm>
        </p:spPr>
        <p:txBody>
          <a:bodyPr/>
          <a:lstStyle>
            <a:lvl1pPr marL="0" indent="0">
              <a:buNone/>
              <a:defRPr>
                <a:solidFill>
                  <a:schemeClr val="accent1"/>
                </a:solidFill>
              </a:defRPr>
            </a:lvl1pPr>
          </a:lstStyle>
          <a:p>
            <a:pPr lvl="0"/>
            <a:r>
              <a:rPr lang="en-US" smtClean="0"/>
              <a:t>Click to edit Master text styles</a:t>
            </a:r>
          </a:p>
        </p:txBody>
      </p:sp>
    </p:spTree>
    <p:extLst>
      <p:ext uri="{BB962C8B-B14F-4D97-AF65-F5344CB8AC3E}">
        <p14:creationId xmlns:p14="http://schemas.microsoft.com/office/powerpoint/2010/main" val="3530961162"/>
      </p:ext>
    </p:extLst>
  </p:cSld>
  <p:clrMapOvr>
    <a:masterClrMapping/>
  </p:clrMapOvr>
  <p:transition spd="med">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13578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userDrawn="1">
  <p:cSld name="2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a:xfrm>
            <a:off x="8621423" y="6556248"/>
            <a:ext cx="2743200" cy="182880"/>
          </a:xfrm>
          <a:prstGeom prst="rect">
            <a:avLst/>
          </a:prstGeom>
        </p:spPr>
        <p:txBody>
          <a:bodyPr/>
          <a:lstStyle/>
          <a:p>
            <a:pPr defTabSz="914400"/>
            <a:r>
              <a:rPr sz="1800"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550483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1077103" y="1552222"/>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1077105" y="878116"/>
            <a:ext cx="10849323" cy="424921"/>
          </a:xfrm>
        </p:spPr>
        <p:txBody>
          <a:bodyPr/>
          <a:lstStyle>
            <a:lvl1pPr marL="0" indent="0">
              <a:buNone/>
              <a:defRPr sz="3200">
                <a:solidFill>
                  <a:schemeClr val="accent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
        <p:nvSpPr>
          <p:cNvPr id="5" name="Footer Placeholder 4"/>
          <p:cNvSpPr>
            <a:spLocks noGrp="1"/>
          </p:cNvSpPr>
          <p:nvPr>
            <p:ph type="ftr" sz="quarter" idx="10"/>
          </p:nvPr>
        </p:nvSpPr>
        <p:spPr>
          <a:xfrm>
            <a:off x="8621423" y="6556248"/>
            <a:ext cx="2743200" cy="182880"/>
          </a:xfrm>
          <a:prstGeom prst="rect">
            <a:avLst/>
          </a:prstGeom>
        </p:spPr>
        <p:txBody>
          <a:bodyPr/>
          <a:lstStyle>
            <a:lvl1pPr>
              <a:defRPr/>
            </a:lvl1pPr>
          </a:lstStyle>
          <a:p>
            <a:pPr defTabSz="914400">
              <a:buClr>
                <a:srgbClr val="829E7E"/>
              </a:buClr>
              <a:defRPr/>
            </a:pPr>
            <a:r>
              <a:rPr lang="en-US" sz="1800" smtClean="0">
                <a:solidFill>
                  <a:srgbClr val="000000">
                    <a:tint val="75000"/>
                  </a:srgbClr>
                </a:solidFill>
              </a:rPr>
              <a:t>© 2005 Siebel Systems, Inc. Confidential.</a:t>
            </a:r>
            <a:endParaRPr lang="en-US" sz="1800" dirty="0">
              <a:solidFill>
                <a:srgbClr val="000000">
                  <a:tint val="75000"/>
                </a:srgbClr>
              </a:solidFill>
            </a:endParaRPr>
          </a:p>
        </p:txBody>
      </p:sp>
    </p:spTree>
    <p:extLst>
      <p:ext uri="{BB962C8B-B14F-4D97-AF65-F5344CB8AC3E}">
        <p14:creationId xmlns:p14="http://schemas.microsoft.com/office/powerpoint/2010/main" val="3333442705"/>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52D99EC-ABE5-42A5-B15B-B8C044BE7365}" type="datetime1">
              <a:rPr lang="en-US"/>
              <a:pPr/>
              <a:t>11/10/2016</a:t>
            </a:fld>
            <a:endParaRPr dirty="0"/>
          </a:p>
        </p:txBody>
      </p:sp>
      <p:sp>
        <p:nvSpPr>
          <p:cNvPr id="4" name="Footer Placeholder 3"/>
          <p:cNvSpPr>
            <a:spLocks noGrp="1"/>
          </p:cNvSpPr>
          <p:nvPr>
            <p:ph type="ftr" sz="quarter" idx="11"/>
          </p:nvPr>
        </p:nvSpPr>
        <p:spPr>
          <a:xfrm>
            <a:off x="8777290" y="6556248"/>
            <a:ext cx="2498722" cy="182880"/>
          </a:xfrm>
          <a:prstGeom prst="rect">
            <a:avLst/>
          </a:prstGeom>
        </p:spPr>
        <p:txBody>
          <a:bodyPr/>
          <a:lstStyle/>
          <a:p>
            <a:r>
              <a:rPr dirty="0"/>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pPr/>
              <a:t>‹#›</a:t>
            </a:fld>
            <a:endParaRPr dirty="0"/>
          </a:p>
        </p:txBody>
      </p:sp>
    </p:spTree>
    <p:extLst>
      <p:ext uri="{BB962C8B-B14F-4D97-AF65-F5344CB8AC3E}">
        <p14:creationId xmlns:p14="http://schemas.microsoft.com/office/powerpoint/2010/main" val="333769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66538" y="142860"/>
            <a:ext cx="10969943" cy="1143000"/>
          </a:xfrm>
        </p:spPr>
        <p:txBody>
          <a:bodyPr/>
          <a:lstStyle/>
          <a:p>
            <a:r>
              <a:rPr lang="fr-FR" smtClean="0"/>
              <a:t>Cliquez pour modifier le style du titre</a:t>
            </a:r>
            <a:endParaRPr lang="fr-FR" dirty="0"/>
          </a:p>
        </p:txBody>
      </p:sp>
      <p:sp>
        <p:nvSpPr>
          <p:cNvPr id="3" name="Rectangle 4"/>
          <p:cNvSpPr>
            <a:spLocks noGrp="1" noChangeArrowheads="1"/>
          </p:cNvSpPr>
          <p:nvPr>
            <p:ph type="sldNum" sz="quarter" idx="10"/>
          </p:nvPr>
        </p:nvSpPr>
        <p:spPr>
          <a:xfrm>
            <a:off x="304721" y="6146803"/>
            <a:ext cx="914162" cy="342900"/>
          </a:xfrm>
          <a:prstGeom prst="rect">
            <a:avLst/>
          </a:prstGeom>
          <a:ln/>
        </p:spPr>
        <p:txBody>
          <a:bodyPr/>
          <a:lstStyle>
            <a:lvl1pPr>
              <a:defRPr/>
            </a:lvl1pPr>
          </a:lstStyle>
          <a:p>
            <a:pPr>
              <a:defRPr/>
            </a:pPr>
            <a:fld id="{014C4AE8-6643-4E84-BA1A-ECD40571EF33}" type="slidenum">
              <a:rPr lang="fr-FR">
                <a:solidFill>
                  <a:srgbClr val="5F5F5F"/>
                </a:solidFill>
              </a:rPr>
              <a:pPr>
                <a:defRPr/>
              </a:pPr>
              <a:t>‹#›</a:t>
            </a:fld>
            <a:endParaRPr lang="fr-FR">
              <a:solidFill>
                <a:srgbClr val="5F5F5F"/>
              </a:solidFill>
            </a:endParaRPr>
          </a:p>
        </p:txBody>
      </p:sp>
    </p:spTree>
    <p:extLst>
      <p:ext uri="{BB962C8B-B14F-4D97-AF65-F5344CB8AC3E}">
        <p14:creationId xmlns:p14="http://schemas.microsoft.com/office/powerpoint/2010/main" val="2054248986"/>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F58637A1-2757-41E8-AD98-43E9D0558D9A}"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584850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8DA0FC38-0FA5-4886-ABB4-D52548B1A4EE}"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title="Oracle red badge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58877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title="Title Slide with Picture"/>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4C505D5A-B256-44E1-AC96-C2C7474C5D8D}"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768653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B3EEE87-DDB3-4675-99CC-7EF64D192D2F}"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8580887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title="Title Slide with Picture and customer/partner logo"/>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D73022D7-D716-4AF5-B755-D22F080AC54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Oracle Confidential –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sz="850" dirty="0" smtClean="0">
                <a:solidFill>
                  <a:srgbClr val="FFFFFF"/>
                </a:solidFill>
              </a:rPr>
              <a:t>201</a:t>
            </a:r>
            <a:r>
              <a:rPr lang="en-US" sz="850" dirty="0" smtClean="0">
                <a:solidFill>
                  <a:srgbClr val="FFFFFF"/>
                </a:solidFill>
              </a:rPr>
              <a:t>5,</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2727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4B0713F-DA50-44B8-8328-CFEF845F652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330460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7CD2E52-83C8-44FA-88AD-FB45DDFBF65F}"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4059410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B2EC637-D865-4A1A-B82E-96829CE60973}"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20793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1FC69AA-31D1-4BE3-A7F9-4499E9495C0A}"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4141647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martphone and Tablet: Horizonta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dirty="0"/>
          </a:p>
        </p:txBody>
      </p:sp>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21" y="1522830"/>
            <a:ext cx="6495365" cy="4567423"/>
          </a:xfrm>
          <a:prstGeom prst="rect">
            <a:avLst/>
          </a:prstGeom>
        </p:spPr>
      </p:pic>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56">
            <a:noAutofit/>
          </a:bodyPr>
          <a:lstStyle>
            <a:lvl1pPr marL="0" indent="0" algn="ctr">
              <a:buNone/>
              <a:defRPr sz="20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6A15AD86-CD0E-461B-AA18-D070A5CB2CAA}" type="datetime1">
              <a:rPr lang="en-US"/>
              <a:pPr/>
              <a:t>11/10/2016</a:t>
            </a:fld>
            <a:endParaRPr dirty="0"/>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pPr/>
              <a:t>‹#›</a:t>
            </a:fld>
            <a:endParaRPr dirty="0"/>
          </a:p>
        </p:txBody>
      </p:sp>
      <p:pic>
        <p:nvPicPr>
          <p:cNvPr id="12" name="Picture 11" descr="Photos, screen captures, graphics can be inserted in a white mobile phone and tablet"/>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770063" y="1828801"/>
            <a:ext cx="1840875" cy="3887139"/>
          </a:xfrm>
          <a:prstGeom prst="rect">
            <a:avLst/>
          </a:prstGeom>
        </p:spPr>
      </p:pic>
      <p:sp>
        <p:nvSpPr>
          <p:cNvPr id="13" name="Picture Placeholder 2"/>
          <p:cNvSpPr>
            <a:spLocks noGrp="1"/>
          </p:cNvSpPr>
          <p:nvPr>
            <p:ph type="pic" idx="1"/>
          </p:nvPr>
        </p:nvSpPr>
        <p:spPr bwMode="gray">
          <a:xfrm>
            <a:off x="1888693" y="2372664"/>
            <a:ext cx="1618488" cy="2834640"/>
          </a:xfrm>
          <a:solidFill>
            <a:schemeClr val="bg2"/>
          </a:solidFill>
          <a:ln w="12700">
            <a:solidFill>
              <a:schemeClr val="bg2"/>
            </a:solidFill>
          </a:ln>
        </p:spPr>
        <p:txBody>
          <a:bodyPr tIns="182856">
            <a:noAutofit/>
          </a:bodyPr>
          <a:lstStyle>
            <a:lvl1pPr marL="0" indent="0" algn="ctr">
              <a:buNone/>
              <a:defRPr sz="20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spTree>
    <p:extLst>
      <p:ext uri="{BB962C8B-B14F-4D97-AF65-F5344CB8AC3E}">
        <p14:creationId xmlns:p14="http://schemas.microsoft.com/office/powerpoint/2010/main" val="74544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title="Section Header with Picture"/>
          <p:cNvSpPr/>
          <p:nvPr userDrawn="1"/>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p:grpSpPr>
        <p:sp>
          <p:nvSpPr>
            <p:cNvPr id="9" name="Rectangle 8"/>
            <p:cNvSpPr/>
            <p:nvPr/>
          </p:nvSpPr>
          <p:spPr bwMode="gray">
            <a:xfrm>
              <a:off x="-287" y="0"/>
              <a:ext cx="193962"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28D98802-C4BE-44EF-A775-109B41689843}"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575964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4B324B-18FF-4147-BA18-D36160E9F106}"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298684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C8D6732-15F2-4802-8009-37AC693C551A}"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319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5B7D2015-66F5-48BA-96D8-17D36F2E0AA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075996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B4BFE1CA-6658-4197-8E4E-2C35AF1F1E7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329853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6FBED1B2-9BE1-4BB3-AF93-47A29413317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62608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BE9BFC2-4754-4D3F-B8B7-155C41C1ECF0}"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21023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947832B4-CFEF-4C48-9F00-42AED7DD8CE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83300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C6703CB-F5F4-4371-82F0-CC855CC16EF3}"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53072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834887D-8006-4942-961D-3944DDB3075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5"/>
                </a:solidFill>
              </a:defRPr>
            </a:lvl1pPr>
          </a:lstStyle>
          <a:p>
            <a:r>
              <a:rPr lang="en-US" dirty="0" smtClean="0"/>
              <a:t>XX</a:t>
            </a:r>
            <a:endParaRPr lang="en-US" dirty="0"/>
          </a:p>
        </p:txBody>
      </p:sp>
    </p:spTree>
    <p:extLst>
      <p:ext uri="{BB962C8B-B14F-4D97-AF65-F5344CB8AC3E}">
        <p14:creationId xmlns:p14="http://schemas.microsoft.com/office/powerpoint/2010/main" val="150666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martphone and Tablet: Vertical">
    <p:spTree>
      <p:nvGrpSpPr>
        <p:cNvPr id="1" name=""/>
        <p:cNvGrpSpPr/>
        <p:nvPr/>
      </p:nvGrpSpPr>
      <p:grpSpPr>
        <a:xfrm>
          <a:off x="0" y="0"/>
          <a:ext cx="0" cy="0"/>
          <a:chOff x="0" y="0"/>
          <a:chExt cx="0" cy="0"/>
        </a:xfrm>
      </p:grpSpPr>
      <p:sp>
        <p:nvSpPr>
          <p:cNvPr id="2" name="Title 1"/>
          <p:cNvSpPr>
            <a:spLocks noGrp="1"/>
          </p:cNvSpPr>
          <p:nvPr>
            <p:ph type="title"/>
          </p:nvPr>
        </p:nvSpPr>
        <p:spPr>
          <a:xfrm>
            <a:off x="531815" y="406400"/>
            <a:ext cx="5852160" cy="889000"/>
          </a:xfrm>
        </p:spPr>
        <p:txBody>
          <a:bodyPr anchor="b">
            <a:noAutofit/>
          </a:bodyPr>
          <a:lstStyle>
            <a:lvl1pPr algn="l">
              <a:defRPr sz="3600" b="0"/>
            </a:lvl1pPr>
          </a:lstStyle>
          <a:p>
            <a:r>
              <a:rPr lang="en-US" smtClean="0"/>
              <a:t>Click to edit Master title style</a:t>
            </a:r>
            <a:endParaRPr dirty="0"/>
          </a:p>
        </p:txBody>
      </p:sp>
      <p:pic>
        <p:nvPicPr>
          <p:cNvPr id="13" name="Picture 12" descr="Photos, screen captures, graphics can be inserted in a white mobile phone and tablet"/>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960812" y="1905001"/>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56">
            <a:noAutofit/>
          </a:bodyPr>
          <a:lstStyle>
            <a:lvl1pPr marL="0" indent="0" algn="ctr">
              <a:buNone/>
              <a:defRPr sz="20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pic>
        <p:nvPicPr>
          <p:cNvPr id="10" name="Picture 9"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r="7518"/>
          <a:stretch/>
        </p:blipFill>
        <p:spPr>
          <a:xfrm rot="5400000">
            <a:off x="5748381" y="1113567"/>
            <a:ext cx="6007047" cy="4567424"/>
          </a:xfrm>
          <a:prstGeom prst="rect">
            <a:avLst/>
          </a:prstGeom>
        </p:spPr>
      </p:pic>
      <p:sp>
        <p:nvSpPr>
          <p:cNvPr id="9" name="Picture Placeholder 2"/>
          <p:cNvSpPr>
            <a:spLocks noGrp="1"/>
          </p:cNvSpPr>
          <p:nvPr>
            <p:ph type="pic" idx="13"/>
          </p:nvPr>
        </p:nvSpPr>
        <p:spPr bwMode="gray">
          <a:xfrm>
            <a:off x="6747676" y="1013147"/>
            <a:ext cx="3962137" cy="5252348"/>
          </a:xfrm>
          <a:solidFill>
            <a:schemeClr val="bg2"/>
          </a:solidFill>
          <a:ln w="12700">
            <a:solidFill>
              <a:schemeClr val="bg2"/>
            </a:solidFill>
          </a:ln>
        </p:spPr>
        <p:txBody>
          <a:bodyPr tIns="182856">
            <a:noAutofit/>
          </a:bodyPr>
          <a:lstStyle>
            <a:lvl1pPr marL="0" indent="0" algn="ctr">
              <a:buNone/>
              <a:defRPr sz="20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6A15AD86-CD0E-461B-AA18-D070A5CB2CAA}" type="datetime1">
              <a:rPr lang="en-US"/>
              <a:pPr/>
              <a:t>11/10/2016</a:t>
            </a:fld>
            <a:endParaRPr dirty="0"/>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pPr/>
              <a:t>‹#›</a:t>
            </a:fld>
            <a:endParaRPr dirty="0"/>
          </a:p>
        </p:txBody>
      </p:sp>
    </p:spTree>
    <p:extLst>
      <p:ext uri="{BB962C8B-B14F-4D97-AF65-F5344CB8AC3E}">
        <p14:creationId xmlns:p14="http://schemas.microsoft.com/office/powerpoint/2010/main" val="272063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D9227421-3F85-42F8-BDFD-0A6C36E3C2FA}" type="datetime1">
              <a:rPr lang="en-US" smtClean="0">
                <a:solidFill>
                  <a:srgbClr val="5F5F5F"/>
                </a:solidFill>
              </a:rPr>
              <a:pPr/>
              <a:t>11/10/2016</a:t>
            </a:fld>
            <a:endParaRPr dirty="0">
              <a:solidFill>
                <a:srgbClr val="5F5F5F"/>
              </a:solidFill>
            </a:endParaRPr>
          </a:p>
        </p:txBody>
      </p:sp>
      <p:sp>
        <p:nvSpPr>
          <p:cNvPr id="8" name="Footer Placeholder 7"/>
          <p:cNvSpPr>
            <a:spLocks noGrp="1"/>
          </p:cNvSpPr>
          <p:nvPr>
            <p:ph type="ftr" sz="quarter" idx="11"/>
          </p:nvPr>
        </p:nvSpPr>
        <p:spPr/>
        <p:txBody>
          <a:bodyPr/>
          <a:lstStyle/>
          <a:p>
            <a:r>
              <a:rPr dirty="0">
                <a:solidFill>
                  <a:srgbClr val="5F5F5F"/>
                </a:solidFill>
              </a:rPr>
              <a:t>Oracle Confidential – Internal/Restricted/Highly Restricted</a:t>
            </a:r>
          </a:p>
        </p:txBody>
      </p:sp>
      <p:sp>
        <p:nvSpPr>
          <p:cNvPr id="9" name="Slide Number Placeholder 8"/>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35303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8A1F17C-4AFE-4B02-9BD6-67CB04075FF1}"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p:txBody>
          <a:bodyPr/>
          <a:lstStyle/>
          <a:p>
            <a:r>
              <a:rPr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480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10010B8-11AC-4175-BF29-EB4A3C61102F}"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p:txBody>
          <a:bodyPr/>
          <a:lstStyle/>
          <a:p>
            <a:r>
              <a:rPr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81252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1827CA-F831-46B0-9758-B6BAE0AF4EAB}"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55765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686C7CE-9D23-4A42-845E-2EB69666472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48063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BA32AB-378C-44A6-BBCB-4C90F374D0FC}"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5844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87AD43-539D-4156-9FD6-437CAE9F93F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60473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494F0A-3A42-4B5D-A4C2-90E38C5A7947}"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633445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title="iOS Smartphone and Tablet: Horizontal Layou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BA0AC74-C01C-456F-BD5D-BCFFCE23EE8E}"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850231"/>
            <a:ext cx="5246688" cy="396954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755103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C447B5AF-1809-4D52-BE60-78F570C83F44}"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6747673" y="1013144"/>
            <a:ext cx="396213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3" name="Picture 12" descr="Photos, screen captures, graphics can be inserted in a white mobile phone and tablet" title="iOS Smartphone and Tablet: Vertical Layou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15116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ndroid Smartphone and Tablet: Horizonta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6A15AD86-CD0E-461B-AA18-D070A5CB2CAA}" type="datetime1">
              <a:rPr lang="en-US"/>
              <a:pPr/>
              <a:t>11/10/2016</a:t>
            </a:fld>
            <a:endParaRPr dirty="0"/>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pPr/>
              <a:t>‹#›</a:t>
            </a:fld>
            <a:endParaRPr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257675" y="1584169"/>
            <a:ext cx="5829300" cy="4109595"/>
          </a:xfrm>
          <a:prstGeom prst="rect">
            <a:avLst/>
          </a:prstGeom>
        </p:spPr>
      </p:pic>
      <p:sp>
        <p:nvSpPr>
          <p:cNvPr id="16" name="Picture Placeholder 2"/>
          <p:cNvSpPr>
            <a:spLocks noGrp="1"/>
          </p:cNvSpPr>
          <p:nvPr>
            <p:ph type="pic" idx="13"/>
          </p:nvPr>
        </p:nvSpPr>
        <p:spPr bwMode="gray">
          <a:xfrm>
            <a:off x="4532312" y="1971679"/>
            <a:ext cx="5246688" cy="3324225"/>
          </a:xfrm>
          <a:solidFill>
            <a:schemeClr val="bg2"/>
          </a:solidFill>
          <a:ln w="12700">
            <a:solidFill>
              <a:schemeClr val="bg2"/>
            </a:solidFill>
          </a:ln>
        </p:spPr>
        <p:txBody>
          <a:bodyPr tIns="182856">
            <a:noAutofit/>
          </a:bodyPr>
          <a:lstStyle>
            <a:lvl1pPr marL="0" indent="0" algn="ctr">
              <a:buNone/>
              <a:defRPr sz="20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61303" y="1981200"/>
            <a:ext cx="1877251" cy="3634952"/>
          </a:xfrm>
          <a:prstGeom prst="rect">
            <a:avLst/>
          </a:prstGeom>
        </p:spPr>
      </p:pic>
      <p:sp>
        <p:nvSpPr>
          <p:cNvPr id="18" name="Picture Placeholder 2"/>
          <p:cNvSpPr>
            <a:spLocks noGrp="1"/>
          </p:cNvSpPr>
          <p:nvPr>
            <p:ph type="pic" idx="1"/>
          </p:nvPr>
        </p:nvSpPr>
        <p:spPr bwMode="gray">
          <a:xfrm>
            <a:off x="1885139" y="2363140"/>
            <a:ext cx="1631568" cy="2894661"/>
          </a:xfrm>
          <a:solidFill>
            <a:schemeClr val="bg2"/>
          </a:solidFill>
          <a:ln w="12700">
            <a:solidFill>
              <a:schemeClr val="bg2"/>
            </a:solidFill>
          </a:ln>
        </p:spPr>
        <p:txBody>
          <a:bodyPr tIns="182856">
            <a:noAutofit/>
          </a:bodyPr>
          <a:lstStyle>
            <a:lvl1pPr marL="0" indent="0" algn="ctr">
              <a:buNone/>
              <a:defRPr sz="20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spTree>
    <p:extLst>
      <p:ext uri="{BB962C8B-B14F-4D97-AF65-F5344CB8AC3E}">
        <p14:creationId xmlns:p14="http://schemas.microsoft.com/office/powerpoint/2010/main" val="86081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title="Android Smartphone and Tablet: Horizont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1A2474AE-A74B-49A7-B5B1-A400C0D62D32}"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975104"/>
            <a:ext cx="5248656" cy="3328416"/>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82303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4B767A9A-D0AC-47FB-851D-810FC45BAB35}"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9" name="Picture 18" descr="Photos, screen captures, graphics can be inserted in a white mobile phone and tablet" title="Android Smartphone and Tablet: Vertical Layou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143814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title="Large metric with 4-color photo"/>
          <p:cNvSpPr/>
          <p:nvPr/>
        </p:nvSpPr>
        <p:spPr bwMode="hidden">
          <a:xfrm>
            <a:off x="0" y="0"/>
            <a:ext cx="12188825" cy="6858000"/>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2" name="Group 1"/>
          <p:cNvGrpSpPr/>
          <p:nvPr/>
        </p:nvGrpSpPr>
        <p:grpSpPr>
          <a:xfrm>
            <a:off x="0" y="0"/>
            <a:ext cx="12189399" cy="6858000"/>
            <a:chOff x="-287" y="0"/>
            <a:chExt cx="12189399" cy="6858000"/>
          </a:xfrm>
        </p:grpSpPr>
        <p:sp>
          <p:nvSpPr>
            <p:cNvPr id="10" name="Rectangle 9"/>
            <p:cNvSpPr/>
            <p:nvPr/>
          </p:nvSpPr>
          <p:spPr bwMode="gray">
            <a:xfrm>
              <a:off x="-287" y="0"/>
              <a:ext cx="193962"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11995151" y="5854"/>
              <a:ext cx="193960" cy="6852146"/>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6400800"/>
              <a:ext cx="12189396" cy="457200"/>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3" name="Rectangle 12"/>
            <p:cNvSpPr/>
            <p:nvPr/>
          </p:nvSpPr>
          <p:spPr bwMode="gray">
            <a:xfrm>
              <a:off x="-286" y="0"/>
              <a:ext cx="12189398" cy="192024"/>
            </a:xfrm>
            <a:prstGeom prst="rect">
              <a:avLst/>
            </a:prstGeom>
            <a:solidFill>
              <a:srgbClr val="DCE3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5" name="Date Placeholder 4"/>
          <p:cNvSpPr>
            <a:spLocks noGrp="1"/>
          </p:cNvSpPr>
          <p:nvPr>
            <p:ph type="dt" sz="half" idx="10"/>
          </p:nvPr>
        </p:nvSpPr>
        <p:spPr/>
        <p:txBody>
          <a:bodyPr/>
          <a:lstStyle>
            <a:lvl1pPr>
              <a:defRPr>
                <a:solidFill>
                  <a:srgbClr val="5F5F5F"/>
                </a:solidFill>
              </a:defRPr>
            </a:lvl1pPr>
          </a:lstStyle>
          <a:p>
            <a:fld id="{4ADD7E43-24FB-40CC-971F-1AFB4F96D58C}"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Oracle Confidential –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255229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ACD4C6-5F02-4E1D-8860-E571DA6DFE1F}"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981459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6134E1-025A-423B-B455-DC3D3A91EDB9}"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F5F5F"/>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F5F5F"/>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40112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title="Oracle corporate Tagline in colo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44214A5B-588F-4C90-9D20-DD3B4D6AC865}" type="datetime1">
              <a:rPr lang="en-US" smtClean="0">
                <a:solidFill>
                  <a:srgbClr val="5F5F5F"/>
                </a:solidFill>
              </a:rPr>
              <a:pPr/>
              <a:t>11/10/2016</a:t>
            </a:fld>
            <a:endParaRPr dirty="0">
              <a:solidFill>
                <a:srgbClr val="5F5F5F"/>
              </a:solidFill>
            </a:endParaRPr>
          </a:p>
        </p:txBody>
      </p:sp>
      <p:sp>
        <p:nvSpPr>
          <p:cNvPr id="3" name="Footer Placeholder 2"/>
          <p:cNvSpPr>
            <a:spLocks noGrp="1"/>
          </p:cNvSpPr>
          <p:nvPr>
            <p:ph type="ftr" sz="quarter" idx="11"/>
          </p:nvPr>
        </p:nvSpPr>
        <p:spPr/>
        <p:txBody>
          <a:bodyPr/>
          <a:lstStyle/>
          <a:p>
            <a:r>
              <a:rPr dirty="0">
                <a:solidFill>
                  <a:srgbClr val="5F5F5F"/>
                </a:solidFill>
              </a:rPr>
              <a:t>Oracle Confidential – Internal/Restricted/Highly Restricted</a:t>
            </a:r>
          </a:p>
        </p:txBody>
      </p:sp>
      <p:sp>
        <p:nvSpPr>
          <p:cNvPr id="4" name="Slide Number Placeholder 3"/>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90349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title="Oracle Logo Slid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373718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9AD8BE6-AA7C-4328-9B9F-94628525022E}" type="datetime1">
              <a:rPr lang="en-US" smtClean="0">
                <a:solidFill>
                  <a:srgbClr val="5F5F5F"/>
                </a:solidFill>
              </a:rPr>
              <a:pPr/>
              <a:t>11/10/2016</a:t>
            </a:fld>
            <a:endParaRPr lang="en-US">
              <a:solidFill>
                <a:srgbClr val="5F5F5F"/>
              </a:solidFill>
            </a:endParaRPr>
          </a:p>
        </p:txBody>
      </p:sp>
      <p:sp>
        <p:nvSpPr>
          <p:cNvPr id="5" name="Footer Placeholder 4"/>
          <p:cNvSpPr>
            <a:spLocks noGrp="1"/>
          </p:cNvSpPr>
          <p:nvPr>
            <p:ph type="ftr" sz="quarter" idx="11"/>
          </p:nvPr>
        </p:nvSpPr>
        <p:spPr/>
        <p:txBody>
          <a:bodyPr/>
          <a:lstStyle/>
          <a:p>
            <a:r>
              <a:rPr lang="en-US" smtClean="0">
                <a:solidFill>
                  <a:srgbClr val="5F5F5F"/>
                </a:solidFill>
              </a:rPr>
              <a:t>Oracle Confidential – Internal/Restricted/Highly Restricted</a:t>
            </a:r>
            <a:endParaRPr lang="en-US">
              <a:solidFill>
                <a:srgbClr val="5F5F5F"/>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F5F5F"/>
                </a:solidFill>
              </a:rPr>
              <a:pPr/>
              <a:t>‹#›</a:t>
            </a:fld>
            <a:endParaRPr lang="en-US">
              <a:solidFill>
                <a:srgbClr val="5F5F5F"/>
              </a:solidFill>
            </a:endParaRPr>
          </a:p>
        </p:txBody>
      </p:sp>
    </p:spTree>
    <p:extLst>
      <p:ext uri="{BB962C8B-B14F-4D97-AF65-F5344CB8AC3E}">
        <p14:creationId xmlns:p14="http://schemas.microsoft.com/office/powerpoint/2010/main" val="721173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CB8E2682-7303-4393-9F25-7F1900A10367}" type="datetime1">
              <a:rPr lang="en-US" smtClean="0">
                <a:solidFill>
                  <a:srgbClr val="5F5F5F"/>
                </a:solidFill>
              </a:rPr>
              <a:pPr/>
              <a:t>11/10/2016</a:t>
            </a:fld>
            <a:endParaRPr dirty="0">
              <a:solidFill>
                <a:srgbClr val="5F5F5F"/>
              </a:solidFill>
            </a:endParaRPr>
          </a:p>
        </p:txBody>
      </p:sp>
      <p:sp>
        <p:nvSpPr>
          <p:cNvPr id="5" name="Footer Placeholder 4"/>
          <p:cNvSpPr>
            <a:spLocks noGrp="1"/>
          </p:cNvSpPr>
          <p:nvPr>
            <p:ph type="ftr" sz="quarter" idx="11"/>
          </p:nvPr>
        </p:nvSpPr>
        <p:spPr/>
        <p:txBody>
          <a:bodyPr/>
          <a:lstStyle/>
          <a:p>
            <a:r>
              <a:rPr dirty="0">
                <a:solidFill>
                  <a:srgbClr val="5F5F5F"/>
                </a:solidFill>
              </a:rPr>
              <a:t>Oracle Confidential – Internal/Restricted/Highly Restricted</a:t>
            </a: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Tree>
    <p:extLst>
      <p:ext uri="{BB962C8B-B14F-4D97-AF65-F5344CB8AC3E}">
        <p14:creationId xmlns:p14="http://schemas.microsoft.com/office/powerpoint/2010/main" val="170197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700"/>
            </a:lvl1pPr>
          </a:lstStyle>
          <a:p>
            <a:r>
              <a:rPr lang="en-US" dirty="0" smtClean="0"/>
              <a:t>Click to edit Master title style</a:t>
            </a:r>
            <a:endParaRPr lang="en-US" dirty="0"/>
          </a:p>
        </p:txBody>
      </p:sp>
    </p:spTree>
    <p:extLst>
      <p:ext uri="{BB962C8B-B14F-4D97-AF65-F5344CB8AC3E}">
        <p14:creationId xmlns:p14="http://schemas.microsoft.com/office/powerpoint/2010/main" val="545973723"/>
      </p:ext>
    </p:extLst>
  </p:cSld>
  <p:clrMapOvr>
    <a:masterClrMapping/>
  </p:clrMapOv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Android Smartphone and Tablet: Vertical">
    <p:spTree>
      <p:nvGrpSpPr>
        <p:cNvPr id="1" name=""/>
        <p:cNvGrpSpPr/>
        <p:nvPr/>
      </p:nvGrpSpPr>
      <p:grpSpPr>
        <a:xfrm>
          <a:off x="0" y="0"/>
          <a:ext cx="0" cy="0"/>
          <a:chOff x="0" y="0"/>
          <a:chExt cx="0" cy="0"/>
        </a:xfrm>
      </p:grpSpPr>
      <p:sp>
        <p:nvSpPr>
          <p:cNvPr id="2" name="Title 1"/>
          <p:cNvSpPr>
            <a:spLocks noGrp="1"/>
          </p:cNvSpPr>
          <p:nvPr>
            <p:ph type="title"/>
          </p:nvPr>
        </p:nvSpPr>
        <p:spPr>
          <a:xfrm>
            <a:off x="531811" y="406400"/>
            <a:ext cx="5852160" cy="889000"/>
          </a:xfrm>
        </p:spPr>
        <p:txBody>
          <a:bodyPr anchor="b">
            <a:noAutofit/>
          </a:bodyPr>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6A15AD86-CD0E-461B-AA18-D070A5CB2CAA}" type="datetime1">
              <a:rPr lang="en-US"/>
              <a:pPr/>
              <a:t>11/10/2016</a:t>
            </a:fld>
            <a:endParaRPr dirty="0"/>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pPr/>
              <a:t>‹#›</a:t>
            </a:fld>
            <a:endParaRPr dirty="0"/>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val="0"/>
              </a:ext>
            </a:extLst>
          </a:blip>
          <a:srcRect r="3674"/>
          <a:stretch/>
        </p:blipFill>
        <p:spPr>
          <a:xfrm rot="5400000">
            <a:off x="5794270" y="1258782"/>
            <a:ext cx="5935471" cy="4345393"/>
          </a:xfrm>
          <a:prstGeom prst="rect">
            <a:avLst/>
          </a:prstGeom>
        </p:spPr>
      </p:pic>
      <p:sp>
        <p:nvSpPr>
          <p:cNvPr id="11" name="Picture Placeholder 2"/>
          <p:cNvSpPr>
            <a:spLocks noGrp="1"/>
          </p:cNvSpPr>
          <p:nvPr>
            <p:ph type="pic" idx="13"/>
          </p:nvPr>
        </p:nvSpPr>
        <p:spPr bwMode="gray">
          <a:xfrm>
            <a:off x="7019928" y="771528"/>
            <a:ext cx="3486149" cy="5534025"/>
          </a:xfrm>
          <a:solidFill>
            <a:schemeClr val="bg2"/>
          </a:solidFill>
          <a:ln w="12700">
            <a:solidFill>
              <a:schemeClr val="bg2"/>
            </a:solidFill>
          </a:ln>
        </p:spPr>
        <p:txBody>
          <a:bodyPr tIns="182856">
            <a:noAutofit/>
          </a:bodyPr>
          <a:lstStyle>
            <a:lvl1pPr marL="0" indent="0" algn="ctr">
              <a:buNone/>
              <a:defRPr sz="20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1578" y="2019300"/>
            <a:ext cx="1877251" cy="3634952"/>
          </a:xfrm>
          <a:prstGeom prst="rect">
            <a:avLst/>
          </a:prstGeom>
        </p:spPr>
      </p:pic>
      <p:sp>
        <p:nvSpPr>
          <p:cNvPr id="18" name="Picture Placeholder 2"/>
          <p:cNvSpPr>
            <a:spLocks noGrp="1"/>
          </p:cNvSpPr>
          <p:nvPr>
            <p:ph type="pic" idx="14"/>
          </p:nvPr>
        </p:nvSpPr>
        <p:spPr bwMode="gray">
          <a:xfrm>
            <a:off x="4088968" y="2401240"/>
            <a:ext cx="1618488" cy="2894661"/>
          </a:xfrm>
          <a:solidFill>
            <a:schemeClr val="bg2"/>
          </a:solidFill>
          <a:ln w="12700">
            <a:solidFill>
              <a:schemeClr val="bg2"/>
            </a:solidFill>
          </a:ln>
        </p:spPr>
        <p:txBody>
          <a:bodyPr tIns="182856">
            <a:noAutofit/>
          </a:bodyPr>
          <a:lstStyle>
            <a:lvl1pPr marL="0" indent="0" algn="ctr">
              <a:buNone/>
              <a:defRPr sz="2000"/>
            </a:lvl1pPr>
            <a:lvl2pPr marL="457141" indent="0">
              <a:buNone/>
              <a:defRPr sz="2800"/>
            </a:lvl2pPr>
            <a:lvl3pPr marL="914285" indent="0">
              <a:buNone/>
              <a:defRPr sz="2400"/>
            </a:lvl3pPr>
            <a:lvl4pPr marL="1371428" indent="0">
              <a:buNone/>
              <a:defRPr sz="2000"/>
            </a:lvl4pPr>
            <a:lvl5pPr marL="1828572" indent="0">
              <a:buNone/>
              <a:defRPr sz="2000"/>
            </a:lvl5pPr>
            <a:lvl6pPr marL="2285713" indent="0">
              <a:buNone/>
              <a:defRPr sz="2000"/>
            </a:lvl6pPr>
            <a:lvl7pPr marL="2742857" indent="0">
              <a:buNone/>
              <a:defRPr sz="2000"/>
            </a:lvl7pPr>
            <a:lvl8pPr marL="3200000" indent="0">
              <a:buNone/>
              <a:defRPr sz="2000"/>
            </a:lvl8pPr>
            <a:lvl9pPr marL="3657144" indent="0">
              <a:buNone/>
              <a:defRPr sz="2000"/>
            </a:lvl9pPr>
          </a:lstStyle>
          <a:p>
            <a:r>
              <a:rPr lang="en-US" smtClean="0"/>
              <a:t>Click icon to add picture</a:t>
            </a:r>
            <a:endParaRPr dirty="0"/>
          </a:p>
        </p:txBody>
      </p:sp>
    </p:spTree>
    <p:extLst>
      <p:ext uri="{BB962C8B-B14F-4D97-AF65-F5344CB8AC3E}">
        <p14:creationId xmlns:p14="http://schemas.microsoft.com/office/powerpoint/2010/main" val="18766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p:nvPr>
        </p:nvSpPr>
        <p:spPr>
          <a:xfrm>
            <a:off x="979102" y="236394"/>
            <a:ext cx="10593806" cy="476225"/>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978236" y="1561033"/>
            <a:ext cx="10594672" cy="4491037"/>
          </a:xfrm>
        </p:spPr>
        <p:txBody>
          <a:bodyPr/>
          <a:lstStyle>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quarter" idx="11"/>
          </p:nvPr>
        </p:nvSpPr>
        <p:spPr>
          <a:xfrm>
            <a:off x="979102" y="668892"/>
            <a:ext cx="10593806" cy="449263"/>
          </a:xfrm>
        </p:spPr>
        <p:txBody>
          <a:bodyPr/>
          <a:lstStyle>
            <a:lvl1pPr marL="0" indent="0">
              <a:buNone/>
              <a:defRPr>
                <a:solidFill>
                  <a:schemeClr val="accent1"/>
                </a:solidFill>
              </a:defRPr>
            </a:lvl1pPr>
          </a:lstStyle>
          <a:p>
            <a:pPr lvl="0"/>
            <a:r>
              <a:rPr lang="en-US" smtClean="0"/>
              <a:t>Click to edit Master text styles</a:t>
            </a:r>
          </a:p>
        </p:txBody>
      </p:sp>
    </p:spTree>
    <p:extLst>
      <p:ext uri="{BB962C8B-B14F-4D97-AF65-F5344CB8AC3E}">
        <p14:creationId xmlns:p14="http://schemas.microsoft.com/office/powerpoint/2010/main" val="1746706"/>
      </p:ext>
    </p:extLst>
  </p:cSld>
  <p:clrMapOvr>
    <a:masterClrMapping/>
  </p:clrMapOvr>
  <p:transition spd="med">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406186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2_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smtClean="0"/>
              <a:t>Click to edit Master title style</a:t>
            </a:r>
            <a:endParaRPr dirty="0"/>
          </a:p>
        </p:txBody>
      </p:sp>
      <p:sp>
        <p:nvSpPr>
          <p:cNvPr id="3" name="Picture Placeholder 2" descr="4-color photo can be included here"/>
          <p:cNvSpPr>
            <a:spLocks noGrp="1"/>
          </p:cNvSpPr>
          <p:nvPr>
            <p:ph type="pic" idx="1"/>
          </p:nvPr>
        </p:nvSpPr>
        <p:spPr bwMode="gray">
          <a:xfrm>
            <a:off x="531813" y="1755475"/>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ext Placeholder 3"/>
          <p:cNvSpPr>
            <a:spLocks noGrp="1"/>
          </p:cNvSpPr>
          <p:nvPr>
            <p:ph type="body" sz="half" idx="2"/>
          </p:nvPr>
        </p:nvSpPr>
        <p:spPr>
          <a:xfrm>
            <a:off x="7008812" y="17526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A3E2FA5-E451-48BD-84C5-AAF06D19CB12}"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Footer Placeholder 5"/>
          <p:cNvSpPr>
            <a:spLocks noGrp="1"/>
          </p:cNvSpPr>
          <p:nvPr>
            <p:ph type="ftr" sz="quarter" idx="11"/>
          </p:nvPr>
        </p:nvSpPr>
        <p:spPr/>
        <p:txBody>
          <a:bodyPr/>
          <a:lstStyle/>
          <a:p>
            <a:r>
              <a:rPr dirty="0">
                <a:solidFill>
                  <a:srgbClr val="5F5F5F">
                    <a:lumMod val="60000"/>
                    <a:lumOff val="40000"/>
                  </a:srgbClr>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
        <p:nvSpPr>
          <p:cNvPr id="9"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418844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DB0592DB-01ED-A44A-830D-2A57CD1AF06B}"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362336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4D813C46-5AAA-0045-A784-1D6C400A7C04}"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348246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p:cSld name="Custom Title Slide: Grey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58595B"/>
                </a:solidFill>
              </a:rPr>
              <a:pPr/>
              <a:t>11/10/2016</a:t>
            </a:fld>
            <a:endParaRPr lang="en-US" dirty="0">
              <a:solidFill>
                <a:srgbClr val="58595B"/>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58595B"/>
                </a:solidFill>
              </a:rPr>
              <a:t>Confidential – Oracle Internal/Restricted/Highly Restricted</a:t>
            </a:r>
            <a:endParaRPr lang="en-US" dirty="0">
              <a:solidFill>
                <a:srgbClr val="58595B"/>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22573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p:cSld name="Custom Title Slide: Red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995133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preserve="1">
  <p:cSld name="Custom Title Slide with Primary Event Impress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31814" y="739775"/>
            <a:ext cx="804531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04531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04531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6018150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preserve="1">
  <p:cSld name="Custom 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4" name="Rectangle 13"/>
          <p:cNvSpPr/>
          <p:nvPr userDrawn="1"/>
        </p:nvSpPr>
        <p:spPr bwMode="white">
          <a:xfrm>
            <a:off x="9984628" y="4608094"/>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10056441" y="4815117"/>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Tree>
    <p:extLst>
      <p:ext uri="{BB962C8B-B14F-4D97-AF65-F5344CB8AC3E}">
        <p14:creationId xmlns:p14="http://schemas.microsoft.com/office/powerpoint/2010/main" val="3475161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1" name="Rectangle 20" descr="Full slide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5904" cy="6858000"/>
          </a:xfrm>
          <a:prstGeom prst="rect">
            <a:avLst/>
          </a:prstGeom>
        </p:spPr>
      </p:pic>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7" name="Rectangle 16"/>
          <p:cNvSpPr/>
          <p:nvPr userDrawn="1"/>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20" name="Rectangle 19"/>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Tree>
    <p:extLst>
      <p:ext uri="{BB962C8B-B14F-4D97-AF65-F5344CB8AC3E}">
        <p14:creationId xmlns:p14="http://schemas.microsoft.com/office/powerpoint/2010/main" val="3637656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4A0D4CA-216A-4606-82FE-39019905721D}"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9077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cstate="print"/>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667883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99178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5190EDF2-7744-3443-B3CB-57655E386FA4}"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546824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8926090-F7DD-7C47-A7A5-57C7ADACE0E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95640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996FA26-999E-144A-B9D6-0275E6EB9A1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122325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4" name="Date Placeholder 3"/>
          <p:cNvSpPr>
            <a:spLocks noGrp="1"/>
          </p:cNvSpPr>
          <p:nvPr>
            <p:ph type="dt" sz="half" idx="10"/>
          </p:nvPr>
        </p:nvSpPr>
        <p:spPr/>
        <p:txBody>
          <a:bodyPr/>
          <a:lstStyle/>
          <a:p>
            <a:fld id="{C154D1DD-7A94-3A44-A2B9-66FA7B1686B1}"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44010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showMasterSp="0" preserve="1" userDrawn="1">
  <p:cSld name="Custom Section Header with Picture and Proclama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6028" y="0"/>
            <a:ext cx="11649724" cy="6556247"/>
          </a:xfrm>
          <a:prstGeom prst="rect">
            <a:avLst/>
          </a:prstGeom>
        </p:spPr>
      </p:pic>
    </p:spTree>
    <p:extLst>
      <p:ext uri="{BB962C8B-B14F-4D97-AF65-F5344CB8AC3E}">
        <p14:creationId xmlns:p14="http://schemas.microsoft.com/office/powerpoint/2010/main" val="1460211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bleed 4-color photo can be inserted here"/>
          <p:cNvSpPr/>
          <p:nvPr userDrawn="1"/>
        </p:nvSpPr>
        <p:spPr bwMode="hidden">
          <a:xfrm>
            <a:off x="285"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028" y="219001"/>
            <a:ext cx="11535344" cy="6488631"/>
          </a:xfrm>
          <a:prstGeom prst="rect">
            <a:avLst/>
          </a:prstGeom>
        </p:spPr>
      </p:pic>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4874160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8.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3F7589B-9BD6-8B45-A3F1-2069890F0F3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6636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bleed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7" name="Group 6"/>
          <p:cNvGrpSpPr/>
          <p:nvPr/>
        </p:nvGrpSpPr>
        <p:grpSpPr bwMode="gray">
          <a:xfrm>
            <a:off x="-287" y="0"/>
            <a:ext cx="12189399" cy="6858000"/>
            <a:chOff x="-287" y="0"/>
            <a:chExt cx="12189399" cy="6858000"/>
          </a:xfrm>
          <a:solidFill>
            <a:srgbClr val="D8E1E6"/>
          </a:solidFill>
        </p:grpSpPr>
        <p:sp>
          <p:nvSpPr>
            <p:cNvPr id="9" name="Rectangle 8"/>
            <p:cNvSpPr/>
            <p:nvPr/>
          </p:nvSpPr>
          <p:spPr bwMode="gray">
            <a:xfrm>
              <a:off x="-287" y="0"/>
              <a:ext cx="193962"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11995151" y="5854"/>
              <a:ext cx="193960" cy="685214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2" name="Rectangle 11"/>
            <p:cNvSpPr/>
            <p:nvPr/>
          </p:nvSpPr>
          <p:spPr bwMode="gray">
            <a:xfrm>
              <a:off x="-286"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1"/>
          <p:cNvSpPr>
            <a:spLocks noGrp="1"/>
          </p:cNvSpPr>
          <p:nvPr>
            <p:ph type="title"/>
          </p:nvPr>
        </p:nvSpPr>
        <p:spPr>
          <a:xfrm>
            <a:off x="531813" y="2600324"/>
            <a:ext cx="11125200" cy="1371600"/>
          </a:xfrm>
        </p:spPr>
        <p:txBody>
          <a:bodyPr anchor="b"/>
          <a:lstStyle>
            <a:lvl1pPr algn="l">
              <a:lnSpc>
                <a:spcPct val="80000"/>
              </a:lnSpc>
              <a:defRPr sz="4800" b="0" cap="none" baseline="0"/>
            </a:lvl1pPr>
          </a:lstStyle>
          <a:p>
            <a:r>
              <a:rPr lang="en-US" smtClean="0"/>
              <a:t>Click to edit Master title style</a:t>
            </a:r>
            <a:endParaRPr dirty="0"/>
          </a:p>
        </p:txBody>
      </p:sp>
      <p:sp>
        <p:nvSpPr>
          <p:cNvPr id="3" name="Text Placeholder 2"/>
          <p:cNvSpPr>
            <a:spLocks noGrp="1"/>
          </p:cNvSpPr>
          <p:nvPr>
            <p:ph type="body" idx="1"/>
          </p:nvPr>
        </p:nvSpPr>
        <p:spPr>
          <a:xfrm>
            <a:off x="531813" y="4038598"/>
            <a:ext cx="11125200" cy="914400"/>
          </a:xfrm>
        </p:spPr>
        <p:txBody>
          <a:bodyPr anchor="t">
            <a:noAutofit/>
          </a:bodyPr>
          <a:lstStyle>
            <a:lvl1pPr marL="0" indent="0">
              <a:spcBef>
                <a:spcPts val="0"/>
              </a:spcBef>
              <a:buNone/>
              <a:defRPr sz="24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rgbClr val="5F5F5F"/>
                </a:solidFill>
              </a:defRPr>
            </a:lvl1pPr>
          </a:lstStyle>
          <a:p>
            <a:fld id="{5E93B6AA-E2AA-5745-8131-720DFC68D31C}" type="datetime1">
              <a:rPr lang="en-US" smtClean="0"/>
              <a:pPr/>
              <a:t>11/10/2016</a:t>
            </a:fld>
            <a:endParaRPr lang="en-US" dirty="0"/>
          </a:p>
        </p:txBody>
      </p:sp>
      <p:sp>
        <p:nvSpPr>
          <p:cNvPr id="5" name="Footer Placeholder 4"/>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6" name="Slide Number Placeholder 5"/>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038654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BDF7CF0-0C99-47FD-A971-6B91953D0CD2}" type="datetime1">
              <a:rPr lang="en-US" smtClean="0">
                <a:solidFill>
                  <a:srgbClr val="5F5F5F"/>
                </a:solidFill>
              </a:rPr>
              <a:pPr/>
              <a:t>11/10/2016</a:t>
            </a:fld>
            <a:endParaRPr dirty="0">
              <a:solidFill>
                <a:srgbClr val="5F5F5F"/>
              </a:solidFill>
            </a:endParaRPr>
          </a:p>
        </p:txBody>
      </p:sp>
      <p:sp>
        <p:nvSpPr>
          <p:cNvPr id="4" name="Footer Placeholder 3"/>
          <p:cNvSpPr>
            <a:spLocks noGrp="1"/>
          </p:cNvSpPr>
          <p:nvPr>
            <p:ph type="ftr" sz="quarter" idx="11"/>
          </p:nvPr>
        </p:nvSpPr>
        <p:spPr>
          <a:xfrm>
            <a:off x="8777290" y="6556248"/>
            <a:ext cx="2498722" cy="182880"/>
          </a:xfrm>
          <a:prstGeom prst="rect">
            <a:avLst/>
          </a:prstGeom>
        </p:spPr>
        <p:txBody>
          <a:bodyPr/>
          <a:lstStyle/>
          <a:p>
            <a:r>
              <a:rPr dirty="0">
                <a:solidFill>
                  <a:srgbClr val="5F5F5F"/>
                </a:solidFill>
              </a:rPr>
              <a:t>Oracle Confidential – Internal/Restricted/Highly Restricted</a:t>
            </a:r>
          </a:p>
        </p:txBody>
      </p:sp>
      <p:sp>
        <p:nvSpPr>
          <p:cNvPr id="5" name="Slide Number Placeholder 4"/>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3769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Announcement">
    <p:spTree>
      <p:nvGrpSpPr>
        <p:cNvPr id="1" name=""/>
        <p:cNvGrpSpPr/>
        <p:nvPr/>
      </p:nvGrpSpPr>
      <p:grpSpPr>
        <a:xfrm>
          <a:off x="0" y="0"/>
          <a:ext cx="0" cy="0"/>
          <a:chOff x="0" y="0"/>
          <a:chExt cx="0" cy="0"/>
        </a:xfrm>
      </p:grpSpPr>
      <p:sp>
        <p:nvSpPr>
          <p:cNvPr id="2" name="Title 1"/>
          <p:cNvSpPr>
            <a:spLocks noGrp="1"/>
          </p:cNvSpPr>
          <p:nvPr>
            <p:ph type="title"/>
          </p:nvPr>
        </p:nvSpPr>
        <p:spPr>
          <a:xfrm>
            <a:off x="531812" y="1905000"/>
            <a:ext cx="4800600" cy="1645920"/>
          </a:xfrm>
        </p:spPr>
        <p:txBody>
          <a:bodyPr anchor="b"/>
          <a:lstStyle>
            <a:lvl1pPr algn="l">
              <a:lnSpc>
                <a:spcPct val="80000"/>
              </a:lnSpc>
              <a:defRPr sz="4800" b="0"/>
            </a:lvl1pPr>
          </a:lstStyle>
          <a:p>
            <a:r>
              <a:rPr lang="en-US" smtClean="0"/>
              <a:t>Click to edit Master title style</a:t>
            </a:r>
            <a:endParaRPr dirty="0"/>
          </a:p>
        </p:txBody>
      </p:sp>
      <p:sp>
        <p:nvSpPr>
          <p:cNvPr id="3" name="Picture Placeholder 2"/>
          <p:cNvSpPr>
            <a:spLocks noGrp="1"/>
          </p:cNvSpPr>
          <p:nvPr>
            <p:ph type="pic" idx="1"/>
          </p:nvPr>
        </p:nvSpPr>
        <p:spPr>
          <a:xfrm>
            <a:off x="5588456" y="533400"/>
            <a:ext cx="6068558" cy="5410200"/>
          </a:xfrm>
          <a:no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3657600"/>
            <a:ext cx="4800599" cy="1645920"/>
          </a:xfrm>
        </p:spPr>
        <p:txBody>
          <a:bodyPr>
            <a:noAutofit/>
          </a:bodyPr>
          <a:lstStyle>
            <a:lvl1pPr marL="0" indent="0">
              <a:spcBef>
                <a:spcPts val="0"/>
              </a:spcBef>
              <a:buNone/>
              <a:defRPr sz="2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216978-AAC9-904E-ABF1-80828AE7CA1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433941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Remote Speaker 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4605984-D551-B648-83CC-28ABAB9E27F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p:cNvSpPr>
          <p:nvPr>
            <p:ph type="pic" sz="quarter" idx="14" hasCustomPrompt="1"/>
          </p:nvPr>
        </p:nvSpPr>
        <p:spPr>
          <a:xfrm>
            <a:off x="2286000" y="1828800"/>
            <a:ext cx="3474720" cy="3840480"/>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
        <p:nvSpPr>
          <p:cNvPr id="10" name="Text Placeholder 10"/>
          <p:cNvSpPr>
            <a:spLocks noGrp="1"/>
          </p:cNvSpPr>
          <p:nvPr>
            <p:ph type="body" sz="quarter" idx="15"/>
          </p:nvPr>
        </p:nvSpPr>
        <p:spPr>
          <a:xfrm>
            <a:off x="6035040" y="1828799"/>
            <a:ext cx="5621972" cy="3840480"/>
          </a:xfrm>
        </p:spPr>
        <p:txBody>
          <a:bodyPr anchor="ctr" anchorCtr="0"/>
          <a:lstStyle>
            <a:lvl1pPr>
              <a:spcBef>
                <a:spcPts val="0"/>
              </a:spcBef>
              <a:spcAft>
                <a:spcPts val="800"/>
              </a:spcAft>
              <a:buClr>
                <a:schemeClr val="bg1"/>
              </a:buClr>
              <a:defRPr b="1"/>
            </a:lvl1pPr>
            <a:lvl2pPr marL="228600">
              <a:spcBef>
                <a:spcPts val="0"/>
              </a:spcBef>
              <a:buClr>
                <a:schemeClr val="bg1"/>
              </a:buClr>
              <a:defRPr/>
            </a:lvl2pPr>
          </a:lstStyle>
          <a:p>
            <a:pPr lvl="0"/>
            <a:r>
              <a:rPr lang="en-US" smtClean="0"/>
              <a:t>Click to edit Master text styles</a:t>
            </a:r>
          </a:p>
          <a:p>
            <a:pPr lvl="1"/>
            <a:r>
              <a:rPr lang="en-US" smtClean="0"/>
              <a:t>Second level</a:t>
            </a: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72707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Quote with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765FA284-DFBA-B546-A779-7827ED570E32}"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35120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8812" y="1905000"/>
            <a:ext cx="8456613" cy="2209800"/>
          </a:xfrm>
        </p:spPr>
        <p:txBody>
          <a:bodyPr anchor="t"/>
          <a:lstStyle>
            <a:lvl1pPr marL="228600" indent="-228600" algn="l">
              <a:defRPr sz="4000" b="0"/>
            </a:lvl1pPr>
          </a:lstStyle>
          <a:p>
            <a:r>
              <a:rPr dirty="0"/>
              <a:t>“Click to type customer or partner quote surrounded by quotation marks.”</a:t>
            </a:r>
          </a:p>
        </p:txBody>
      </p:sp>
      <p:sp>
        <p:nvSpPr>
          <p:cNvPr id="4" name="Text Placeholder 3"/>
          <p:cNvSpPr>
            <a:spLocks noGrp="1"/>
          </p:cNvSpPr>
          <p:nvPr>
            <p:ph type="body" sz="half" idx="2" hasCustomPrompt="1"/>
          </p:nvPr>
        </p:nvSpPr>
        <p:spPr>
          <a:xfrm>
            <a:off x="3503611" y="4191000"/>
            <a:ext cx="8151813" cy="762000"/>
          </a:xfrm>
        </p:spPr>
        <p:txBody>
          <a:bodyPr>
            <a:noAutofit/>
          </a:bodyPr>
          <a:lstStyle>
            <a:lvl1pPr marL="292100" indent="-292100">
              <a:spcBef>
                <a:spcPts val="0"/>
              </a:spcBef>
              <a:buClr>
                <a:schemeClr val="tx1"/>
              </a:buClr>
              <a:buFont typeface="Arial" panose="020B0604020202020204" pitchFamily="34" charset="0"/>
              <a:buChar char="–"/>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dirty="0"/>
              <a:t>Click to add Name, Title, Company</a:t>
            </a:r>
          </a:p>
        </p:txBody>
      </p:sp>
      <p:sp>
        <p:nvSpPr>
          <p:cNvPr id="5" name="Date Placeholder 4"/>
          <p:cNvSpPr>
            <a:spLocks noGrp="1"/>
          </p:cNvSpPr>
          <p:nvPr>
            <p:ph type="dt" sz="half" idx="10"/>
          </p:nvPr>
        </p:nvSpPr>
        <p:spPr/>
        <p:txBody>
          <a:bodyPr/>
          <a:lstStyle/>
          <a:p>
            <a:fld id="{25CFA18C-E322-D848-90AE-048444F05653}"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Picture Placeholder 15"/>
          <p:cNvSpPr>
            <a:spLocks noGrp="1" noChangeAspect="1"/>
          </p:cNvSpPr>
          <p:nvPr>
            <p:ph type="pic" sz="quarter" idx="14" hasCustomPrompt="1"/>
          </p:nvPr>
        </p:nvSpPr>
        <p:spPr>
          <a:xfrm>
            <a:off x="531812" y="1905000"/>
            <a:ext cx="2194560" cy="3072384"/>
          </a:xfrm>
          <a:solidFill>
            <a:schemeClr val="bg2"/>
          </a:solidFill>
        </p:spPr>
        <p:txBody>
          <a:bodyPr tIns="91440">
            <a:noAutofit/>
          </a:bodyPr>
          <a:lstStyle>
            <a:lvl1pPr marL="0" indent="0" algn="ctr">
              <a:spcBef>
                <a:spcPts val="0"/>
              </a:spcBef>
              <a:buNone/>
              <a:defRPr sz="1800" baseline="0">
                <a:solidFill>
                  <a:schemeClr val="tx1"/>
                </a:solidFill>
              </a:defRPr>
            </a:lvl1pPr>
          </a:lstStyle>
          <a:p>
            <a:r>
              <a:rPr dirty="0"/>
              <a:t>Click icon to insert picture</a:t>
            </a:r>
          </a:p>
        </p:txBody>
      </p:sp>
    </p:spTree>
    <p:extLst>
      <p:ext uri="{BB962C8B-B14F-4D97-AF65-F5344CB8AC3E}">
        <p14:creationId xmlns:p14="http://schemas.microsoft.com/office/powerpoint/2010/main" val="61172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cxnSp>
        <p:nvCxnSpPr>
          <p:cNvPr id="9" name="Straight Connector 8"/>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3" y="1524001"/>
            <a:ext cx="5410199"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D23F527-3A46-1444-AC47-E74332FAE46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64203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cxnSp>
        <p:nvCxnSpPr>
          <p:cNvPr id="9" name="Straight Connector 8"/>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531814"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435705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E1F5459C-11CD-4246-BAA2-A0CD8B7930C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3"/>
          <p:cNvSpPr>
            <a:spLocks noGrp="1"/>
          </p:cNvSpPr>
          <p:nvPr>
            <p:ph sz="half" idx="13"/>
          </p:nvPr>
        </p:nvSpPr>
        <p:spPr>
          <a:xfrm>
            <a:off x="8182292" y="1524001"/>
            <a:ext cx="3474720" cy="4419600"/>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09169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1813" y="1524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6246814" y="1524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DB793641-39FE-9941-B493-4C6CA22258AD}"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Content Placeholder 2"/>
          <p:cNvSpPr>
            <a:spLocks noGrp="1"/>
          </p:cNvSpPr>
          <p:nvPr>
            <p:ph sz="half" idx="13"/>
          </p:nvPr>
        </p:nvSpPr>
        <p:spPr>
          <a:xfrm>
            <a:off x="531813" y="3810001"/>
            <a:ext cx="5410199"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Content Placeholder 3"/>
          <p:cNvSpPr>
            <a:spLocks noGrp="1"/>
          </p:cNvSpPr>
          <p:nvPr>
            <p:ph sz="half" idx="14"/>
          </p:nvPr>
        </p:nvSpPr>
        <p:spPr>
          <a:xfrm>
            <a:off x="6246814" y="3810001"/>
            <a:ext cx="5410198" cy="2133599"/>
          </a:xfrm>
        </p:spPr>
        <p:txBody>
          <a:bodyPr>
            <a:noAutofit/>
          </a:bodyPr>
          <a:lstStyle>
            <a:lvl1pPr>
              <a:defRPr sz="2400"/>
            </a:lvl1pPr>
            <a:lvl2pPr>
              <a:defRPr sz="2000"/>
            </a:lvl2pPr>
            <a:lvl3pPr>
              <a:defRPr sz="1800"/>
            </a:lvl3pPr>
            <a:lvl4pPr>
              <a:defRPr sz="16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61742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Quadrant for Infographic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E6E0838-3E10-424A-93AC-472DD16011EC}"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5"/>
          </p:nvPr>
        </p:nvSpPr>
        <p:spPr>
          <a:xfrm>
            <a:off x="2436811"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cxnSp>
        <p:nvCxnSpPr>
          <p:cNvPr id="13" name="Straight Connector 12"/>
          <p:cNvCxnSpPr/>
          <p:nvPr/>
        </p:nvCxnSpPr>
        <p:spPr bwMode="ltGray">
          <a:xfrm flipH="1">
            <a:off x="531813" y="3733800"/>
            <a:ext cx="11125201" cy="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6"/>
          </p:nvPr>
        </p:nvSpPr>
        <p:spPr>
          <a:xfrm>
            <a:off x="8151812" y="1524001"/>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7" name="Text Placeholder 11"/>
          <p:cNvSpPr>
            <a:spLocks noGrp="1"/>
          </p:cNvSpPr>
          <p:nvPr>
            <p:ph type="body" sz="quarter" idx="17"/>
          </p:nvPr>
        </p:nvSpPr>
        <p:spPr>
          <a:xfrm>
            <a:off x="2436811"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18" name="Text Placeholder 11"/>
          <p:cNvSpPr>
            <a:spLocks noGrp="1"/>
          </p:cNvSpPr>
          <p:nvPr>
            <p:ph type="body" sz="quarter" idx="18"/>
          </p:nvPr>
        </p:nvSpPr>
        <p:spPr>
          <a:xfrm>
            <a:off x="8151812" y="3931920"/>
            <a:ext cx="3505201" cy="2011680"/>
          </a:xfrm>
        </p:spPr>
        <p:txBody>
          <a:bodyPr anchor="ctr">
            <a:noAutofit/>
          </a:bodyPr>
          <a:lstStyle>
            <a:lvl1pPr marL="0" indent="0">
              <a:spcBef>
                <a:spcPts val="1200"/>
              </a:spcBef>
              <a:buFont typeface="Arial" panose="020B0604020202020204" pitchFamily="34" charset="0"/>
              <a:buNone/>
              <a:defRPr sz="24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140583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Metric">
    <p:spTree>
      <p:nvGrpSpPr>
        <p:cNvPr id="1" name=""/>
        <p:cNvGrpSpPr/>
        <p:nvPr/>
      </p:nvGrpSpPr>
      <p:grpSpPr>
        <a:xfrm>
          <a:off x="0" y="0"/>
          <a:ext cx="0" cy="0"/>
          <a:chOff x="0" y="0"/>
          <a:chExt cx="0" cy="0"/>
        </a:xfrm>
      </p:grpSpPr>
      <p:sp>
        <p:nvSpPr>
          <p:cNvPr id="12" name="Text Placeholder 11"/>
          <p:cNvSpPr>
            <a:spLocks noGrp="1"/>
          </p:cNvSpPr>
          <p:nvPr>
            <p:ph type="body" sz="quarter" idx="15"/>
          </p:nvPr>
        </p:nvSpPr>
        <p:spPr>
          <a:xfrm>
            <a:off x="5256213" y="1524000"/>
            <a:ext cx="5486400" cy="2743200"/>
          </a:xfrm>
        </p:spPr>
        <p:txBody>
          <a:bodyPr anchor="ctr">
            <a:noAutofit/>
          </a:bodyPr>
          <a:lstStyle>
            <a:lvl1pPr marL="0" indent="0">
              <a:spcBef>
                <a:spcPts val="1200"/>
              </a:spcBef>
              <a:buFont typeface="Arial" panose="020B0604020202020204" pitchFamily="34" charset="0"/>
              <a:buNone/>
              <a:defRPr sz="2800"/>
            </a:lvl1pPr>
            <a:lvl2pPr marL="171450" indent="-171450">
              <a:spcBef>
                <a:spcPts val="1200"/>
              </a:spcBef>
              <a:buFont typeface="Arial" panose="020B0604020202020204" pitchFamily="34" charset="0"/>
              <a:buChar char="•"/>
              <a:defRPr sz="2000"/>
            </a:lvl2pPr>
            <a:lvl3pPr marL="171450" indent="-171450">
              <a:spcBef>
                <a:spcPts val="1200"/>
              </a:spcBef>
              <a:buFont typeface="Arial" panose="020B0604020202020204" pitchFamily="34" charset="0"/>
              <a:buChar char="•"/>
              <a:defRPr sz="2000"/>
            </a:lvl3pPr>
            <a:lvl4pPr marL="171450" indent="-171450">
              <a:spcBef>
                <a:spcPts val="1200"/>
              </a:spcBef>
              <a:buFont typeface="Arial" panose="020B0604020202020204" pitchFamily="34" charset="0"/>
              <a:buChar char="•"/>
              <a:defRPr sz="2000"/>
            </a:lvl4pPr>
            <a:lvl5pPr marL="171450" indent="-171450">
              <a:spcBef>
                <a:spcPts val="1200"/>
              </a:spcBef>
              <a:buFont typeface="Arial" panose="020B0604020202020204" pitchFamily="34" charset="0"/>
              <a:buChar char="•"/>
              <a:defRPr sz="2000"/>
            </a:lvl5pPr>
            <a:lvl6pPr marL="171450" indent="-171450">
              <a:spcBef>
                <a:spcPts val="1200"/>
              </a:spcBef>
              <a:buFont typeface="Arial" panose="020B0604020202020204" pitchFamily="34" charset="0"/>
              <a:buChar char="•"/>
              <a:defRPr sz="2000"/>
            </a:lvl6pPr>
            <a:lvl7pPr marL="171450" indent="-171450">
              <a:spcBef>
                <a:spcPts val="1200"/>
              </a:spcBef>
              <a:buFont typeface="Arial" panose="020B0604020202020204" pitchFamily="34" charset="0"/>
              <a:buChar char="•"/>
              <a:defRPr sz="2000"/>
            </a:lvl7pPr>
            <a:lvl8pPr marL="171450" indent="-171450">
              <a:spcBef>
                <a:spcPts val="1200"/>
              </a:spcBef>
              <a:buFont typeface="Arial" panose="020B0604020202020204" pitchFamily="34" charset="0"/>
              <a:buChar char="•"/>
              <a:defRPr sz="2000"/>
            </a:lvl8pPr>
            <a:lvl9pPr marL="171450" indent="-171450">
              <a:spcBef>
                <a:spcPts val="1200"/>
              </a:spcBef>
              <a:buFont typeface="Arial" panose="020B0604020202020204" pitchFamily="34" charset="0"/>
              <a:buChar char="•"/>
              <a:defRPr sz="2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CB2A62B-A9A1-BD4B-8067-86DD35117CEE}"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hasCustomPrompt="1"/>
          </p:nvPr>
        </p:nvSpPr>
        <p:spPr>
          <a:xfrm>
            <a:off x="760412" y="1524000"/>
            <a:ext cx="4076700" cy="2743200"/>
          </a:xfrm>
        </p:spPr>
        <p:txBody>
          <a:bodyPr anchor="ctr"/>
          <a:lstStyle>
            <a:lvl1pPr algn="r">
              <a:defRPr sz="16600" b="1">
                <a:solidFill>
                  <a:schemeClr val="accent2"/>
                </a:solidFill>
              </a:defRPr>
            </a:lvl1pPr>
          </a:lstStyle>
          <a:p>
            <a:r>
              <a:rPr lang="en-US" dirty="0" smtClean="0"/>
              <a:t>XX</a:t>
            </a:r>
            <a:endParaRPr lang="en-US" dirty="0"/>
          </a:p>
        </p:txBody>
      </p:sp>
    </p:spTree>
    <p:extLst>
      <p:ext uri="{BB962C8B-B14F-4D97-AF65-F5344CB8AC3E}">
        <p14:creationId xmlns:p14="http://schemas.microsoft.com/office/powerpoint/2010/main" val="784318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10" name="Straight Connector 9"/>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531812"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31812"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3"/>
          </p:nvPr>
        </p:nvSpPr>
        <p:spPr>
          <a:xfrm>
            <a:off x="6243764" y="1524000"/>
            <a:ext cx="5413248" cy="762000"/>
          </a:xfrm>
        </p:spPr>
        <p:txBody>
          <a:bodyPr anchor="ctr">
            <a:noAutofit/>
          </a:bodyPr>
          <a:lstStyle>
            <a:lvl1pPr marL="0" indent="0">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43764" y="2362200"/>
            <a:ext cx="5413248" cy="35814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6"/>
          <p:cNvSpPr>
            <a:spLocks noGrp="1"/>
          </p:cNvSpPr>
          <p:nvPr>
            <p:ph type="dt" sz="half" idx="10"/>
          </p:nvPr>
        </p:nvSpPr>
        <p:spPr/>
        <p:txBody>
          <a:bodyPr/>
          <a:lstStyle/>
          <a:p>
            <a:fld id="{3CFFFFBC-830B-BE48-A60F-3A3B7341FF90}" type="datetime1">
              <a:rPr lang="en-US" smtClean="0">
                <a:solidFill>
                  <a:srgbClr val="58595B"/>
                </a:solidFill>
              </a:rPr>
              <a:pPr/>
              <a:t>11/10/2016</a:t>
            </a:fld>
            <a:endParaRPr dirty="0">
              <a:solidFill>
                <a:srgbClr val="58595B"/>
              </a:solidFill>
            </a:endParaRPr>
          </a:p>
        </p:txBody>
      </p:sp>
      <p:sp>
        <p:nvSpPr>
          <p:cNvPr id="8" name="Footer Placeholder 7"/>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9" name="Slide Number Placeholder 8"/>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39028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7" name="Text Placeholder 12"/>
          <p:cNvSpPr>
            <a:spLocks noGrp="1"/>
          </p:cNvSpPr>
          <p:nvPr>
            <p:ph type="body" sz="quarter" idx="13" hasCustomPrompt="1"/>
          </p:nvPr>
        </p:nvSpPr>
        <p:spPr>
          <a:xfrm>
            <a:off x="531816"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3" name="Content Placeholder 2"/>
          <p:cNvSpPr>
            <a:spLocks noGrp="1"/>
          </p:cNvSpPr>
          <p:nvPr>
            <p:ph idx="1"/>
          </p:nvPr>
        </p:nvSpPr>
        <p:spPr>
          <a:xfrm>
            <a:off x="531153"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E248A2DF-98E5-4437-B842-E0DCD9A6A408}"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337176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5" name="Date Placeholder 4"/>
          <p:cNvSpPr>
            <a:spLocks noGrp="1"/>
          </p:cNvSpPr>
          <p:nvPr>
            <p:ph type="dt" sz="half" idx="10"/>
          </p:nvPr>
        </p:nvSpPr>
        <p:spPr/>
        <p:txBody>
          <a:bodyPr/>
          <a:lstStyle/>
          <a:p>
            <a:fld id="{428B3FCF-EC95-4426-B022-9B31F7E6F3F8}"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4532312" y="1975104"/>
            <a:ext cx="5248656" cy="3328416"/>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62906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39A174-1ADF-1E48-B6DD-36515CA54732}"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0702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F9DE5E5-CA66-5940-9D1C-9F6D8D7529FE}" type="datetime1">
              <a:rPr lang="en-US" smtClean="0">
                <a:solidFill>
                  <a:srgbClr val="58595B"/>
                </a:solidFill>
              </a:rPr>
              <a:pPr/>
              <a:t>11/10/2016</a:t>
            </a:fld>
            <a:endParaRPr dirty="0">
              <a:solidFill>
                <a:srgbClr val="58595B"/>
              </a:solidFill>
            </a:endParaRPr>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6" name="Text Placeholder 12"/>
          <p:cNvSpPr>
            <a:spLocks noGrp="1"/>
          </p:cNvSpPr>
          <p:nvPr>
            <p:ph type="body" sz="quarter" idx="13" hasCustomPrompt="1"/>
          </p:nvPr>
        </p:nvSpPr>
        <p:spPr>
          <a:xfrm>
            <a:off x="531814" y="1373741"/>
            <a:ext cx="11125198"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
        <p:nvSpPr>
          <p:cNvPr id="7" name="Title 6"/>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41467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19AFBF-606B-E543-8502-3BFA1F086CBC}"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195934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62" y="1524000"/>
            <a:ext cx="7772550" cy="4419600"/>
          </a:xfrm>
        </p:spPr>
        <p:txBody>
          <a:bodyPr>
            <a:noAutofit/>
          </a:bodyPr>
          <a:lstStyle>
            <a:lvl1pPr>
              <a:defRPr sz="2800"/>
            </a:lvl1pPr>
            <a:lvl2pPr>
              <a:defRPr sz="24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3"/>
          <p:cNvSpPr>
            <a:spLocks noGrp="1"/>
          </p:cNvSpPr>
          <p:nvPr>
            <p:ph type="body" sz="half" idx="2"/>
          </p:nvPr>
        </p:nvSpPr>
        <p:spPr>
          <a:xfrm>
            <a:off x="8777288" y="1524001"/>
            <a:ext cx="2971800"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0AF893-3E10-FD41-AEC9-8B3D0A4A185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405719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531813" y="1524000"/>
            <a:ext cx="6095999" cy="4416725"/>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7008812" y="1524000"/>
            <a:ext cx="4648201" cy="4419600"/>
          </a:xfrm>
        </p:spPr>
        <p:txBody>
          <a:bodyPr>
            <a:no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F325C25-20DE-A84C-A42C-F77161DB4A9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15450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cxnSp>
        <p:nvCxnSpPr>
          <p:cNvPr id="8" name="Straight Connector 7"/>
          <p:cNvCxnSpPr/>
          <p:nvPr/>
        </p:nvCxnSpPr>
        <p:spPr bwMode="ltGray">
          <a:xfrm>
            <a:off x="6094413"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95EB4F4-FDFD-ED43-860C-BD557FEEC804}"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246812" y="1524000"/>
            <a:ext cx="5413248" cy="347472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6246811" y="5105400"/>
            <a:ext cx="5410200" cy="838200"/>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itle 10"/>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276344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cxnSp>
        <p:nvCxnSpPr>
          <p:cNvPr id="11" name="Straight Connector 10"/>
          <p:cNvCxnSpPr/>
          <p:nvPr/>
        </p:nvCxnSpPr>
        <p:spPr bwMode="ltGray">
          <a:xfrm>
            <a:off x="418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ltGray">
          <a:xfrm>
            <a:off x="7999412" y="1524000"/>
            <a:ext cx="0" cy="4419600"/>
          </a:xfrm>
          <a:prstGeom prst="line">
            <a:avLst/>
          </a:prstGeom>
          <a:ln w="19050">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idx="1"/>
          </p:nvPr>
        </p:nvSpPr>
        <p:spPr bwMode="gray">
          <a:xfrm>
            <a:off x="531813"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ext Placeholder 3"/>
          <p:cNvSpPr>
            <a:spLocks noGrp="1"/>
          </p:cNvSpPr>
          <p:nvPr>
            <p:ph type="body" sz="half" idx="2"/>
          </p:nvPr>
        </p:nvSpPr>
        <p:spPr>
          <a:xfrm>
            <a:off x="53181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40CA68-5E1D-2648-A796-3AC679BBE128}"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35705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0" name="Text Placeholder 3"/>
          <p:cNvSpPr>
            <a:spLocks noGrp="1"/>
          </p:cNvSpPr>
          <p:nvPr>
            <p:ph type="body" sz="half" idx="14"/>
          </p:nvPr>
        </p:nvSpPr>
        <p:spPr>
          <a:xfrm>
            <a:off x="435705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182292" y="1524000"/>
            <a:ext cx="3474720" cy="3048000"/>
          </a:xfrm>
          <a:solidFill>
            <a:schemeClr val="bg2"/>
          </a:solidFill>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14" name="Text Placeholder 3"/>
          <p:cNvSpPr>
            <a:spLocks noGrp="1"/>
          </p:cNvSpPr>
          <p:nvPr>
            <p:ph type="body" sz="half" idx="16"/>
          </p:nvPr>
        </p:nvSpPr>
        <p:spPr>
          <a:xfrm>
            <a:off x="8182292" y="4701396"/>
            <a:ext cx="3474720" cy="1242204"/>
          </a:xfrm>
        </p:spPr>
        <p:txBody>
          <a:bodyPr>
            <a:no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15544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iOS Smartphone and Tablet: Horizontal">
    <p:spTree>
      <p:nvGrpSpPr>
        <p:cNvPr id="1" name=""/>
        <p:cNvGrpSpPr/>
        <p:nvPr/>
      </p:nvGrpSpPr>
      <p:grpSpPr>
        <a:xfrm>
          <a:off x="0" y="0"/>
          <a:ext cx="0" cy="0"/>
          <a:chOff x="0" y="0"/>
          <a:chExt cx="0" cy="0"/>
        </a:xfrm>
      </p:grpSpPr>
      <p:pic>
        <p:nvPicPr>
          <p:cNvPr id="2" name="Picture 1" descr="Photos, screen captures, graphics can be inserted in a white mobile phone and tablet"/>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6717" y="1522826"/>
            <a:ext cx="6495366" cy="4567423"/>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70494" y="1827861"/>
            <a:ext cx="1840875" cy="3887139"/>
          </a:xfrm>
          <a:prstGeom prst="rect">
            <a:avLst/>
          </a:prstGeom>
        </p:spPr>
      </p:pic>
      <p:sp>
        <p:nvSpPr>
          <p:cNvPr id="3" name="Picture Placeholder 2"/>
          <p:cNvSpPr>
            <a:spLocks noGrp="1"/>
          </p:cNvSpPr>
          <p:nvPr>
            <p:ph type="pic" idx="1"/>
          </p:nvPr>
        </p:nvSpPr>
        <p:spPr bwMode="gray">
          <a:xfrm>
            <a:off x="1889122" y="2364583"/>
            <a:ext cx="161848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DA38B655-5B37-774F-952B-2EF42A453626}"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850231"/>
            <a:ext cx="5246688" cy="396954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194738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iOS Smartphone and Tablet: Vertical">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518"/>
          <a:stretch/>
        </p:blipFill>
        <p:spPr>
          <a:xfrm rot="5400000">
            <a:off x="5748377" y="1113567"/>
            <a:ext cx="6007047" cy="4567423"/>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E63E8679-970F-0E44-9FB8-4B88F38302EF}"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6747673" y="1013144"/>
            <a:ext cx="3962137" cy="5252348"/>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3" name="Picture 12" descr="Photos, screen captures, graphics can be inserted in a white mobile phone and tablet"/>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0812" y="1905000"/>
            <a:ext cx="1840875" cy="3887139"/>
          </a:xfrm>
          <a:prstGeom prst="rect">
            <a:avLst/>
          </a:prstGeom>
        </p:spPr>
      </p:pic>
      <p:sp>
        <p:nvSpPr>
          <p:cNvPr id="14" name="Picture Placeholder 2"/>
          <p:cNvSpPr>
            <a:spLocks noGrp="1"/>
          </p:cNvSpPr>
          <p:nvPr>
            <p:ph type="pic" idx="1"/>
          </p:nvPr>
        </p:nvSpPr>
        <p:spPr bwMode="gray">
          <a:xfrm>
            <a:off x="4079443" y="2448864"/>
            <a:ext cx="1618488" cy="2834640"/>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258740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Android Smartphone and Tablet: Horizont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6728" y="2011145"/>
            <a:ext cx="1819656" cy="3522853"/>
          </a:xfrm>
          <a:prstGeom prst="rect">
            <a:avLst/>
          </a:prstGeom>
        </p:spPr>
      </p:pic>
      <p:pic>
        <p:nvPicPr>
          <p:cNvPr id="11" name="Picture 10"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41990" y="1585322"/>
            <a:ext cx="5829300" cy="4107283"/>
          </a:xfrm>
          <a:prstGeom prst="rect">
            <a:avLst/>
          </a:prstGeom>
        </p:spPr>
      </p:pic>
      <p:sp>
        <p:nvSpPr>
          <p:cNvPr id="3" name="Picture Placeholder 2"/>
          <p:cNvSpPr>
            <a:spLocks noGrp="1"/>
          </p:cNvSpPr>
          <p:nvPr>
            <p:ph type="pic" idx="1"/>
          </p:nvPr>
        </p:nvSpPr>
        <p:spPr bwMode="gray">
          <a:xfrm>
            <a:off x="1910171" y="2364583"/>
            <a:ext cx="1572768" cy="2833684"/>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5" name="Date Placeholder 4"/>
          <p:cNvSpPr>
            <a:spLocks noGrp="1"/>
          </p:cNvSpPr>
          <p:nvPr>
            <p:ph type="dt" sz="half" idx="10"/>
          </p:nvPr>
        </p:nvSpPr>
        <p:spPr/>
        <p:txBody>
          <a:bodyPr/>
          <a:lstStyle/>
          <a:p>
            <a:fld id="{8B482C15-144D-5047-A5F1-7D99D84BBFB0}"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4532312" y="1975104"/>
            <a:ext cx="5248656" cy="3328416"/>
          </a:xfrm>
          <a:solidFill>
            <a:schemeClr val="tx2">
              <a:lumMod val="20000"/>
              <a:lumOff val="80000"/>
            </a:schemeClr>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
        <p:nvSpPr>
          <p:cNvPr id="4" name="Title 3"/>
          <p:cNvSpPr>
            <a:spLocks noGrp="1"/>
          </p:cNvSpPr>
          <p:nvPr>
            <p:ph type="title"/>
          </p:nvPr>
        </p:nvSpPr>
        <p:spPr/>
        <p:txBody>
          <a:bodyPr/>
          <a:lstStyle/>
          <a:p>
            <a:r>
              <a:rPr lang="en-US" smtClean="0"/>
              <a:t>Click to edit Master title style</a:t>
            </a:r>
            <a:endParaRPr dirty="0"/>
          </a:p>
        </p:txBody>
      </p:sp>
    </p:spTree>
    <p:extLst>
      <p:ext uri="{BB962C8B-B14F-4D97-AF65-F5344CB8AC3E}">
        <p14:creationId xmlns:p14="http://schemas.microsoft.com/office/powerpoint/2010/main" val="369559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74EE71CC-53C6-435F-8AFE-71A3FBB2D61C}" type="datetime1">
              <a:rPr lang="en-US" smtClean="0">
                <a:solidFill>
                  <a:srgbClr val="5F5F5F"/>
                </a:solidFill>
              </a:rPr>
              <a:pPr/>
              <a:t>11/10/2016</a:t>
            </a:fld>
            <a:endParaRPr dirty="0">
              <a:solidFill>
                <a:srgbClr val="5F5F5F"/>
              </a:solidFill>
            </a:endParaRPr>
          </a:p>
        </p:txBody>
      </p:sp>
      <p:sp>
        <p:nvSpPr>
          <p:cNvPr id="6" name="Footer Placeholder 5"/>
          <p:cNvSpPr>
            <a:spLocks noGrp="1"/>
          </p:cNvSpPr>
          <p:nvPr>
            <p:ph type="ftr" sz="quarter" idx="11"/>
          </p:nvPr>
        </p:nvSpPr>
        <p:spPr>
          <a:xfrm>
            <a:off x="8777290" y="6556248"/>
            <a:ext cx="2498722" cy="182880"/>
          </a:xfrm>
          <a:prstGeom prst="rect">
            <a:avLst/>
          </a:prstGeom>
        </p:spPr>
        <p:txBody>
          <a:bodyPr/>
          <a:lstStyle/>
          <a:p>
            <a:r>
              <a:rPr dirty="0">
                <a:solidFill>
                  <a:srgbClr val="5F5F5F"/>
                </a:solidFill>
              </a:rPr>
              <a:t>Oracle Confidential – Internal/Restricted/Highly Restricted</a:t>
            </a:r>
          </a:p>
        </p:txBody>
      </p:sp>
      <p:sp>
        <p:nvSpPr>
          <p:cNvPr id="7" name="Slide Number Placeholder 6"/>
          <p:cNvSpPr>
            <a:spLocks noGrp="1"/>
          </p:cNvSpPr>
          <p:nvPr>
            <p:ph type="sldNum" sz="quarter" idx="12"/>
          </p:nvPr>
        </p:nvSpPr>
        <p:spPr/>
        <p:txBody>
          <a:bodyPr/>
          <a:lstStyle/>
          <a:p>
            <a:fld id="{C51EAA63-D034-42AE-91FA-B13B9518C7BE}" type="slidenum">
              <a:rPr>
                <a:solidFill>
                  <a:srgbClr val="5F5F5F"/>
                </a:solidFill>
              </a:rPr>
              <a:pPr/>
              <a:t>‹#›</a:t>
            </a:fld>
            <a:endParaRPr dirty="0">
              <a:solidFill>
                <a:srgbClr val="5F5F5F"/>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pic>
        <p:nvPicPr>
          <p:cNvPr id="19" name="Picture 18"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1270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dirty="0"/>
          </a:p>
        </p:txBody>
      </p:sp>
    </p:spTree>
    <p:extLst>
      <p:ext uri="{BB962C8B-B14F-4D97-AF65-F5344CB8AC3E}">
        <p14:creationId xmlns:p14="http://schemas.microsoft.com/office/powerpoint/2010/main" val="39645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Android Smartphone and Tablet: Vertical">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r="2901"/>
          <a:stretch/>
        </p:blipFill>
        <p:spPr>
          <a:xfrm rot="5400000">
            <a:off x="5891726" y="1502667"/>
            <a:ext cx="5674025" cy="4117325"/>
          </a:xfrm>
          <a:prstGeom prst="rect">
            <a:avLst/>
          </a:prstGeom>
        </p:spPr>
      </p:pic>
      <p:sp>
        <p:nvSpPr>
          <p:cNvPr id="2" name="Title 1"/>
          <p:cNvSpPr>
            <a:spLocks noGrp="1"/>
          </p:cNvSpPr>
          <p:nvPr>
            <p:ph type="title"/>
          </p:nvPr>
        </p:nvSpPr>
        <p:spPr>
          <a:xfrm>
            <a:off x="531811" y="406400"/>
            <a:ext cx="5943600" cy="889000"/>
          </a:xfrm>
        </p:spPr>
        <p:txBody>
          <a:bodyPr anchor="b"/>
          <a:lstStyle>
            <a:lvl1pPr algn="l">
              <a:defRPr sz="3600" b="0"/>
            </a:lvl1pPr>
          </a:lstStyle>
          <a:p>
            <a:r>
              <a:rPr lang="en-US" smtClean="0"/>
              <a:t>Click to edit Master title style</a:t>
            </a:r>
            <a:endParaRPr dirty="0"/>
          </a:p>
        </p:txBody>
      </p:sp>
      <p:sp>
        <p:nvSpPr>
          <p:cNvPr id="5" name="Date Placeholder 4"/>
          <p:cNvSpPr>
            <a:spLocks noGrp="1"/>
          </p:cNvSpPr>
          <p:nvPr>
            <p:ph type="dt" sz="half" idx="10"/>
          </p:nvPr>
        </p:nvSpPr>
        <p:spPr/>
        <p:txBody>
          <a:bodyPr/>
          <a:lstStyle/>
          <a:p>
            <a:fld id="{F8E68280-77B5-7046-8002-0C2A6FF60231}" type="datetime1">
              <a:rPr lang="en-US" smtClean="0">
                <a:solidFill>
                  <a:srgbClr val="58595B"/>
                </a:solidFill>
              </a:rPr>
              <a:pPr/>
              <a:t>11/10/2016</a:t>
            </a:fld>
            <a:endParaRPr dirty="0">
              <a:solidFill>
                <a:srgbClr val="58595B"/>
              </a:solidFill>
            </a:endParaRPr>
          </a:p>
        </p:txBody>
      </p:sp>
      <p:sp>
        <p:nvSpPr>
          <p:cNvPr id="6" name="Footer Placeholder 5"/>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7" name="Slide Number Placeholder 6"/>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9" name="Picture Placeholder 2"/>
          <p:cNvSpPr>
            <a:spLocks noGrp="1"/>
          </p:cNvSpPr>
          <p:nvPr>
            <p:ph type="pic" idx="13"/>
          </p:nvPr>
        </p:nvSpPr>
        <p:spPr bwMode="gray">
          <a:xfrm>
            <a:off x="7061703" y="1013144"/>
            <a:ext cx="3313567" cy="5252348"/>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pic>
        <p:nvPicPr>
          <p:cNvPr id="19" name="Picture 18" descr="Photos, screen captures, graphics can be inserted in a white mobile phone and table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9956" y="2096382"/>
            <a:ext cx="1819656" cy="3522853"/>
          </a:xfrm>
          <a:prstGeom prst="rect">
            <a:avLst/>
          </a:prstGeom>
        </p:spPr>
      </p:pic>
      <p:sp>
        <p:nvSpPr>
          <p:cNvPr id="20" name="Picture Placeholder 2"/>
          <p:cNvSpPr>
            <a:spLocks noGrp="1"/>
          </p:cNvSpPr>
          <p:nvPr>
            <p:ph type="pic" idx="1"/>
          </p:nvPr>
        </p:nvSpPr>
        <p:spPr bwMode="gray">
          <a:xfrm>
            <a:off x="4093399" y="2449820"/>
            <a:ext cx="1572768" cy="2833684"/>
          </a:xfrm>
          <a:solidFill>
            <a:schemeClr val="bg2"/>
          </a:solidFill>
          <a:ln w="6350">
            <a:solidFill>
              <a:schemeClr val="bg2"/>
            </a:solidFill>
          </a:ln>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dirty="0"/>
          </a:p>
        </p:txBody>
      </p:sp>
    </p:spTree>
    <p:extLst>
      <p:ext uri="{BB962C8B-B14F-4D97-AF65-F5344CB8AC3E}">
        <p14:creationId xmlns:p14="http://schemas.microsoft.com/office/powerpoint/2010/main" val="174123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preserve="1">
  <p:cSld name="Metric with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descr="A large metric, brief statement, and 4-color photo can be included here"/>
          <p:cNvSpPr/>
          <p:nvPr/>
        </p:nvSpPr>
        <p:spPr bwMode="hidden">
          <a:xfrm>
            <a:off x="0" y="0"/>
            <a:ext cx="12188825" cy="6858000"/>
          </a:xfrm>
          <a:prstGeom prst="rect">
            <a:avLst/>
          </a:prstGeom>
          <a:gradFill>
            <a:gsLst>
              <a:gs pos="34000">
                <a:srgbClr val="46575E">
                  <a:alpha val="50000"/>
                </a:srgbClr>
              </a:gs>
              <a:gs pos="52000">
                <a:srgbClr val="46575E">
                  <a:alpha val="40000"/>
                </a:srgbClr>
              </a:gs>
              <a:gs pos="100000">
                <a:srgbClr val="46575E">
                  <a:alpha val="4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grpSp>
        <p:nvGrpSpPr>
          <p:cNvPr id="15" name="Group 14"/>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Rectangle 20"/>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pic>
        <p:nvPicPr>
          <p:cNvPr id="23" name="Picture 22"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5" name="Date Placeholder 4"/>
          <p:cNvSpPr>
            <a:spLocks noGrp="1"/>
          </p:cNvSpPr>
          <p:nvPr>
            <p:ph type="dt" sz="half" idx="10"/>
          </p:nvPr>
        </p:nvSpPr>
        <p:spPr/>
        <p:txBody>
          <a:bodyPr/>
          <a:lstStyle>
            <a:lvl1pPr>
              <a:defRPr>
                <a:solidFill>
                  <a:srgbClr val="5F5F5F"/>
                </a:solidFill>
              </a:defRPr>
            </a:lvl1pPr>
          </a:lstStyle>
          <a:p>
            <a:fld id="{D061FBC3-B3BC-0343-8C44-083187317F83}" type="datetime1">
              <a:rPr lang="en-US" smtClean="0"/>
              <a:pPr/>
              <a:t>11/10/2016</a:t>
            </a:fld>
            <a:endParaRPr lang="en-US" dirty="0"/>
          </a:p>
        </p:txBody>
      </p:sp>
      <p:sp>
        <p:nvSpPr>
          <p:cNvPr id="6" name="Footer Placeholder 5"/>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7" name="Slide Number Placeholder 6"/>
          <p:cNvSpPr>
            <a:spLocks noGrp="1"/>
          </p:cNvSpPr>
          <p:nvPr>
            <p:ph type="sldNum" sz="quarter" idx="12"/>
          </p:nvPr>
        </p:nvSpPr>
        <p:spPr/>
        <p:txBody>
          <a:bodyPr/>
          <a:lstStyle>
            <a:lvl1pPr>
              <a:defRPr>
                <a:solidFill>
                  <a:srgbClr val="5F5F5F"/>
                </a:solidFill>
              </a:defRPr>
            </a:lvl1pPr>
          </a:lstStyle>
          <a:p>
            <a:fld id="{C51EAA63-D034-42AE-91FA-B13B9518C7BE}" type="slidenum">
              <a:rPr lang="en-US" smtClean="0"/>
              <a:pPr/>
              <a:t>‹#›</a:t>
            </a:fld>
            <a:endParaRPr lang="en-US" dirty="0"/>
          </a:p>
        </p:txBody>
      </p:sp>
      <p:sp>
        <p:nvSpPr>
          <p:cNvPr id="22" name="Text Placeholder 12"/>
          <p:cNvSpPr>
            <a:spLocks noGrp="1"/>
          </p:cNvSpPr>
          <p:nvPr>
            <p:ph type="body" sz="quarter" idx="13" hasCustomPrompt="1"/>
          </p:nvPr>
        </p:nvSpPr>
        <p:spPr>
          <a:xfrm>
            <a:off x="760412" y="2666999"/>
            <a:ext cx="5029200" cy="1960881"/>
          </a:xfrm>
        </p:spPr>
        <p:txBody>
          <a:bodyPr>
            <a:noAutofit/>
          </a:bodyPr>
          <a:lstStyle>
            <a:lvl1pPr marL="1588" indent="0">
              <a:spcBef>
                <a:spcPts val="0"/>
              </a:spcBef>
              <a:buFontTx/>
              <a:buNone/>
              <a:defRPr sz="28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3" name="Title 2"/>
          <p:cNvSpPr>
            <a:spLocks noGrp="1"/>
          </p:cNvSpPr>
          <p:nvPr>
            <p:ph type="title" hasCustomPrompt="1"/>
          </p:nvPr>
        </p:nvSpPr>
        <p:spPr>
          <a:xfrm>
            <a:off x="760412" y="609600"/>
            <a:ext cx="5029200" cy="2044700"/>
          </a:xfrm>
        </p:spPr>
        <p:txBody>
          <a:bodyPr/>
          <a:lstStyle>
            <a:lvl1pPr>
              <a:defRPr sz="13800" b="1"/>
            </a:lvl1pPr>
          </a:lstStyle>
          <a:p>
            <a:r>
              <a:rPr lang="en-US" dirty="0" smtClean="0"/>
              <a:t>XX</a:t>
            </a:r>
            <a:endParaRPr lang="en-US" dirty="0"/>
          </a:p>
        </p:txBody>
      </p:sp>
      <p:sp>
        <p:nvSpPr>
          <p:cNvPr id="19" name="TextBox 18"/>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spTree>
    <p:extLst>
      <p:ext uri="{BB962C8B-B14F-4D97-AF65-F5344CB8AC3E}">
        <p14:creationId xmlns:p14="http://schemas.microsoft.com/office/powerpoint/2010/main" val="3502960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type="blank" preserve="1">
  <p:cSld name="Safe Harbor Fron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7E3EDE-07F9-F543-A57F-B068A6C6C2E7}"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56948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type="blank" preserve="1">
  <p:cSld name="Safe Harbor B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AF0846-A068-BC48-8252-2B37F39F59F8}"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5" name="TextBox 4"/>
          <p:cNvSpPr txBox="1"/>
          <p:nvPr/>
        </p:nvSpPr>
        <p:spPr>
          <a:xfrm>
            <a:off x="531812" y="1371600"/>
            <a:ext cx="11125200" cy="889000"/>
          </a:xfrm>
          <a:prstGeom prst="rect">
            <a:avLst/>
          </a:prstGeom>
          <a:noFill/>
        </p:spPr>
        <p:txBody>
          <a:bodyPr wrap="none" lIns="0" tIns="0" rIns="0" bIns="0" rtlCol="0" anchor="b">
            <a:noAutofit/>
          </a:bodyPr>
          <a:lstStyle/>
          <a:p>
            <a:pPr defTabSz="914400">
              <a:lnSpc>
                <a:spcPct val="90000"/>
              </a:lnSpc>
            </a:pPr>
            <a:r>
              <a:rPr sz="3200" dirty="0">
                <a:solidFill>
                  <a:srgbClr val="58595B"/>
                </a:solidFill>
              </a:rPr>
              <a:t>Safe Harbor Statement</a:t>
            </a:r>
          </a:p>
        </p:txBody>
      </p:sp>
      <p:sp>
        <p:nvSpPr>
          <p:cNvPr id="6" name="TextBox 5"/>
          <p:cNvSpPr txBox="1"/>
          <p:nvPr/>
        </p:nvSpPr>
        <p:spPr>
          <a:xfrm>
            <a:off x="531812" y="2514600"/>
            <a:ext cx="11125200" cy="2286000"/>
          </a:xfrm>
          <a:prstGeom prst="rect">
            <a:avLst/>
          </a:prstGeom>
          <a:noFill/>
        </p:spPr>
        <p:txBody>
          <a:bodyPr wrap="square" lIns="0" tIns="0" rIns="0" bIns="0" rtlCol="0" anchor="t">
            <a:noAutofit/>
          </a:bodyPr>
          <a:lstStyle/>
          <a:p>
            <a:pPr defTabSz="914400">
              <a:lnSpc>
                <a:spcPct val="90000"/>
              </a:lnSpc>
            </a:pPr>
            <a:r>
              <a:rPr sz="2400" dirty="0">
                <a:solidFill>
                  <a:srgbClr val="58595B"/>
                </a:solidFill>
              </a:rPr>
              <a:t>The preced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and timing of any features or functionality described for Oracle’s products remains at the sole discretion of Oracle.</a:t>
            </a:r>
          </a:p>
        </p:txBody>
      </p:sp>
    </p:spTree>
    <p:extLst>
      <p:ext uri="{BB962C8B-B14F-4D97-AF65-F5344CB8AC3E}">
        <p14:creationId xmlns:p14="http://schemas.microsoft.com/office/powerpoint/2010/main" val="279771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Positioning Statement">
    <p:spTree>
      <p:nvGrpSpPr>
        <p:cNvPr id="1" name=""/>
        <p:cNvGrpSpPr/>
        <p:nvPr/>
      </p:nvGrpSpPr>
      <p:grpSpPr>
        <a:xfrm>
          <a:off x="0" y="0"/>
          <a:ext cx="0" cy="0"/>
          <a:chOff x="0" y="0"/>
          <a:chExt cx="0" cy="0"/>
        </a:xfrm>
      </p:grpSpPr>
      <p:pic>
        <p:nvPicPr>
          <p:cNvPr id="51" name="Picture 50" descr="&quot;Integrated Cloud Applications &amp; Platform Services&quot; tagline in red and blac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19916" y="1722238"/>
            <a:ext cx="7748992" cy="2950267"/>
          </a:xfrm>
          <a:prstGeom prst="rect">
            <a:avLst/>
          </a:prstGeom>
        </p:spPr>
      </p:pic>
      <p:sp>
        <p:nvSpPr>
          <p:cNvPr id="2" name="Date Placeholder 1"/>
          <p:cNvSpPr>
            <a:spLocks noGrp="1"/>
          </p:cNvSpPr>
          <p:nvPr>
            <p:ph type="dt" sz="half" idx="10"/>
          </p:nvPr>
        </p:nvSpPr>
        <p:spPr/>
        <p:txBody>
          <a:bodyPr/>
          <a:lstStyle/>
          <a:p>
            <a:fld id="{68BD323E-1AA8-9945-A9F0-CB54A017EE50}" type="datetime1">
              <a:rPr lang="en-US" smtClean="0">
                <a:solidFill>
                  <a:srgbClr val="58595B"/>
                </a:solidFill>
              </a:rPr>
              <a:pPr/>
              <a:t>11/10/2016</a:t>
            </a:fld>
            <a:endParaRPr dirty="0">
              <a:solidFill>
                <a:srgbClr val="58595B"/>
              </a:solidFill>
            </a:endParaRPr>
          </a:p>
        </p:txBody>
      </p:sp>
      <p:sp>
        <p:nvSpPr>
          <p:cNvPr id="3" name="Footer Placeholder 2"/>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4" name="Slide Number Placeholder 3"/>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133540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Ref idx="1001">
        <a:schemeClr val="bg1"/>
      </p:bgRef>
    </p:bg>
    <p:spTree>
      <p:nvGrpSpPr>
        <p:cNvPr id="1" name=""/>
        <p:cNvGrpSpPr/>
        <p:nvPr/>
      </p:nvGrpSpPr>
      <p:grpSpPr>
        <a:xfrm>
          <a:off x="0" y="0"/>
          <a:ext cx="0" cy="0"/>
          <a:chOff x="0" y="0"/>
          <a:chExt cx="0" cy="0"/>
        </a:xfrm>
      </p:grpSpPr>
      <p:pic>
        <p:nvPicPr>
          <p:cNvPr id="2" name="Picture 1" descr="Oracle logo in white on red staging background. Light blue frame around perimete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hidden">
          <a:xfrm>
            <a:off x="138023" y="129398"/>
            <a:ext cx="11912778" cy="6547450"/>
          </a:xfrm>
          <a:prstGeom prst="rect">
            <a:avLst/>
          </a:prstGeom>
          <a:noFill/>
          <a:ln>
            <a:noFill/>
          </a:ln>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3822128" y="2843826"/>
            <a:ext cx="4544568" cy="569547"/>
          </a:xfrm>
          <a:prstGeom prst="rect">
            <a:avLst/>
          </a:prstGeom>
        </p:spPr>
      </p:pic>
      <p:sp>
        <p:nvSpPr>
          <p:cNvPr id="6" name="Rectangle 5"/>
          <p:cNvSpPr/>
          <p:nvPr/>
        </p:nvSpPr>
        <p:spPr bwMode="gray">
          <a:xfrm>
            <a:off x="-287" y="0"/>
            <a:ext cx="193962"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7" name="Rectangle 6"/>
          <p:cNvSpPr/>
          <p:nvPr/>
        </p:nvSpPr>
        <p:spPr bwMode="gray">
          <a:xfrm>
            <a:off x="11995151" y="5854"/>
            <a:ext cx="193960" cy="6852146"/>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8" name="Rectangle 7"/>
          <p:cNvSpPr/>
          <p:nvPr/>
        </p:nvSpPr>
        <p:spPr bwMode="gray">
          <a:xfrm>
            <a:off x="-286" y="6400800"/>
            <a:ext cx="12189396" cy="457200"/>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286" y="0"/>
            <a:ext cx="12189398" cy="192024"/>
          </a:xfrm>
          <a:prstGeom prst="rect">
            <a:avLst/>
          </a:prstGeom>
          <a:solidFill>
            <a:srgbClr val="D8E1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Tree>
    <p:extLst>
      <p:ext uri="{BB962C8B-B14F-4D97-AF65-F5344CB8AC3E}">
        <p14:creationId xmlns:p14="http://schemas.microsoft.com/office/powerpoint/2010/main" val="119369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31151" y="1524001"/>
            <a:ext cx="11126522" cy="4419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47FD4AC-A98F-AB42-882B-C012365E1081}" type="datetime1">
              <a:rPr lang="en-US" smtClean="0">
                <a:solidFill>
                  <a:srgbClr val="58595B"/>
                </a:solidFill>
              </a:rPr>
              <a:pPr/>
              <a:t>11/10/2016</a:t>
            </a:fld>
            <a:endParaRPr lang="en-US">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lang="en-US">
              <a:solidFill>
                <a:srgbClr val="58595B"/>
              </a:solidFill>
            </a:endParaRPr>
          </a:p>
        </p:txBody>
      </p:sp>
      <p:sp>
        <p:nvSpPr>
          <p:cNvPr id="6" name="Slide Number Placeholder 5"/>
          <p:cNvSpPr>
            <a:spLocks noGrp="1"/>
          </p:cNvSpPr>
          <p:nvPr>
            <p:ph type="sldNum" sz="quarter" idx="12"/>
          </p:nvPr>
        </p:nvSpPr>
        <p:spPr/>
        <p:txBody>
          <a:bodyPr/>
          <a:lstStyle/>
          <a:p>
            <a:fld id="{D4EAF17A-378C-49D5-A479-C71FF9D7F1E7}" type="slidenum">
              <a:rPr lang="en-US" smtClean="0">
                <a:solidFill>
                  <a:srgbClr val="58595B"/>
                </a:solidFill>
              </a:rPr>
              <a:pPr/>
              <a:t>‹#›</a:t>
            </a:fld>
            <a:endParaRPr lang="en-US">
              <a:solidFill>
                <a:srgbClr val="58595B"/>
              </a:solidFill>
            </a:endParaRPr>
          </a:p>
        </p:txBody>
      </p:sp>
    </p:spTree>
    <p:extLst>
      <p:ext uri="{BB962C8B-B14F-4D97-AF65-F5344CB8AC3E}">
        <p14:creationId xmlns:p14="http://schemas.microsoft.com/office/powerpoint/2010/main" val="877413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285413" y="533400"/>
            <a:ext cx="1371600" cy="5410200"/>
          </a:xfrm>
        </p:spPr>
        <p:txBody>
          <a:bodyPr vert="eaVert"/>
          <a:lstStyle>
            <a:lvl1pPr>
              <a:defRPr/>
            </a:lvl1pPr>
          </a:lstStyle>
          <a:p>
            <a:r>
              <a:rPr lang="en-US" smtClean="0"/>
              <a:t>Click to edit Master title style</a:t>
            </a:r>
            <a:endParaRPr dirty="0"/>
          </a:p>
        </p:txBody>
      </p:sp>
      <p:sp>
        <p:nvSpPr>
          <p:cNvPr id="3" name="Vertical Text Placeholder 2"/>
          <p:cNvSpPr>
            <a:spLocks noGrp="1"/>
          </p:cNvSpPr>
          <p:nvPr>
            <p:ph type="body" orient="vert" idx="1"/>
          </p:nvPr>
        </p:nvSpPr>
        <p:spPr>
          <a:xfrm>
            <a:off x="531813" y="533400"/>
            <a:ext cx="9524999"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276A67-317E-FC4B-BB72-4636858DDF23}"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30906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90"/>
            <a:ext cx="10969924" cy="1025071"/>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1072183" y="1358904"/>
            <a:ext cx="10969943" cy="46143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1072183" y="800808"/>
            <a:ext cx="10969943" cy="406400"/>
          </a:xfrm>
        </p:spPr>
        <p:txBody>
          <a:bodyPr>
            <a:noAutofit/>
          </a:bodyPr>
          <a:lstStyle>
            <a:lvl1pPr marL="0" indent="0">
              <a:spcAft>
                <a:spcPts val="0"/>
              </a:spcAft>
              <a:buFontTx/>
              <a:buNone/>
              <a:defRPr sz="2700">
                <a:solidFill>
                  <a:schemeClr val="accent1"/>
                </a:solidFill>
              </a:defRPr>
            </a:lvl1pPr>
            <a:lvl2pPr marL="609392" indent="0">
              <a:buFontTx/>
              <a:buNone/>
              <a:defRPr/>
            </a:lvl2pPr>
            <a:lvl3pPr marL="1218784" indent="0">
              <a:buFontTx/>
              <a:buNone/>
              <a:defRPr/>
            </a:lvl3pPr>
            <a:lvl4pPr marL="1828176" indent="0">
              <a:buFontTx/>
              <a:buNone/>
              <a:defRPr/>
            </a:lvl4pPr>
            <a:lvl5pPr marL="2437568"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3079313019"/>
      </p:ext>
    </p:extLst>
  </p:cSld>
  <p:clrMapOvr>
    <a:masterClrMapping/>
  </p:clrMapOvr>
  <p:transition spd="med">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2" y="2288587"/>
            <a:ext cx="5713413" cy="3731213"/>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rtlCol="0" anchor="ctr"/>
          <a:lstStyle/>
          <a:p>
            <a:pPr algn="ctr" defTabSz="914323"/>
            <a:endParaRPr lang="en-US" sz="1800">
              <a:solidFill>
                <a:srgbClr val="FFFFFF"/>
              </a:solidFill>
            </a:endParaRPr>
          </a:p>
        </p:txBody>
      </p:sp>
      <p:sp>
        <p:nvSpPr>
          <p:cNvPr id="8" name="Rectangle 7"/>
          <p:cNvSpPr/>
          <p:nvPr userDrawn="1"/>
        </p:nvSpPr>
        <p:spPr bwMode="auto">
          <a:xfrm>
            <a:off x="2031" y="1542201"/>
            <a:ext cx="5719945" cy="735097"/>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5" tIns="61368" rIns="122735" bIns="61368" anchor="ctr"/>
          <a:lstStyle/>
          <a:p>
            <a:pPr marL="158710" indent="-158710" algn="ctr" defTabSz="914323">
              <a:defRPr/>
            </a:pPr>
            <a:endParaRPr lang="en-US" sz="53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5755834" y="1542197"/>
            <a:ext cx="6432988" cy="39624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1004463" y="2479525"/>
            <a:ext cx="4174673" cy="2849880"/>
          </a:xfrm>
        </p:spPr>
        <p:txBody>
          <a:bodyPr>
            <a:normAutofit/>
          </a:bodyPr>
          <a:lstStyle>
            <a:lvl1pPr>
              <a:defRPr sz="2100"/>
            </a:lvl1pPr>
          </a:lstStyle>
          <a:p>
            <a:pPr lvl="0"/>
            <a:r>
              <a:rPr lang="en-US" smtClean="0"/>
              <a:t>Click to edit Master text styles</a:t>
            </a:r>
          </a:p>
        </p:txBody>
      </p:sp>
      <p:sp>
        <p:nvSpPr>
          <p:cNvPr id="24" name="Text Placeholder 22"/>
          <p:cNvSpPr>
            <a:spLocks noGrp="1"/>
          </p:cNvSpPr>
          <p:nvPr>
            <p:ph type="body" sz="quarter" idx="14" hasCustomPrompt="1"/>
          </p:nvPr>
        </p:nvSpPr>
        <p:spPr bwMode="white">
          <a:xfrm>
            <a:off x="1072182" y="1551497"/>
            <a:ext cx="4548239" cy="725801"/>
          </a:xfrm>
          <a:noFill/>
        </p:spPr>
        <p:txBody>
          <a:bodyPr lIns="0" tIns="0" rIns="0" bIns="0" anchor="ctr" anchorCtr="0">
            <a:noAutofit/>
          </a:bodyPr>
          <a:lstStyle>
            <a:lvl1pPr marL="0" indent="0">
              <a:spcAft>
                <a:spcPts val="0"/>
              </a:spcAft>
              <a:buNone/>
              <a:defRPr sz="27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1072184" y="327385"/>
            <a:ext cx="10958640" cy="1027283"/>
          </a:xfrm>
        </p:spPr>
        <p:txBody>
          <a:bodyPr anchor="t" anchorCtr="0"/>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659489713"/>
      </p:ext>
    </p:extLst>
  </p:cSld>
  <p:clrMapOvr>
    <a:masterClrMapping/>
  </p:clrMapOvr>
  <p:transition spd="med">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w/Subtitle">
    <p:spTree>
      <p:nvGrpSpPr>
        <p:cNvPr id="1" name=""/>
        <p:cNvGrpSpPr/>
        <p:nvPr/>
      </p:nvGrpSpPr>
      <p:grpSpPr>
        <a:xfrm>
          <a:off x="0" y="0"/>
          <a:ext cx="0" cy="0"/>
          <a:chOff x="0" y="0"/>
          <a:chExt cx="0" cy="0"/>
        </a:xfrm>
      </p:grpSpPr>
      <p:sp>
        <p:nvSpPr>
          <p:cNvPr id="2" name="Title 1"/>
          <p:cNvSpPr>
            <a:spLocks noGrp="1"/>
          </p:cNvSpPr>
          <p:nvPr>
            <p:ph type="title"/>
          </p:nvPr>
        </p:nvSpPr>
        <p:spPr>
          <a:xfrm>
            <a:off x="609441" y="640648"/>
            <a:ext cx="10969943" cy="565045"/>
          </a:xfrm>
        </p:spPr>
        <p:txBody>
          <a:bodyPr/>
          <a:lstStyle/>
          <a:p>
            <a:r>
              <a:rPr lang="de-DE" smtClean="0"/>
              <a:t>Titelmasterformat durch Klicken bearbeiten</a:t>
            </a:r>
            <a:endParaRPr lang="en-US" dirty="0"/>
          </a:p>
        </p:txBody>
      </p:sp>
      <p:sp>
        <p:nvSpPr>
          <p:cNvPr id="6" name="Content Placeholder 5"/>
          <p:cNvSpPr>
            <a:spLocks noGrp="1"/>
          </p:cNvSpPr>
          <p:nvPr>
            <p:ph sz="quarter" idx="12"/>
          </p:nvPr>
        </p:nvSpPr>
        <p:spPr>
          <a:xfrm>
            <a:off x="609441" y="1882707"/>
            <a:ext cx="10969943" cy="40834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7" name="Text Placeholder 4"/>
          <p:cNvSpPr>
            <a:spLocks noGrp="1"/>
          </p:cNvSpPr>
          <p:nvPr>
            <p:ph type="body" sz="quarter" idx="13"/>
          </p:nvPr>
        </p:nvSpPr>
        <p:spPr>
          <a:xfrm>
            <a:off x="609441" y="1225547"/>
            <a:ext cx="10969943" cy="406400"/>
          </a:xfrm>
        </p:spPr>
        <p:txBody>
          <a:bodyPr anchor="t" anchorCtr="0">
            <a:noAutofit/>
          </a:bodyPr>
          <a:lstStyle>
            <a:lvl1pPr marL="0" indent="0">
              <a:spcAft>
                <a:spcPts val="0"/>
              </a:spcAft>
              <a:buFontTx/>
              <a:buNone/>
              <a:defRPr sz="2700">
                <a:solidFill>
                  <a:schemeClr val="accent1"/>
                </a:solidFill>
              </a:defRPr>
            </a:lvl1pPr>
            <a:lvl2pPr marL="609493" indent="0">
              <a:buFontTx/>
              <a:buNone/>
              <a:defRPr/>
            </a:lvl2pPr>
            <a:lvl3pPr marL="1218987" indent="0">
              <a:buFontTx/>
              <a:buNone/>
              <a:defRPr/>
            </a:lvl3pPr>
            <a:lvl4pPr marL="1828480" indent="0">
              <a:buFontTx/>
              <a:buNone/>
              <a:defRPr/>
            </a:lvl4pPr>
            <a:lvl5pPr marL="2437973" indent="0">
              <a:buFontTx/>
              <a:buNone/>
              <a:defRPr/>
            </a:lvl5pPr>
          </a:lstStyle>
          <a:p>
            <a:pPr lvl="0"/>
            <a:r>
              <a:rPr lang="de-DE" smtClean="0"/>
              <a:t>Textmasterformate durch Klicken bearbeiten</a:t>
            </a:r>
          </a:p>
        </p:txBody>
      </p:sp>
    </p:spTree>
    <p:extLst>
      <p:ext uri="{BB962C8B-B14F-4D97-AF65-F5344CB8AC3E}">
        <p14:creationId xmlns:p14="http://schemas.microsoft.com/office/powerpoint/2010/main" val="77905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2183" y="327387"/>
            <a:ext cx="10969924" cy="541860"/>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1072183" y="2029469"/>
            <a:ext cx="10969943" cy="40834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1072183" y="864288"/>
            <a:ext cx="10969943" cy="406400"/>
          </a:xfrm>
        </p:spPr>
        <p:txBody>
          <a:bodyPr anchor="t" anchorCtr="0">
            <a:noAutofit/>
          </a:bodyPr>
          <a:lstStyle>
            <a:lvl1pPr marL="0" indent="0">
              <a:spcAft>
                <a:spcPts val="0"/>
              </a:spcAft>
              <a:buFontTx/>
              <a:buNone/>
              <a:defRPr sz="2700">
                <a:solidFill>
                  <a:schemeClr val="accent1"/>
                </a:solidFill>
              </a:defRPr>
            </a:lvl1pPr>
            <a:lvl2pPr marL="609443" indent="0">
              <a:buFontTx/>
              <a:buNone/>
              <a:defRPr/>
            </a:lvl2pPr>
            <a:lvl3pPr marL="1218885" indent="0">
              <a:buFontTx/>
              <a:buNone/>
              <a:defRPr/>
            </a:lvl3pPr>
            <a:lvl4pPr marL="1828328" indent="0">
              <a:buFontTx/>
              <a:buNone/>
              <a:defRPr/>
            </a:lvl4pPr>
            <a:lvl5pPr marL="2437771" indent="0">
              <a:buFontTx/>
              <a:buNone/>
              <a:defRPr/>
            </a:lvl5pPr>
          </a:lstStyle>
          <a:p>
            <a:pPr lvl="0"/>
            <a:r>
              <a:rPr lang="en-US" smtClean="0"/>
              <a:t>Click to edit Master text styles</a:t>
            </a:r>
          </a:p>
        </p:txBody>
      </p:sp>
    </p:spTree>
    <p:extLst>
      <p:ext uri="{BB962C8B-B14F-4D97-AF65-F5344CB8AC3E}">
        <p14:creationId xmlns:p14="http://schemas.microsoft.com/office/powerpoint/2010/main" val="2957097929"/>
      </p:ext>
    </p:extLst>
  </p:cSld>
  <p:clrMapOvr>
    <a:masterClrMapping/>
  </p:clrMapOvr>
  <p:transition spd="med">
    <p:fade/>
  </p:transition>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type="twoObj">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77103" y="1552230"/>
            <a:ext cx="10544603" cy="4396316"/>
          </a:xfrm>
        </p:spPr>
        <p:txBody>
          <a:bodyPr/>
          <a:lstStyle>
            <a:lvl1pPr>
              <a:defRPr sz="3200"/>
            </a:lvl1pPr>
            <a:lvl2pPr>
              <a:defRPr sz="2700"/>
            </a:lvl2pPr>
            <a:lvl3pPr>
              <a:defRPr sz="2400"/>
            </a:lvl3pPr>
            <a:lvl4pPr>
              <a:defRPr sz="2400"/>
            </a:lvl4pPr>
            <a:lvl5pPr>
              <a:defRPr sz="24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hasCustomPrompt="1"/>
          </p:nvPr>
        </p:nvSpPr>
        <p:spPr>
          <a:xfrm>
            <a:off x="1077105" y="878140"/>
            <a:ext cx="10849323" cy="424921"/>
          </a:xfrm>
        </p:spPr>
        <p:txBody>
          <a:bodyPr/>
          <a:lstStyle>
            <a:lvl1pPr marL="0" indent="0">
              <a:buNone/>
              <a:defRPr sz="3200">
                <a:solidFill>
                  <a:schemeClr val="tx2"/>
                </a:solidFill>
              </a:defRPr>
            </a:lvl1pPr>
            <a:lvl2pPr>
              <a:defRPr sz="20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dirty="0" smtClean="0"/>
              <a:t>Click to edit Subtitle</a:t>
            </a:r>
          </a:p>
        </p:txBody>
      </p:sp>
    </p:spTree>
    <p:extLst>
      <p:ext uri="{BB962C8B-B14F-4D97-AF65-F5344CB8AC3E}">
        <p14:creationId xmlns:p14="http://schemas.microsoft.com/office/powerpoint/2010/main" val="3141915125"/>
      </p:ext>
    </p:extLst>
  </p:cSld>
  <p:clrMapOvr>
    <a:masterClrMapping/>
  </p:clrMapOvr>
  <p:transition>
    <p:fade/>
  </p:transition>
  <p:timing>
    <p:tnLst>
      <p:par>
        <p:cTn id="1" dur="indefinite" restart="never" nodeType="tmRoot"/>
      </p:par>
    </p:tnLst>
  </p:timing>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3"/>
          <p:cNvSpPr>
            <a:spLocks noGrp="1" noChangeArrowheads="1"/>
          </p:cNvSpPr>
          <p:nvPr>
            <p:ph type="ftr" sz="quarter" idx="10"/>
          </p:nvPr>
        </p:nvSpPr>
        <p:spPr>
          <a:ln/>
        </p:spPr>
        <p:txBody>
          <a:bodyPr/>
          <a:lstStyle>
            <a:lvl1pPr>
              <a:defRPr/>
            </a:lvl1pPr>
          </a:lstStyle>
          <a:p>
            <a:pPr algn="ctr">
              <a:defRPr/>
            </a:pPr>
            <a:r>
              <a:rPr lang="en-US" smtClean="0">
                <a:solidFill>
                  <a:srgbClr val="58595B"/>
                </a:solidFill>
              </a:rPr>
              <a:t>Oracle Confidential – Internal/Restricted/Highly Restricted</a:t>
            </a:r>
            <a:endParaRPr lang="en-US" dirty="0">
              <a:solidFill>
                <a:srgbClr val="58595B"/>
              </a:solidFill>
            </a:endParaRPr>
          </a:p>
        </p:txBody>
      </p:sp>
    </p:spTree>
    <p:extLst>
      <p:ext uri="{BB962C8B-B14F-4D97-AF65-F5344CB8AC3E}">
        <p14:creationId xmlns:p14="http://schemas.microsoft.com/office/powerpoint/2010/main" val="1853475723"/>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w/Subtitle">
    <p:spTree>
      <p:nvGrpSpPr>
        <p:cNvPr id="1" name=""/>
        <p:cNvGrpSpPr/>
        <p:nvPr/>
      </p:nvGrpSpPr>
      <p:grpSpPr>
        <a:xfrm>
          <a:off x="0" y="0"/>
          <a:ext cx="0" cy="0"/>
          <a:chOff x="0" y="0"/>
          <a:chExt cx="0" cy="0"/>
        </a:xfrm>
      </p:grpSpPr>
      <p:sp>
        <p:nvSpPr>
          <p:cNvPr id="5" name="Title 1"/>
          <p:cNvSpPr>
            <a:spLocks noGrp="1"/>
          </p:cNvSpPr>
          <p:nvPr>
            <p:ph type="title"/>
          </p:nvPr>
        </p:nvSpPr>
        <p:spPr>
          <a:xfrm>
            <a:off x="609441" y="640648"/>
            <a:ext cx="10969943" cy="565045"/>
          </a:xfrm>
        </p:spPr>
        <p:txBody>
          <a:bodyPr anchor="b" anchorCtr="0"/>
          <a:lstStyle>
            <a:lvl1pPr>
              <a:defRPr/>
            </a:lvl1pPr>
          </a:lstStyle>
          <a:p>
            <a:r>
              <a:rPr lang="de-DE" smtClean="0"/>
              <a:t>Titelmasterformat durch Klicken bearbeiten</a:t>
            </a:r>
            <a:endParaRPr lang="en-US" dirty="0"/>
          </a:p>
        </p:txBody>
      </p:sp>
      <p:sp>
        <p:nvSpPr>
          <p:cNvPr id="8" name="Text Placeholder 4"/>
          <p:cNvSpPr>
            <a:spLocks noGrp="1"/>
          </p:cNvSpPr>
          <p:nvPr>
            <p:ph type="body" sz="quarter" idx="13"/>
          </p:nvPr>
        </p:nvSpPr>
        <p:spPr>
          <a:xfrm>
            <a:off x="609441" y="1225547"/>
            <a:ext cx="10969943" cy="406400"/>
          </a:xfrm>
        </p:spPr>
        <p:txBody>
          <a:bodyPr anchor="t" anchorCtr="0">
            <a:noAutofit/>
          </a:bodyPr>
          <a:lstStyle>
            <a:lvl1pPr marL="0" indent="0">
              <a:spcAft>
                <a:spcPts val="0"/>
              </a:spcAft>
              <a:buFontTx/>
              <a:buNone/>
              <a:defRPr sz="2700">
                <a:solidFill>
                  <a:schemeClr val="accent1"/>
                </a:solidFill>
              </a:defRPr>
            </a:lvl1pPr>
            <a:lvl2pPr marL="609493" indent="0">
              <a:buFontTx/>
              <a:buNone/>
              <a:defRPr/>
            </a:lvl2pPr>
            <a:lvl3pPr marL="1218987" indent="0">
              <a:buFontTx/>
              <a:buNone/>
              <a:defRPr/>
            </a:lvl3pPr>
            <a:lvl4pPr marL="1828480" indent="0">
              <a:buFontTx/>
              <a:buNone/>
              <a:defRPr/>
            </a:lvl4pPr>
            <a:lvl5pPr marL="2437973" indent="0">
              <a:buFontTx/>
              <a:buNone/>
              <a:defRPr/>
            </a:lvl5pPr>
          </a:lstStyle>
          <a:p>
            <a:pPr lvl="0"/>
            <a:r>
              <a:rPr lang="de-DE" smtClean="0"/>
              <a:t>Textmasterformate durch Klicken bearbeiten</a:t>
            </a:r>
          </a:p>
        </p:txBody>
      </p:sp>
    </p:spTree>
    <p:extLst>
      <p:ext uri="{BB962C8B-B14F-4D97-AF65-F5344CB8AC3E}">
        <p14:creationId xmlns:p14="http://schemas.microsoft.com/office/powerpoint/2010/main" val="33611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1072183" y="327389"/>
            <a:ext cx="10969924" cy="1025071"/>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389024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over (variati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8520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8"/>
          <p:cNvPicPr>
            <a:picLocks noChangeAspect="1" noChangeArrowheads="1"/>
          </p:cNvPicPr>
          <p:nvPr userDrawn="1"/>
        </p:nvPicPr>
        <p:blipFill>
          <a:blip r:embed="rId2" cstate="print"/>
          <a:srcRect/>
          <a:stretch>
            <a:fillRect/>
          </a:stretch>
        </p:blipFill>
        <p:spPr bwMode="auto">
          <a:xfrm>
            <a:off x="9784918" y="510117"/>
            <a:ext cx="1686545" cy="649816"/>
          </a:xfrm>
          <a:prstGeom prst="rect">
            <a:avLst/>
          </a:prstGeom>
          <a:noFill/>
          <a:ln w="9525">
            <a:noFill/>
            <a:miter lim="800000"/>
            <a:headEnd/>
            <a:tailEnd/>
          </a:ln>
        </p:spPr>
      </p:pic>
      <p:grpSp>
        <p:nvGrpSpPr>
          <p:cNvPr id="2" name="Group 15"/>
          <p:cNvGrpSpPr>
            <a:grpSpLocks/>
          </p:cNvGrpSpPr>
          <p:nvPr userDrawn="1"/>
        </p:nvGrpSpPr>
        <p:grpSpPr bwMode="auto">
          <a:xfrm>
            <a:off x="0" y="2262718"/>
            <a:ext cx="12188825" cy="1392767"/>
            <a:chOff x="0" y="1425"/>
            <a:chExt cx="5760" cy="878"/>
          </a:xfrm>
        </p:grpSpPr>
        <p:pic>
          <p:nvPicPr>
            <p:cNvPr id="6" name="Picture 1" descr="C:\Documents and Settings\x\Desktop\C2 Fiserv 09\iStock_000005452121Large.jpg"/>
            <p:cNvPicPr>
              <a:picLocks noChangeAspect="1" noChangeArrowheads="1"/>
            </p:cNvPicPr>
            <p:nvPr userDrawn="1"/>
          </p:nvPicPr>
          <p:blipFill>
            <a:blip r:embed="rId3" cstate="print"/>
            <a:srcRect/>
            <a:stretch>
              <a:fillRect/>
            </a:stretch>
          </p:blipFill>
          <p:spPr bwMode="auto">
            <a:xfrm>
              <a:off x="4890" y="1425"/>
              <a:ext cx="870" cy="876"/>
            </a:xfrm>
            <a:prstGeom prst="rect">
              <a:avLst/>
            </a:prstGeom>
            <a:noFill/>
            <a:ln w="9525">
              <a:noFill/>
              <a:miter lim="800000"/>
              <a:headEnd/>
              <a:tailEnd/>
            </a:ln>
          </p:spPr>
        </p:pic>
        <p:pic>
          <p:nvPicPr>
            <p:cNvPr id="7" name="Picture 42" descr="Risk_Compliance-SQ"/>
            <p:cNvPicPr>
              <a:picLocks noChangeArrowheads="1"/>
            </p:cNvPicPr>
            <p:nvPr userDrawn="1"/>
          </p:nvPicPr>
          <p:blipFill>
            <a:blip r:embed="rId4" cstate="print"/>
            <a:srcRect/>
            <a:stretch>
              <a:fillRect/>
            </a:stretch>
          </p:blipFill>
          <p:spPr bwMode="auto">
            <a:xfrm>
              <a:off x="0" y="1425"/>
              <a:ext cx="882" cy="873"/>
            </a:xfrm>
            <a:prstGeom prst="rect">
              <a:avLst/>
            </a:prstGeom>
            <a:noFill/>
            <a:ln w="9525">
              <a:noFill/>
              <a:miter lim="800000"/>
              <a:headEnd/>
              <a:tailEnd/>
            </a:ln>
          </p:spPr>
        </p:pic>
        <p:pic>
          <p:nvPicPr>
            <p:cNvPr id="8" name="Picture 44" descr="Intelligence_Optimization"/>
            <p:cNvPicPr>
              <a:picLocks noChangeAspect="1" noChangeArrowheads="1"/>
            </p:cNvPicPr>
            <p:nvPr userDrawn="1"/>
          </p:nvPicPr>
          <p:blipFill>
            <a:blip r:embed="rId5" cstate="print"/>
            <a:srcRect/>
            <a:stretch>
              <a:fillRect/>
            </a:stretch>
          </p:blipFill>
          <p:spPr bwMode="auto">
            <a:xfrm>
              <a:off x="3914" y="1425"/>
              <a:ext cx="873" cy="873"/>
            </a:xfrm>
            <a:prstGeom prst="rect">
              <a:avLst/>
            </a:prstGeom>
            <a:noFill/>
            <a:ln w="9525">
              <a:noFill/>
              <a:miter lim="800000"/>
              <a:headEnd/>
              <a:tailEnd/>
            </a:ln>
          </p:spPr>
        </p:pic>
        <p:pic>
          <p:nvPicPr>
            <p:cNvPr id="9" name="Picture 45" descr="Customer_and_Channel-Getty_RF_74583036_5"/>
            <p:cNvPicPr>
              <a:picLocks noChangeAspect="1" noChangeArrowheads="1"/>
            </p:cNvPicPr>
            <p:nvPr userDrawn="1"/>
          </p:nvPicPr>
          <p:blipFill>
            <a:blip r:embed="rId6" cstate="print"/>
            <a:srcRect/>
            <a:stretch>
              <a:fillRect/>
            </a:stretch>
          </p:blipFill>
          <p:spPr bwMode="auto">
            <a:xfrm>
              <a:off x="2939" y="1425"/>
              <a:ext cx="873" cy="876"/>
            </a:xfrm>
            <a:prstGeom prst="rect">
              <a:avLst/>
            </a:prstGeom>
            <a:noFill/>
            <a:ln w="9525">
              <a:noFill/>
              <a:miter lim="800000"/>
              <a:headEnd/>
              <a:tailEnd/>
            </a:ln>
          </p:spPr>
        </p:pic>
        <p:sp>
          <p:nvSpPr>
            <p:cNvPr id="10" name="Rectangle 9"/>
            <p:cNvSpPr>
              <a:spLocks noChangeArrowheads="1"/>
            </p:cNvSpPr>
            <p:nvPr userDrawn="1"/>
          </p:nvSpPr>
          <p:spPr bwMode="auto">
            <a:xfrm>
              <a:off x="984" y="1425"/>
              <a:ext cx="875" cy="875"/>
            </a:xfrm>
            <a:prstGeom prst="rect">
              <a:avLst/>
            </a:prstGeom>
            <a:solidFill>
              <a:schemeClr val="tx2"/>
            </a:solidFill>
            <a:ln>
              <a:noFill/>
            </a:ln>
            <a:extLst/>
          </p:spPr>
          <p:txBody>
            <a:bodyPr wrap="none" anchor="ctr"/>
            <a:lstStyle>
              <a:lvl1pPr eaLnBrk="0" hangingPunct="0">
                <a:defRPr sz="2000">
                  <a:solidFill>
                    <a:schemeClr val="tx1"/>
                  </a:solidFill>
                  <a:latin typeface="Univers LT 55" pitchFamily="2" charset="0"/>
                  <a:cs typeface="Arial" charset="0"/>
                </a:defRPr>
              </a:lvl1pPr>
              <a:lvl2pPr marL="742950" indent="-285750" eaLnBrk="0" hangingPunct="0">
                <a:defRPr sz="2000">
                  <a:solidFill>
                    <a:schemeClr val="tx1"/>
                  </a:solidFill>
                  <a:latin typeface="Univers LT 55" pitchFamily="2" charset="0"/>
                  <a:cs typeface="Arial" charset="0"/>
                </a:defRPr>
              </a:lvl2pPr>
              <a:lvl3pPr marL="1143000" indent="-228600" eaLnBrk="0" hangingPunct="0">
                <a:defRPr sz="2000">
                  <a:solidFill>
                    <a:schemeClr val="tx1"/>
                  </a:solidFill>
                  <a:latin typeface="Univers LT 55" pitchFamily="2" charset="0"/>
                  <a:cs typeface="Arial" charset="0"/>
                </a:defRPr>
              </a:lvl3pPr>
              <a:lvl4pPr marL="1600200" indent="-228600" eaLnBrk="0" hangingPunct="0">
                <a:defRPr sz="2000">
                  <a:solidFill>
                    <a:schemeClr val="tx1"/>
                  </a:solidFill>
                  <a:latin typeface="Univers LT 55" pitchFamily="2" charset="0"/>
                  <a:cs typeface="Arial" charset="0"/>
                </a:defRPr>
              </a:lvl4pPr>
              <a:lvl5pPr marL="2057400" indent="-228600" eaLnBrk="0" hangingPunct="0">
                <a:defRPr sz="2000">
                  <a:solidFill>
                    <a:schemeClr val="tx1"/>
                  </a:solidFill>
                  <a:latin typeface="Univers LT 55" pitchFamily="2" charset="0"/>
                  <a:cs typeface="Arial" charset="0"/>
                </a:defRPr>
              </a:lvl5pPr>
              <a:lvl6pPr marL="2514600" indent="-228600" defTabSz="912813" eaLnBrk="0" fontAlgn="base" hangingPunct="0">
                <a:spcBef>
                  <a:spcPct val="0"/>
                </a:spcBef>
                <a:spcAft>
                  <a:spcPct val="0"/>
                </a:spcAft>
                <a:defRPr sz="2000">
                  <a:solidFill>
                    <a:schemeClr val="tx1"/>
                  </a:solidFill>
                  <a:latin typeface="Univers LT 55" pitchFamily="2" charset="0"/>
                  <a:cs typeface="Arial" charset="0"/>
                </a:defRPr>
              </a:lvl6pPr>
              <a:lvl7pPr marL="2971800" indent="-228600" defTabSz="912813" eaLnBrk="0" fontAlgn="base" hangingPunct="0">
                <a:spcBef>
                  <a:spcPct val="0"/>
                </a:spcBef>
                <a:spcAft>
                  <a:spcPct val="0"/>
                </a:spcAft>
                <a:defRPr sz="2000">
                  <a:solidFill>
                    <a:schemeClr val="tx1"/>
                  </a:solidFill>
                  <a:latin typeface="Univers LT 55" pitchFamily="2" charset="0"/>
                  <a:cs typeface="Arial" charset="0"/>
                </a:defRPr>
              </a:lvl7pPr>
              <a:lvl8pPr marL="3429000" indent="-228600" defTabSz="912813" eaLnBrk="0" fontAlgn="base" hangingPunct="0">
                <a:spcBef>
                  <a:spcPct val="0"/>
                </a:spcBef>
                <a:spcAft>
                  <a:spcPct val="0"/>
                </a:spcAft>
                <a:defRPr sz="2000">
                  <a:solidFill>
                    <a:schemeClr val="tx1"/>
                  </a:solidFill>
                  <a:latin typeface="Univers LT 55" pitchFamily="2" charset="0"/>
                  <a:cs typeface="Arial" charset="0"/>
                </a:defRPr>
              </a:lvl8pPr>
              <a:lvl9pPr marL="3886200" indent="-228600" defTabSz="912813" eaLnBrk="0" fontAlgn="base" hangingPunct="0">
                <a:spcBef>
                  <a:spcPct val="0"/>
                </a:spcBef>
                <a:spcAft>
                  <a:spcPct val="0"/>
                </a:spcAft>
                <a:defRPr sz="2000">
                  <a:solidFill>
                    <a:schemeClr val="tx1"/>
                  </a:solidFill>
                  <a:latin typeface="Univers LT 55" pitchFamily="2" charset="0"/>
                  <a:cs typeface="Arial" charset="0"/>
                </a:defRPr>
              </a:lvl9pPr>
            </a:lstStyle>
            <a:p>
              <a:pPr algn="ctr" defTabSz="1216871" eaLnBrk="1" fontAlgn="base" hangingPunct="1">
                <a:spcBef>
                  <a:spcPct val="0"/>
                </a:spcBef>
                <a:spcAft>
                  <a:spcPct val="0"/>
                </a:spcAft>
                <a:defRPr/>
              </a:pPr>
              <a:endParaRPr lang="en-US" altLang="en-US" smtClean="0">
                <a:solidFill>
                  <a:srgbClr val="333333"/>
                </a:solidFill>
                <a:latin typeface="Arial" charset="0"/>
              </a:endParaRPr>
            </a:p>
          </p:txBody>
        </p:sp>
        <p:pic>
          <p:nvPicPr>
            <p:cNvPr id="11" name="Picture 21" descr="Processing_Services-Jupiter_SQ"/>
            <p:cNvPicPr>
              <a:picLocks noChangeAspect="1" noChangeArrowheads="1"/>
            </p:cNvPicPr>
            <p:nvPr userDrawn="1"/>
          </p:nvPicPr>
          <p:blipFill>
            <a:blip r:embed="rId7" cstate="print"/>
            <a:srcRect r="333"/>
            <a:stretch>
              <a:fillRect/>
            </a:stretch>
          </p:blipFill>
          <p:spPr bwMode="auto">
            <a:xfrm>
              <a:off x="1961" y="1425"/>
              <a:ext cx="875" cy="878"/>
            </a:xfrm>
            <a:prstGeom prst="rect">
              <a:avLst/>
            </a:prstGeom>
            <a:noFill/>
            <a:ln w="9525">
              <a:noFill/>
              <a:miter lim="800000"/>
              <a:headEnd/>
              <a:tailEnd/>
            </a:ln>
          </p:spPr>
        </p:pic>
      </p:grpSp>
      <p:sp>
        <p:nvSpPr>
          <p:cNvPr id="47114" name="Title Placeholder 1"/>
          <p:cNvSpPr>
            <a:spLocks noGrp="1"/>
          </p:cNvSpPr>
          <p:nvPr>
            <p:ph type="ctrTitle"/>
          </p:nvPr>
        </p:nvSpPr>
        <p:spPr>
          <a:xfrm>
            <a:off x="1940478" y="3968751"/>
            <a:ext cx="9461152" cy="884239"/>
          </a:xfrm>
        </p:spPr>
        <p:txBody>
          <a:bodyPr anchor="b"/>
          <a:lstStyle>
            <a:lvl1pPr>
              <a:spcBef>
                <a:spcPct val="10000"/>
              </a:spcBef>
              <a:defRPr smtClean="0">
                <a:solidFill>
                  <a:srgbClr val="FF6600"/>
                </a:solidFill>
                <a:latin typeface="Arial" pitchFamily="34" charset="0"/>
                <a:cs typeface="Arial" pitchFamily="34" charset="0"/>
              </a:defRPr>
            </a:lvl1pPr>
          </a:lstStyle>
          <a:p>
            <a:r>
              <a:rPr lang="en-US" dirty="0" smtClean="0"/>
              <a:t>Click to edit Master title style</a:t>
            </a:r>
          </a:p>
        </p:txBody>
      </p:sp>
      <p:sp>
        <p:nvSpPr>
          <p:cNvPr id="47115" name="Text Placeholder 2"/>
          <p:cNvSpPr>
            <a:spLocks noGrp="1"/>
          </p:cNvSpPr>
          <p:nvPr>
            <p:ph type="subTitle" idx="1"/>
          </p:nvPr>
        </p:nvSpPr>
        <p:spPr>
          <a:xfrm>
            <a:off x="1940478" y="5092702"/>
            <a:ext cx="9461152" cy="774700"/>
          </a:xfrm>
        </p:spPr>
        <p:txBody>
          <a:bodyPr/>
          <a:lstStyle>
            <a:lvl1pPr marL="0" indent="0">
              <a:lnSpc>
                <a:spcPct val="100000"/>
              </a:lnSpc>
              <a:spcBef>
                <a:spcPct val="10000"/>
              </a:spcBef>
              <a:buFont typeface="Arial" charset="0"/>
              <a:buNone/>
              <a:defRPr sz="2900" b="0" smtClean="0">
                <a:latin typeface="Arial" pitchFamily="34" charset="0"/>
                <a:cs typeface="Arial" pitchFamily="34" charset="0"/>
              </a:defRPr>
            </a:lvl1pPr>
          </a:lstStyle>
          <a:p>
            <a:r>
              <a:rPr lang="en-US" smtClean="0"/>
              <a:t>Click to edit Master subtitle style</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US" dirty="0"/>
          </a:p>
        </p:txBody>
      </p:sp>
      <p:sp>
        <p:nvSpPr>
          <p:cNvPr id="3" name="Content Placeholder 2"/>
          <p:cNvSpPr>
            <a:spLocks noGrp="1"/>
          </p:cNvSpPr>
          <p:nvPr>
            <p:ph idx="1"/>
          </p:nvPr>
        </p:nvSpPr>
        <p:spPr>
          <a:xfrm>
            <a:off x="765189" y="1344168"/>
            <a:ext cx="11032987" cy="4727448"/>
          </a:xfrm>
        </p:spPr>
        <p:txBody>
          <a:bodyPr/>
          <a:lstStyle>
            <a:lvl1pPr>
              <a:buClr>
                <a:schemeClr val="tx1"/>
              </a:buClr>
              <a:defRPr/>
            </a:lvl1pPr>
            <a:lvl2pPr>
              <a:buClr>
                <a:schemeClr val="tx1"/>
              </a:buClr>
              <a:defRPr/>
            </a:lvl2pPr>
            <a:lvl3pPr>
              <a:buClr>
                <a:schemeClr val="tx1"/>
              </a:buClr>
              <a:defRPr/>
            </a:lvl3pPr>
            <a:lvl4pPr>
              <a:buClr>
                <a:schemeClr val="tx1"/>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Rectangle 35"/>
          <p:cNvSpPr>
            <a:spLocks noGrp="1" noChangeArrowheads="1"/>
          </p:cNvSpPr>
          <p:nvPr>
            <p:ph type="sldNum" sz="quarter" idx="10"/>
          </p:nvPr>
        </p:nvSpPr>
        <p:spPr>
          <a:ln/>
        </p:spPr>
        <p:txBody>
          <a:bodyPr/>
          <a:lstStyle>
            <a:lvl1pPr>
              <a:defRPr/>
            </a:lvl1pPr>
          </a:lstStyle>
          <a:p>
            <a:pPr>
              <a:defRPr/>
            </a:pPr>
            <a:fld id="{06A40297-CFFD-4266-BD57-F66722C020AC}" type="slidenum">
              <a:rPr lang="en-US"/>
              <a:pPr>
                <a:defRPr/>
              </a:pPr>
              <a:t>‹#›</a:t>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61806" y="2590800"/>
            <a:ext cx="11211782" cy="601133"/>
          </a:xfrm>
        </p:spPr>
        <p:txBody>
          <a:bodyPr anchor="b"/>
          <a:lstStyle>
            <a:lvl1pPr algn="l">
              <a:defRPr sz="3700" b="0" cap="none">
                <a:latin typeface="Arial" pitchFamily="34" charset="0"/>
                <a:cs typeface="Arial"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73088" y="3471335"/>
            <a:ext cx="11227670" cy="596636"/>
          </a:xfrm>
        </p:spPr>
        <p:txBody>
          <a:bodyPr/>
          <a:lstStyle>
            <a:lvl1pPr marL="0" indent="0">
              <a:buNone/>
              <a:defRPr sz="3200" b="0">
                <a:latin typeface="Arial" pitchFamily="34" charset="0"/>
                <a:cs typeface="Arial" pitchFamily="34" charset="0"/>
              </a:defRPr>
            </a:lvl1pPr>
            <a:lvl2pPr marL="426645" indent="0">
              <a:buNone/>
              <a:defRPr sz="1700"/>
            </a:lvl2pPr>
            <a:lvl3pPr marL="853291" indent="0">
              <a:buNone/>
              <a:defRPr sz="1500"/>
            </a:lvl3pPr>
            <a:lvl4pPr marL="1279936" indent="0">
              <a:buNone/>
              <a:defRPr sz="1300"/>
            </a:lvl4pPr>
            <a:lvl5pPr marL="1706581" indent="0">
              <a:buNone/>
              <a:defRPr sz="1300"/>
            </a:lvl5pPr>
            <a:lvl6pPr marL="2133227" indent="0">
              <a:buNone/>
              <a:defRPr sz="1300"/>
            </a:lvl6pPr>
            <a:lvl7pPr marL="2559872" indent="0">
              <a:buNone/>
              <a:defRPr sz="1300"/>
            </a:lvl7pPr>
            <a:lvl8pPr marL="2986517" indent="0">
              <a:buNone/>
              <a:defRPr sz="1300"/>
            </a:lvl8pPr>
            <a:lvl9pPr marL="3413163" indent="0">
              <a:buNone/>
              <a:defRPr sz="1300"/>
            </a:lvl9pPr>
          </a:lstStyle>
          <a:p>
            <a:pPr lvl="0"/>
            <a:r>
              <a:rPr lang="en-US" dirty="0" smtClean="0"/>
              <a:t>Click to edit Master text styles</a:t>
            </a:r>
          </a:p>
        </p:txBody>
      </p:sp>
      <p:sp>
        <p:nvSpPr>
          <p:cNvPr id="4" name="Rectangle 35"/>
          <p:cNvSpPr>
            <a:spLocks noGrp="1" noChangeArrowheads="1"/>
          </p:cNvSpPr>
          <p:nvPr>
            <p:ph type="sldNum" sz="quarter" idx="10"/>
          </p:nvPr>
        </p:nvSpPr>
        <p:spPr>
          <a:ln/>
        </p:spPr>
        <p:txBody>
          <a:bodyPr/>
          <a:lstStyle>
            <a:lvl1pPr>
              <a:defRPr/>
            </a:lvl1pPr>
          </a:lstStyle>
          <a:p>
            <a:pPr>
              <a:defRPr/>
            </a:pPr>
            <a:fld id="{D5ED70C3-D888-419B-9F5B-ADB093ADFCB5}" type="slidenum">
              <a:rPr lang="en-US"/>
              <a:pPr>
                <a:defRPr/>
              </a:pPr>
              <a:t>‹#›</a:t>
            </a:fld>
            <a:endParaRPr lang="en-US"/>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74937" y="1210729"/>
            <a:ext cx="5135593" cy="553496"/>
          </a:xfrm>
        </p:spPr>
        <p:txBody>
          <a:bodyPr anchor="b"/>
          <a:lstStyle>
            <a:lvl1pPr marL="0" indent="0" algn="ctr">
              <a:buNone/>
              <a:defRPr sz="2700" b="1">
                <a:latin typeface="Arial" pitchFamily="34" charset="0"/>
                <a:cs typeface="Arial" pitchFamily="34" charset="0"/>
              </a:defRPr>
            </a:lvl1pPr>
            <a:lvl2pPr marL="426645" indent="0">
              <a:buNone/>
              <a:defRPr sz="1900" b="1"/>
            </a:lvl2pPr>
            <a:lvl3pPr marL="853291" indent="0">
              <a:buNone/>
              <a:defRPr sz="1700" b="1"/>
            </a:lvl3pPr>
            <a:lvl4pPr marL="1279936" indent="0">
              <a:buNone/>
              <a:defRPr sz="1500" b="1"/>
            </a:lvl4pPr>
            <a:lvl5pPr marL="1706581" indent="0">
              <a:buNone/>
              <a:defRPr sz="1500" b="1"/>
            </a:lvl5pPr>
            <a:lvl6pPr marL="2133227" indent="0">
              <a:buNone/>
              <a:defRPr sz="1500" b="1"/>
            </a:lvl6pPr>
            <a:lvl7pPr marL="2559872" indent="0">
              <a:buNone/>
              <a:defRPr sz="1500" b="1"/>
            </a:lvl7pPr>
            <a:lvl8pPr marL="2986517" indent="0">
              <a:buNone/>
              <a:defRPr sz="1500" b="1"/>
            </a:lvl8pPr>
            <a:lvl9pPr marL="3413163" indent="0">
              <a:buNone/>
              <a:defRPr sz="1500" b="1"/>
            </a:lvl9pPr>
          </a:lstStyle>
          <a:p>
            <a:pPr lvl="0"/>
            <a:r>
              <a:rPr lang="en-US" dirty="0" smtClean="0"/>
              <a:t>Click to edit Master text styles</a:t>
            </a:r>
          </a:p>
        </p:txBody>
      </p:sp>
      <p:sp>
        <p:nvSpPr>
          <p:cNvPr id="4" name="Content Placeholder 3"/>
          <p:cNvSpPr>
            <a:spLocks noGrp="1"/>
          </p:cNvSpPr>
          <p:nvPr>
            <p:ph sz="half" idx="2"/>
          </p:nvPr>
        </p:nvSpPr>
        <p:spPr>
          <a:xfrm>
            <a:off x="774937" y="1764225"/>
            <a:ext cx="5135593" cy="4289443"/>
          </a:xfrm>
        </p:spPr>
        <p:txBody>
          <a:bodyPr/>
          <a:lstStyle>
            <a:lvl1pPr>
              <a:defRPr sz="2400">
                <a:latin typeface="Arial" pitchFamily="34" charset="0"/>
                <a:cs typeface="Arial" pitchFamily="34" charset="0"/>
              </a:defRPr>
            </a:lvl1pPr>
            <a:lvl2pPr>
              <a:defRPr sz="2400">
                <a:latin typeface="Arial" pitchFamily="34" charset="0"/>
                <a:cs typeface="Arial" pitchFamily="34" charset="0"/>
              </a:defRPr>
            </a:lvl2pPr>
            <a:lvl3pPr>
              <a:defRPr sz="2100">
                <a:latin typeface="Arial" pitchFamily="34" charset="0"/>
                <a:cs typeface="Arial" pitchFamily="34" charset="0"/>
              </a:defRPr>
            </a:lvl3pPr>
            <a:lvl4pPr>
              <a:defRPr sz="2100">
                <a:latin typeface="Arial" pitchFamily="34" charset="0"/>
                <a:cs typeface="Arial" pitchFamily="34" charset="0"/>
              </a:defRPr>
            </a:lvl4pPr>
            <a:lvl5pPr>
              <a:defRPr sz="1500">
                <a:latin typeface="Arial" pitchFamily="34" charset="0"/>
                <a:cs typeface="Arial" pitchFamily="34" charset="0"/>
              </a:defRPr>
            </a:lvl5pPr>
            <a:lvl6pPr>
              <a:defRPr sz="1500"/>
            </a:lvl6pPr>
            <a:lvl7pPr>
              <a:defRPr sz="1500"/>
            </a:lvl7pPr>
            <a:lvl8pPr>
              <a:defRPr sz="1500"/>
            </a:lvl8pPr>
            <a:lvl9pPr>
              <a:defRPr sz="15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278295" y="1210729"/>
            <a:ext cx="5377269" cy="553496"/>
          </a:xfrm>
        </p:spPr>
        <p:txBody>
          <a:bodyPr anchor="b"/>
          <a:lstStyle>
            <a:lvl1pPr marL="0" indent="0" algn="ctr">
              <a:buNone/>
              <a:defRPr sz="2700" b="1">
                <a:latin typeface="Arial" pitchFamily="34" charset="0"/>
                <a:cs typeface="Arial" pitchFamily="34" charset="0"/>
              </a:defRPr>
            </a:lvl1pPr>
            <a:lvl2pPr marL="426645" indent="0">
              <a:buNone/>
              <a:defRPr sz="1900" b="1"/>
            </a:lvl2pPr>
            <a:lvl3pPr marL="853291" indent="0">
              <a:buNone/>
              <a:defRPr sz="1700" b="1"/>
            </a:lvl3pPr>
            <a:lvl4pPr marL="1279936" indent="0">
              <a:buNone/>
              <a:defRPr sz="1500" b="1"/>
            </a:lvl4pPr>
            <a:lvl5pPr marL="1706581" indent="0">
              <a:buNone/>
              <a:defRPr sz="1500" b="1"/>
            </a:lvl5pPr>
            <a:lvl6pPr marL="2133227" indent="0">
              <a:buNone/>
              <a:defRPr sz="1500" b="1"/>
            </a:lvl6pPr>
            <a:lvl7pPr marL="2559872" indent="0">
              <a:buNone/>
              <a:defRPr sz="1500" b="1"/>
            </a:lvl7pPr>
            <a:lvl8pPr marL="2986517" indent="0">
              <a:buNone/>
              <a:defRPr sz="1500" b="1"/>
            </a:lvl8pPr>
            <a:lvl9pPr marL="3413163" indent="0">
              <a:buNone/>
              <a:defRPr sz="1500" b="1"/>
            </a:lvl9pPr>
          </a:lstStyle>
          <a:p>
            <a:pPr lvl="0"/>
            <a:r>
              <a:rPr lang="en-US" dirty="0" smtClean="0"/>
              <a:t>Click to edit Master text styles</a:t>
            </a:r>
          </a:p>
        </p:txBody>
      </p:sp>
      <p:sp>
        <p:nvSpPr>
          <p:cNvPr id="6" name="Content Placeholder 5"/>
          <p:cNvSpPr>
            <a:spLocks noGrp="1"/>
          </p:cNvSpPr>
          <p:nvPr>
            <p:ph sz="quarter" idx="4"/>
          </p:nvPr>
        </p:nvSpPr>
        <p:spPr>
          <a:xfrm>
            <a:off x="6278295" y="1764227"/>
            <a:ext cx="5402662" cy="4255575"/>
          </a:xfrm>
        </p:spPr>
        <p:txBody>
          <a:bodyPr/>
          <a:lstStyle>
            <a:lvl1pPr>
              <a:defRPr sz="2400">
                <a:latin typeface="Arial" pitchFamily="34" charset="0"/>
                <a:cs typeface="Arial" pitchFamily="34" charset="0"/>
              </a:defRPr>
            </a:lvl1pPr>
            <a:lvl2pPr>
              <a:defRPr sz="2400">
                <a:latin typeface="Arial" pitchFamily="34" charset="0"/>
                <a:cs typeface="Arial" pitchFamily="34" charset="0"/>
              </a:defRPr>
            </a:lvl2pPr>
            <a:lvl3pPr>
              <a:defRPr sz="2100">
                <a:latin typeface="Arial" pitchFamily="34" charset="0"/>
                <a:cs typeface="Arial" pitchFamily="34" charset="0"/>
              </a:defRPr>
            </a:lvl3pPr>
            <a:lvl4pPr>
              <a:defRPr sz="2100">
                <a:latin typeface="Arial" pitchFamily="34" charset="0"/>
                <a:cs typeface="Arial" pitchFamily="34" charset="0"/>
              </a:defRPr>
            </a:lvl4pPr>
            <a:lvl5pPr>
              <a:defRPr sz="1600">
                <a:latin typeface="Arial" pitchFamily="34" charset="0"/>
                <a:cs typeface="Arial" pitchFamily="34" charset="0"/>
              </a:defRPr>
            </a:lvl5pPr>
            <a:lvl6pPr>
              <a:defRPr sz="1500"/>
            </a:lvl6pPr>
            <a:lvl7pPr>
              <a:defRPr sz="1500"/>
            </a:lvl7pPr>
            <a:lvl8pPr>
              <a:defRPr sz="1500"/>
            </a:lvl8pPr>
            <a:lvl9pPr>
              <a:defRPr sz="15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Placeholder 1"/>
          <p:cNvSpPr>
            <a:spLocks noGrp="1"/>
          </p:cNvSpPr>
          <p:nvPr>
            <p:ph type="title"/>
          </p:nvPr>
        </p:nvSpPr>
        <p:spPr bwMode="auto">
          <a:xfrm>
            <a:off x="761806" y="425449"/>
            <a:ext cx="11033426" cy="603251"/>
          </a:xfrm>
          <a:prstGeom prst="rect">
            <a:avLst/>
          </a:prstGeom>
          <a:noFill/>
          <a:ln w="9525">
            <a:noFill/>
            <a:miter lim="800000"/>
            <a:headEnd/>
            <a:tailEnd/>
          </a:ln>
        </p:spPr>
        <p:txBody>
          <a:bodyPr/>
          <a:lstStyle>
            <a:lvl1pPr>
              <a:defRPr>
                <a:latin typeface="Arial" pitchFamily="34" charset="0"/>
                <a:cs typeface="Arial" pitchFamily="34" charset="0"/>
              </a:defRPr>
            </a:lvl1pPr>
          </a:lstStyle>
          <a:p>
            <a:pPr lvl="0"/>
            <a:r>
              <a:rPr lang="en-US" dirty="0" smtClean="0"/>
              <a:t>Click to edit Master title style</a:t>
            </a:r>
          </a:p>
        </p:txBody>
      </p:sp>
      <p:sp>
        <p:nvSpPr>
          <p:cNvPr id="8" name="Rectangle 35"/>
          <p:cNvSpPr>
            <a:spLocks noGrp="1" noChangeArrowheads="1"/>
          </p:cNvSpPr>
          <p:nvPr>
            <p:ph type="sldNum" sz="quarter" idx="10"/>
          </p:nvPr>
        </p:nvSpPr>
        <p:spPr>
          <a:ln/>
        </p:spPr>
        <p:txBody>
          <a:bodyPr/>
          <a:lstStyle>
            <a:lvl1pPr>
              <a:defRPr/>
            </a:lvl1pPr>
          </a:lstStyle>
          <a:p>
            <a:pPr>
              <a:defRPr/>
            </a:pPr>
            <a:fld id="{DAB377E8-7575-404A-9831-8C1A472A913C}"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rogram Agenda">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dirty="0"/>
          </a:p>
        </p:txBody>
      </p:sp>
      <p:sp>
        <p:nvSpPr>
          <p:cNvPr id="8" name="Text Placeholder 7"/>
          <p:cNvSpPr>
            <a:spLocks noGrp="1"/>
          </p:cNvSpPr>
          <p:nvPr>
            <p:ph type="body" sz="quarter" idx="13"/>
          </p:nvPr>
        </p:nvSpPr>
        <p:spPr>
          <a:xfrm>
            <a:off x="2795931" y="1981199"/>
            <a:ext cx="8861082" cy="3962401"/>
          </a:xfrm>
        </p:spPr>
        <p:txBody>
          <a:bodyPr>
            <a:noAutofit/>
          </a:bodyPr>
          <a:lstStyle>
            <a:lvl1pPr marL="1588" indent="0">
              <a:spcBef>
                <a:spcPts val="2400"/>
              </a:spcBef>
              <a:buNone/>
              <a:defRPr sz="2800"/>
            </a:lvl1pPr>
            <a:lvl2pPr marL="1588" indent="0">
              <a:spcBef>
                <a:spcPts val="2400"/>
              </a:spcBef>
              <a:buNone/>
              <a:defRPr sz="2800"/>
            </a:lvl2pPr>
            <a:lvl3pPr marL="1588" indent="0">
              <a:spcBef>
                <a:spcPts val="2400"/>
              </a:spcBef>
              <a:buNone/>
              <a:defRPr sz="2800"/>
            </a:lvl3pPr>
            <a:lvl4pPr marL="1588" indent="0">
              <a:spcBef>
                <a:spcPts val="2400"/>
              </a:spcBef>
              <a:buNone/>
              <a:defRPr sz="2800"/>
            </a:lvl4pPr>
            <a:lvl5pPr marL="1588" indent="0">
              <a:spcBef>
                <a:spcPts val="2400"/>
              </a:spcBef>
              <a:buNone/>
              <a:defRPr sz="2800"/>
            </a:lvl5pPr>
            <a:lvl6pPr marL="1588" indent="0">
              <a:spcBef>
                <a:spcPts val="2400"/>
              </a:spcBef>
              <a:buNone/>
              <a:defRPr sz="2800"/>
            </a:lvl6pPr>
            <a:lvl7pPr marL="1588" indent="0">
              <a:spcBef>
                <a:spcPts val="2400"/>
              </a:spcBef>
              <a:buNone/>
              <a:defRPr sz="2800"/>
            </a:lvl7pPr>
            <a:lvl8pPr marL="1588" indent="0">
              <a:spcBef>
                <a:spcPts val="2400"/>
              </a:spcBef>
              <a:buNone/>
              <a:defRPr sz="2800"/>
            </a:lvl8pPr>
            <a:lvl9pPr marL="1588" indent="0">
              <a:spcBef>
                <a:spcPts val="2400"/>
              </a:spcBef>
              <a:buNone/>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10"/>
          </p:nvPr>
        </p:nvSpPr>
        <p:spPr/>
        <p:txBody>
          <a:bodyPr>
            <a:noAutofit/>
          </a:bodyPr>
          <a:lstStyle/>
          <a:p>
            <a:fld id="{CECCD66E-6DF0-4B16-8ACA-D0D93A7B1DC8}"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noAutofit/>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68122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5"/>
          <p:cNvSpPr>
            <a:spLocks noGrp="1" noChangeArrowheads="1"/>
          </p:cNvSpPr>
          <p:nvPr>
            <p:ph type="sldNum" sz="quarter" idx="10"/>
          </p:nvPr>
        </p:nvSpPr>
        <p:spPr>
          <a:ln/>
        </p:spPr>
        <p:txBody>
          <a:bodyPr/>
          <a:lstStyle>
            <a:lvl1pPr>
              <a:defRPr/>
            </a:lvl1pPr>
          </a:lstStyle>
          <a:p>
            <a:pPr>
              <a:defRPr/>
            </a:pPr>
            <a:fld id="{076EDBF2-B26A-48AE-8870-28B75FC5F3A1}" type="slidenum">
              <a:rPr lang="en-US"/>
              <a:pPr>
                <a:defRPr/>
              </a:pPr>
              <a:t>‹#›</a:t>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1806" y="425449"/>
            <a:ext cx="11033426" cy="603251"/>
          </a:xfrm>
        </p:spPr>
        <p:txBody>
          <a:bodyPr/>
          <a:lstStyle/>
          <a:p>
            <a:r>
              <a:rPr lang="en-US" dirty="0" smtClean="0"/>
              <a:t>Click to edit Master title style</a:t>
            </a:r>
            <a:endParaRPr lang="en-US" dirty="0"/>
          </a:p>
        </p:txBody>
      </p:sp>
      <p:sp>
        <p:nvSpPr>
          <p:cNvPr id="3" name="Rectangle 35"/>
          <p:cNvSpPr>
            <a:spLocks noGrp="1" noChangeArrowheads="1"/>
          </p:cNvSpPr>
          <p:nvPr>
            <p:ph type="sldNum" sz="quarter" idx="10"/>
          </p:nvPr>
        </p:nvSpPr>
        <p:spPr>
          <a:ln/>
        </p:spPr>
        <p:txBody>
          <a:bodyPr/>
          <a:lstStyle>
            <a:lvl1pPr>
              <a:defRPr/>
            </a:lvl1pPr>
          </a:lstStyle>
          <a:p>
            <a:pPr>
              <a:defRPr/>
            </a:pPr>
            <a:fld id="{ED0B0119-E86F-4936-98C3-22A308BF7B0D}" type="slidenum">
              <a:rPr lang="en-US"/>
              <a:pPr>
                <a:defRPr/>
              </a:pPr>
              <a:t>‹#›</a:t>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61806" y="425449"/>
            <a:ext cx="11033426" cy="603251"/>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410743" y="1555751"/>
            <a:ext cx="9731310" cy="4295776"/>
          </a:xfrm>
        </p:spPr>
        <p:txBody>
          <a:bodyPr/>
          <a:lstStyle/>
          <a:p>
            <a:pPr lvl="0"/>
            <a:endParaRPr lang="en-US" noProof="0"/>
          </a:p>
        </p:txBody>
      </p:sp>
      <p:sp>
        <p:nvSpPr>
          <p:cNvPr id="4" name="Rectangle 35"/>
          <p:cNvSpPr>
            <a:spLocks noGrp="1" noChangeArrowheads="1"/>
          </p:cNvSpPr>
          <p:nvPr>
            <p:ph type="sldNum" sz="quarter" idx="10"/>
          </p:nvPr>
        </p:nvSpPr>
        <p:spPr>
          <a:ln/>
        </p:spPr>
        <p:txBody>
          <a:bodyPr/>
          <a:lstStyle>
            <a:lvl1pPr>
              <a:defRPr/>
            </a:lvl1pPr>
          </a:lstStyle>
          <a:p>
            <a:pPr>
              <a:defRPr/>
            </a:pPr>
            <a:fld id="{76F934B6-BCCB-49D7-982D-A152017D3ACB}" type="slidenum">
              <a:rPr lang="en-US"/>
              <a:pPr>
                <a:defRPr/>
              </a:pPr>
              <a:t>‹#›</a:t>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61806" y="425449"/>
            <a:ext cx="11033426" cy="603251"/>
          </a:xfrm>
        </p:spPr>
        <p:txBody>
          <a:bodyPr/>
          <a:lstStyle>
            <a:lvl1pPr>
              <a:defRPr>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766034" y="1341439"/>
            <a:ext cx="5408791" cy="4730751"/>
          </a:xfrm>
        </p:spPr>
        <p:txBody>
          <a:bodyPr/>
          <a:lstStyle>
            <a:lvl1pPr>
              <a:defRPr sz="2400">
                <a:latin typeface="Arial" pitchFamily="34" charset="0"/>
                <a:cs typeface="Arial" pitchFamily="34" charset="0"/>
              </a:defRPr>
            </a:lvl1pPr>
            <a:lvl2pPr>
              <a:defRPr sz="2400">
                <a:latin typeface="Arial" pitchFamily="34" charset="0"/>
                <a:cs typeface="Arial" pitchFamily="34" charset="0"/>
              </a:defRPr>
            </a:lvl2pPr>
            <a:lvl3pPr>
              <a:defRPr sz="2100">
                <a:latin typeface="Arial" pitchFamily="34" charset="0"/>
                <a:cs typeface="Arial" pitchFamily="34" charset="0"/>
              </a:defRPr>
            </a:lvl3pPr>
            <a:lvl4pPr>
              <a:defRPr sz="1900">
                <a:latin typeface="Arial" pitchFamily="34" charset="0"/>
                <a:cs typeface="Arial" pitchFamily="34" charset="0"/>
              </a:defRPr>
            </a:lvl4pPr>
            <a:lvl5pPr>
              <a:defRPr sz="1600">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77972" y="1341439"/>
            <a:ext cx="5408791" cy="4730751"/>
          </a:xfrm>
        </p:spPr>
        <p:txBody>
          <a:bodyPr/>
          <a:lstStyle>
            <a:lvl1pPr>
              <a:defRPr sz="2400">
                <a:latin typeface="Arial" pitchFamily="34" charset="0"/>
                <a:cs typeface="Arial" pitchFamily="34" charset="0"/>
              </a:defRPr>
            </a:lvl1pPr>
            <a:lvl2pPr>
              <a:defRPr sz="2400">
                <a:latin typeface="Arial" pitchFamily="34" charset="0"/>
                <a:cs typeface="Arial" pitchFamily="34" charset="0"/>
              </a:defRPr>
            </a:lvl2pPr>
            <a:lvl3pPr>
              <a:defRPr sz="2100">
                <a:latin typeface="Arial" pitchFamily="34" charset="0"/>
                <a:cs typeface="Arial" pitchFamily="34" charset="0"/>
              </a:defRPr>
            </a:lvl3pPr>
            <a:lvl4pPr>
              <a:defRPr sz="1900">
                <a:latin typeface="Arial" pitchFamily="34" charset="0"/>
                <a:cs typeface="Arial" pitchFamily="34" charset="0"/>
              </a:defRPr>
            </a:lvl4pPr>
            <a:lvl5pPr>
              <a:defRPr sz="1600">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35"/>
          <p:cNvSpPr>
            <a:spLocks noGrp="1" noChangeArrowheads="1"/>
          </p:cNvSpPr>
          <p:nvPr>
            <p:ph type="sldNum" sz="quarter" idx="10"/>
          </p:nvPr>
        </p:nvSpPr>
        <p:spPr>
          <a:ln/>
        </p:spPr>
        <p:txBody>
          <a:bodyPr/>
          <a:lstStyle>
            <a:lvl1pPr>
              <a:defRPr/>
            </a:lvl1pPr>
          </a:lstStyle>
          <a:p>
            <a:pPr>
              <a:defRPr/>
            </a:pPr>
            <a:fld id="{681B0A83-EEC1-4FA1-9AAB-5493C8E484F1}" type="slidenum">
              <a:rPr lang="en-US"/>
              <a:pPr>
                <a:defRPr/>
              </a:pPr>
              <a:t>‹#›</a:t>
            </a:fld>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761806" y="425449"/>
            <a:ext cx="11033426" cy="603251"/>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173738" y="1341437"/>
            <a:ext cx="10349216" cy="4500563"/>
          </a:xfrm>
        </p:spPr>
        <p:txBody>
          <a:bodyPr/>
          <a:lstStyle/>
          <a:p>
            <a:pPr lvl="0"/>
            <a:endParaRPr lang="en-US" noProof="0"/>
          </a:p>
        </p:txBody>
      </p:sp>
      <p:sp>
        <p:nvSpPr>
          <p:cNvPr id="4" name="Rectangle 35"/>
          <p:cNvSpPr>
            <a:spLocks noGrp="1" noChangeArrowheads="1"/>
          </p:cNvSpPr>
          <p:nvPr>
            <p:ph type="sldNum" sz="quarter" idx="10"/>
          </p:nvPr>
        </p:nvSpPr>
        <p:spPr>
          <a:ln/>
        </p:spPr>
        <p:txBody>
          <a:bodyPr/>
          <a:lstStyle>
            <a:lvl1pPr>
              <a:defRPr/>
            </a:lvl1pPr>
          </a:lstStyle>
          <a:p>
            <a:pPr>
              <a:defRPr/>
            </a:pPr>
            <a:fld id="{803CD90D-90BD-4911-A8DA-68D85D23649A}" type="slidenum">
              <a:rPr lang="en-US"/>
              <a:pPr>
                <a:defRPr/>
              </a:pPr>
              <a:t>‹#›</a:t>
            </a:fld>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1806" y="425449"/>
            <a:ext cx="11033426" cy="603251"/>
          </a:xfrm>
        </p:spPr>
        <p:txBody>
          <a:bodyPr/>
          <a:lstStyle>
            <a:lvl1pPr>
              <a:defRPr>
                <a:latin typeface="Arial" pitchFamily="34" charset="0"/>
                <a:cs typeface="Arial" pitchFamily="34" charset="0"/>
              </a:defRPr>
            </a:lvl1pPr>
          </a:lstStyle>
          <a:p>
            <a:r>
              <a:rPr lang="en-US" smtClean="0"/>
              <a:t>Click to edit Master title style</a:t>
            </a:r>
            <a:endParaRPr lang="en-US"/>
          </a:p>
        </p:txBody>
      </p:sp>
      <p:sp>
        <p:nvSpPr>
          <p:cNvPr id="3" name="Text Placeholder 2"/>
          <p:cNvSpPr>
            <a:spLocks noGrp="1"/>
          </p:cNvSpPr>
          <p:nvPr>
            <p:ph type="body" sz="half" idx="1"/>
          </p:nvPr>
        </p:nvSpPr>
        <p:spPr>
          <a:xfrm>
            <a:off x="766034" y="1341439"/>
            <a:ext cx="5408791" cy="4730751"/>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377972" y="1341439"/>
            <a:ext cx="5408791" cy="4730751"/>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5"/>
          <p:cNvSpPr>
            <a:spLocks noGrp="1" noChangeArrowheads="1"/>
          </p:cNvSpPr>
          <p:nvPr>
            <p:ph type="sldNum" sz="quarter" idx="10"/>
          </p:nvPr>
        </p:nvSpPr>
        <p:spPr>
          <a:ln/>
        </p:spPr>
        <p:txBody>
          <a:bodyPr/>
          <a:lstStyle>
            <a:lvl1pPr>
              <a:defRPr/>
            </a:lvl1pPr>
          </a:lstStyle>
          <a:p>
            <a:pPr>
              <a:defRPr/>
            </a:pPr>
            <a:fld id="{5BA0F930-3EF6-499C-BB1F-413678B95A78}" type="slidenum">
              <a:rPr lang="en-US"/>
              <a:pPr>
                <a:defRPr/>
              </a:pPr>
              <a:t>‹#›</a:t>
            </a:fld>
            <a:endParaRPr 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7" name="Text Placeholder 12"/>
          <p:cNvSpPr>
            <a:spLocks noGrp="1"/>
          </p:cNvSpPr>
          <p:nvPr>
            <p:ph type="body" sz="quarter" idx="13"/>
          </p:nvPr>
        </p:nvSpPr>
        <p:spPr>
          <a:xfrm>
            <a:off x="531818"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lang="en-US" smtClean="0"/>
              <a:t>Click to edit Master text styles</a:t>
            </a:r>
          </a:p>
        </p:txBody>
      </p:sp>
      <p:sp>
        <p:nvSpPr>
          <p:cNvPr id="3" name="Content Placeholder 2"/>
          <p:cNvSpPr>
            <a:spLocks noGrp="1"/>
          </p:cNvSpPr>
          <p:nvPr>
            <p:ph idx="1"/>
          </p:nvPr>
        </p:nvSpPr>
        <p:spPr>
          <a:xfrm>
            <a:off x="531154"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3"/>
          <p:cNvSpPr>
            <a:spLocks noGrp="1"/>
          </p:cNvSpPr>
          <p:nvPr>
            <p:ph type="dt" sz="half" idx="14"/>
          </p:nvPr>
        </p:nvSpPr>
        <p:spPr>
          <a:xfrm>
            <a:off x="4562345" y="6555318"/>
            <a:ext cx="1227347" cy="184149"/>
          </a:xfrm>
          <a:prstGeom prst="rect">
            <a:avLst/>
          </a:prstGeom>
        </p:spPr>
        <p:txBody>
          <a:bodyPr lIns="91436" tIns="45719" rIns="91436" bIns="45719"/>
          <a:lstStyle>
            <a:lvl1pPr>
              <a:defRPr/>
            </a:lvl1pPr>
          </a:lstStyle>
          <a:p>
            <a:pPr defTabSz="1216871" fontAlgn="base">
              <a:spcBef>
                <a:spcPct val="0"/>
              </a:spcBef>
              <a:spcAft>
                <a:spcPct val="0"/>
              </a:spcAft>
              <a:defRPr/>
            </a:pPr>
            <a:fld id="{8820B2DA-46CF-4803-97BD-4192E6D92D14}" type="datetime1">
              <a:rPr lang="en-US" sz="2700">
                <a:solidFill>
                  <a:srgbClr val="333333"/>
                </a:solidFill>
                <a:cs typeface="Arial" charset="0"/>
              </a:rPr>
              <a:pPr defTabSz="1216871" fontAlgn="base">
                <a:spcBef>
                  <a:spcPct val="0"/>
                </a:spcBef>
                <a:spcAft>
                  <a:spcPct val="0"/>
                </a:spcAft>
                <a:defRPr/>
              </a:pPr>
              <a:t>11/10/2016</a:t>
            </a:fld>
            <a:endParaRPr sz="2700" dirty="0">
              <a:solidFill>
                <a:srgbClr val="333333"/>
              </a:solidFill>
              <a:cs typeface="Arial" charset="0"/>
            </a:endParaRPr>
          </a:p>
        </p:txBody>
      </p:sp>
      <p:sp>
        <p:nvSpPr>
          <p:cNvPr id="6" name="Footer Placeholder 4"/>
          <p:cNvSpPr>
            <a:spLocks noGrp="1"/>
          </p:cNvSpPr>
          <p:nvPr>
            <p:ph type="ftr" sz="quarter" idx="15"/>
          </p:nvPr>
        </p:nvSpPr>
        <p:spPr>
          <a:xfrm>
            <a:off x="8777647" y="6555318"/>
            <a:ext cx="2499133" cy="184149"/>
          </a:xfrm>
          <a:prstGeom prst="rect">
            <a:avLst/>
          </a:prstGeom>
        </p:spPr>
        <p:txBody>
          <a:bodyPr lIns="91436" tIns="45719" rIns="91436" bIns="45719"/>
          <a:lstStyle>
            <a:lvl1pPr>
              <a:defRPr dirty="0"/>
            </a:lvl1pPr>
          </a:lstStyle>
          <a:p>
            <a:pPr defTabSz="1216871" fontAlgn="base">
              <a:spcBef>
                <a:spcPct val="0"/>
              </a:spcBef>
              <a:spcAft>
                <a:spcPct val="0"/>
              </a:spcAft>
              <a:defRPr/>
            </a:pPr>
            <a:r>
              <a:rPr sz="2700">
                <a:solidFill>
                  <a:srgbClr val="333333"/>
                </a:solidFill>
                <a:cs typeface="Arial" charset="0"/>
              </a:rPr>
              <a:t>Oracle Confidential – Internal/Restricted/Highly Restricted</a:t>
            </a:r>
          </a:p>
        </p:txBody>
      </p:sp>
      <p:sp>
        <p:nvSpPr>
          <p:cNvPr id="8" name="Slide Number Placeholder 5"/>
          <p:cNvSpPr>
            <a:spLocks noGrp="1"/>
          </p:cNvSpPr>
          <p:nvPr>
            <p:ph type="sldNum" sz="quarter" idx="16"/>
          </p:nvPr>
        </p:nvSpPr>
        <p:spPr>
          <a:xfrm>
            <a:off x="11276780" y="6555318"/>
            <a:ext cx="380901" cy="184149"/>
          </a:xfrm>
        </p:spPr>
        <p:txBody>
          <a:bodyPr lIns="91436" tIns="45719" rIns="91436" bIns="45719"/>
          <a:lstStyle>
            <a:lvl1pPr>
              <a:defRPr/>
            </a:lvl1pPr>
          </a:lstStyle>
          <a:p>
            <a:pPr>
              <a:defRPr/>
            </a:pPr>
            <a:fld id="{AF270A1A-1797-4051-BE0E-AD6DF0B1ACA7}" type="slidenum">
              <a:rPr/>
              <a:pPr>
                <a:defRPr/>
              </a:pPr>
              <a:t>‹#›</a:t>
            </a:fld>
            <a:endParaRPr dirty="0"/>
          </a:p>
        </p:txBody>
      </p:sp>
    </p:spTree>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13_Section Break &quot;Gear&quot;">
    <p:spTree>
      <p:nvGrpSpPr>
        <p:cNvPr id="1" name=""/>
        <p:cNvGrpSpPr/>
        <p:nvPr/>
      </p:nvGrpSpPr>
      <p:grpSpPr>
        <a:xfrm>
          <a:off x="0" y="0"/>
          <a:ext cx="0" cy="0"/>
          <a:chOff x="0" y="0"/>
          <a:chExt cx="0" cy="0"/>
        </a:xfrm>
      </p:grpSpPr>
      <p:pic>
        <p:nvPicPr>
          <p:cNvPr id="3" name="Picture 14"/>
          <p:cNvPicPr>
            <a:picLocks noChangeAspect="1"/>
          </p:cNvPicPr>
          <p:nvPr userDrawn="1"/>
        </p:nvPicPr>
        <p:blipFill>
          <a:blip r:embed="rId2" cstate="print"/>
          <a:srcRect/>
          <a:stretch>
            <a:fillRect/>
          </a:stretch>
        </p:blipFill>
        <p:spPr bwMode="auto">
          <a:xfrm>
            <a:off x="907815" y="1877484"/>
            <a:ext cx="4363430" cy="3175000"/>
          </a:xfrm>
          <a:prstGeom prst="rect">
            <a:avLst/>
          </a:prstGeom>
          <a:noFill/>
          <a:ln w="9525">
            <a:noFill/>
            <a:miter lim="800000"/>
            <a:headEnd/>
            <a:tailEnd/>
          </a:ln>
        </p:spPr>
      </p:pic>
      <p:sp>
        <p:nvSpPr>
          <p:cNvPr id="8" name="Title 4"/>
          <p:cNvSpPr>
            <a:spLocks noGrp="1"/>
          </p:cNvSpPr>
          <p:nvPr>
            <p:ph type="title"/>
          </p:nvPr>
        </p:nvSpPr>
        <p:spPr>
          <a:xfrm>
            <a:off x="6213171" y="3236976"/>
            <a:ext cx="5484971" cy="822960"/>
          </a:xfrm>
        </p:spPr>
        <p:txBody>
          <a:bodyPr>
            <a:noAutofit/>
          </a:bodyPr>
          <a:lstStyle>
            <a:lvl1pPr>
              <a:defRPr sz="4300">
                <a:latin typeface="Arial" pitchFamily="34" charset="0"/>
                <a:cs typeface="Arial" pitchFamily="34" charset="0"/>
              </a:defRPr>
            </a:lvl1pPr>
          </a:lstStyle>
          <a:p>
            <a:r>
              <a:rPr lang="en-US" dirty="0" smtClean="0"/>
              <a:t>Click to edit Master title style</a:t>
            </a:r>
            <a:endParaRPr lang="en-US" dirty="0"/>
          </a:p>
        </p:txBody>
      </p:sp>
      <p:sp>
        <p:nvSpPr>
          <p:cNvPr id="4" name="Slide Number Placeholder 2" hidden="1"/>
          <p:cNvSpPr>
            <a:spLocks noGrp="1"/>
          </p:cNvSpPr>
          <p:nvPr>
            <p:ph type="sldNum" sz="quarter" idx="10"/>
          </p:nvPr>
        </p:nvSpPr>
        <p:spPr/>
        <p:txBody>
          <a:bodyPr/>
          <a:lstStyle>
            <a:lvl1pPr>
              <a:defRPr/>
            </a:lvl1pPr>
          </a:lstStyle>
          <a:p>
            <a:pPr>
              <a:defRPr/>
            </a:pPr>
            <a:fld id="{E9900E2E-8F41-4744-AFCE-09F2CC89695E}" type="slidenum">
              <a:rPr lang="en-US"/>
              <a:pPr>
                <a:defRPr/>
              </a:pPr>
              <a:t>‹#›</a:t>
            </a:fld>
            <a:endParaRPr lang="en-US"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Slide without Pictur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3" y="3429451"/>
            <a:ext cx="11125199"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6" name="Date Placeholder 5"/>
          <p:cNvSpPr>
            <a:spLocks noGrp="1"/>
          </p:cNvSpPr>
          <p:nvPr>
            <p:ph type="dt" sz="half" idx="14"/>
          </p:nvPr>
        </p:nvSpPr>
        <p:spPr/>
        <p:txBody>
          <a:bodyPr/>
          <a:lstStyle>
            <a:lvl1pPr>
              <a:defRPr>
                <a:solidFill>
                  <a:srgbClr val="5F5F5F"/>
                </a:solidFill>
              </a:defRPr>
            </a:lvl1pPr>
          </a:lstStyle>
          <a:p>
            <a:fld id="{DB0592DB-01ED-A44A-830D-2A57CD1AF06B}" type="datetime1">
              <a:rPr lang="en-US" smtClean="0"/>
              <a:pPr/>
              <a:t>11/10/2016</a:t>
            </a:fld>
            <a:endParaRPr lang="en-US" dirty="0"/>
          </a:p>
        </p:txBody>
      </p:sp>
      <p:sp>
        <p:nvSpPr>
          <p:cNvPr id="8" name="Footer Placeholder 7"/>
          <p:cNvSpPr>
            <a:spLocks noGrp="1"/>
          </p:cNvSpPr>
          <p:nvPr>
            <p:ph type="ftr" sz="quarter" idx="15"/>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9" name="Picture 8"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75370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D8E1E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3" y="739775"/>
            <a:ext cx="11125199"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3" y="2286000"/>
            <a:ext cx="11126648"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7" name="Date Placeholder 6"/>
          <p:cNvSpPr>
            <a:spLocks noGrp="1"/>
          </p:cNvSpPr>
          <p:nvPr>
            <p:ph type="dt" sz="half" idx="10"/>
          </p:nvPr>
        </p:nvSpPr>
        <p:spPr/>
        <p:txBody>
          <a:bodyPr/>
          <a:lstStyle>
            <a:lvl1pPr>
              <a:defRPr>
                <a:solidFill>
                  <a:srgbClr val="5F5F5F"/>
                </a:solidFill>
              </a:defRPr>
            </a:lvl1pPr>
          </a:lstStyle>
          <a:p>
            <a:fld id="{4D813C46-5AAA-0045-A784-1D6C400A7C04}" type="datetime1">
              <a:rPr lang="en-US" smtClean="0"/>
              <a:pPr/>
              <a:t>11/10/2016</a:t>
            </a:fld>
            <a:endParaRPr lang="en-US" dirty="0"/>
          </a:p>
        </p:txBody>
      </p:sp>
      <p:sp>
        <p:nvSpPr>
          <p:cNvPr id="8" name="Footer Placeholder 7"/>
          <p:cNvSpPr>
            <a:spLocks noGrp="1"/>
          </p:cNvSpPr>
          <p:nvPr>
            <p:ph type="ftr" sz="quarter" idx="11"/>
          </p:nvPr>
        </p:nvSpPr>
        <p:spPr/>
        <p:txBody>
          <a:bodyPr/>
          <a:lstStyle>
            <a:lvl1pPr>
              <a:defRPr>
                <a:solidFill>
                  <a:srgbClr val="5F5F5F"/>
                </a:solidFill>
              </a:defRPr>
            </a:lvl1pPr>
          </a:lstStyle>
          <a:p>
            <a:r>
              <a:rPr lang="en-US" smtClean="0"/>
              <a:t>Confidential – Oracle Internal/Restricted/Highly Restricted</a:t>
            </a:r>
            <a:endParaRPr lang="en-US" dirty="0"/>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lang="en-US" sz="850" dirty="0" smtClean="0">
                <a:solidFill>
                  <a:srgbClr val="5F5F5F"/>
                </a:solidFill>
              </a:rPr>
              <a:t>2016,</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0" name="Picture 9" descr="Oracle logo in white on red staging background"/>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659161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without Picture">
    <p:spTree>
      <p:nvGrpSpPr>
        <p:cNvPr id="1" name=""/>
        <p:cNvGrpSpPr/>
        <p:nvPr/>
      </p:nvGrpSpPr>
      <p:grpSpPr>
        <a:xfrm>
          <a:off x="0" y="0"/>
          <a:ext cx="0" cy="0"/>
          <a:chOff x="0" y="0"/>
          <a:chExt cx="0" cy="0"/>
        </a:xfrm>
      </p:grpSpPr>
      <p:sp>
        <p:nvSpPr>
          <p:cNvPr id="2" name="Title 1"/>
          <p:cNvSpPr>
            <a:spLocks noGrp="1"/>
          </p:cNvSpPr>
          <p:nvPr>
            <p:ph type="title"/>
          </p:nvPr>
        </p:nvSpPr>
        <p:spPr>
          <a:xfrm>
            <a:off x="531816" y="2600324"/>
            <a:ext cx="11125199" cy="1371600"/>
          </a:xfrm>
        </p:spPr>
        <p:txBody>
          <a:bodyPr anchor="b"/>
          <a:lstStyle>
            <a:lvl1pPr algn="l">
              <a:lnSpc>
                <a:spcPct val="80000"/>
              </a:lnSpc>
              <a:defRPr sz="4800" b="0" cap="none" baseline="0"/>
            </a:lvl1pPr>
          </a:lstStyle>
          <a:p>
            <a:r>
              <a:rPr lang="en-US" smtClean="0"/>
              <a:t>Click to edit Master title style</a:t>
            </a:r>
            <a:endParaRPr/>
          </a:p>
        </p:txBody>
      </p:sp>
      <p:sp>
        <p:nvSpPr>
          <p:cNvPr id="3" name="Text Placeholder 2"/>
          <p:cNvSpPr>
            <a:spLocks noGrp="1"/>
          </p:cNvSpPr>
          <p:nvPr>
            <p:ph type="body" idx="1"/>
          </p:nvPr>
        </p:nvSpPr>
        <p:spPr>
          <a:xfrm>
            <a:off x="531816" y="4038599"/>
            <a:ext cx="11125199" cy="914400"/>
          </a:xfrm>
        </p:spPr>
        <p:txBody>
          <a:bodyPr anchor="t">
            <a:noAutofit/>
          </a:bodyPr>
          <a:lstStyle>
            <a:lvl1pPr marL="0" indent="0">
              <a:spcBef>
                <a:spcPts val="0"/>
              </a:spcBef>
              <a:buNone/>
              <a:defRPr sz="2400" b="1">
                <a:solidFill>
                  <a:schemeClr val="tx1"/>
                </a:solidFill>
              </a:defRPr>
            </a:lvl1pPr>
            <a:lvl2pPr marL="457161" indent="0">
              <a:buNone/>
              <a:defRPr sz="1900">
                <a:solidFill>
                  <a:schemeClr val="tx1">
                    <a:tint val="75000"/>
                  </a:schemeClr>
                </a:solidFill>
              </a:defRPr>
            </a:lvl2pPr>
            <a:lvl3pPr marL="914323" indent="0">
              <a:buNone/>
              <a:defRPr sz="1600">
                <a:solidFill>
                  <a:schemeClr val="tx1">
                    <a:tint val="75000"/>
                  </a:schemeClr>
                </a:solidFill>
              </a:defRPr>
            </a:lvl3pPr>
            <a:lvl4pPr marL="1371485" indent="0">
              <a:buNone/>
              <a:defRPr sz="1500">
                <a:solidFill>
                  <a:schemeClr val="tx1">
                    <a:tint val="75000"/>
                  </a:schemeClr>
                </a:solidFill>
              </a:defRPr>
            </a:lvl4pPr>
            <a:lvl5pPr marL="1828648" indent="0">
              <a:buNone/>
              <a:defRPr sz="1500">
                <a:solidFill>
                  <a:schemeClr val="tx1">
                    <a:tint val="75000"/>
                  </a:schemeClr>
                </a:solidFill>
              </a:defRPr>
            </a:lvl5pPr>
            <a:lvl6pPr marL="2285809" indent="0">
              <a:buNone/>
              <a:defRPr sz="1500">
                <a:solidFill>
                  <a:schemeClr val="tx1">
                    <a:tint val="75000"/>
                  </a:schemeClr>
                </a:solidFill>
              </a:defRPr>
            </a:lvl6pPr>
            <a:lvl7pPr marL="2742971" indent="0">
              <a:buNone/>
              <a:defRPr sz="1500">
                <a:solidFill>
                  <a:schemeClr val="tx1">
                    <a:tint val="75000"/>
                  </a:schemeClr>
                </a:solidFill>
              </a:defRPr>
            </a:lvl7pPr>
            <a:lvl8pPr marL="3200133" indent="0">
              <a:buNone/>
              <a:defRPr sz="1500">
                <a:solidFill>
                  <a:schemeClr val="tx1">
                    <a:tint val="75000"/>
                  </a:schemeClr>
                </a:solidFill>
              </a:defRPr>
            </a:lvl8pPr>
            <a:lvl9pPr marL="3657296"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C35900-9CAD-4F88-ADA2-63803E0474C8}" type="datetime1">
              <a:rPr lang="en-US">
                <a:solidFill>
                  <a:srgbClr val="5F5F5F">
                    <a:lumMod val="60000"/>
                    <a:lumOff val="40000"/>
                  </a:srgbClr>
                </a:solidFill>
              </a:rPr>
              <a:pPr/>
              <a:t>11/10/2016</a:t>
            </a:fld>
            <a:endParaRPr dirty="0">
              <a:solidFill>
                <a:srgbClr val="5F5F5F">
                  <a:lumMod val="60000"/>
                  <a:lumOff val="40000"/>
                </a:srgbClr>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F5F5F">
                    <a:lumMod val="60000"/>
                    <a:lumOff val="40000"/>
                  </a:srgbClr>
                </a:solidFill>
              </a: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51385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ustom Title Slide: Grey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58595B"/>
                </a:solidFill>
              </a:rPr>
              <a:pPr/>
              <a:t>11/10/2016</a:t>
            </a:fld>
            <a:endParaRPr lang="en-US" dirty="0">
              <a:solidFill>
                <a:srgbClr val="58595B"/>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58595B"/>
                </a:solidFill>
              </a:rPr>
              <a:t>Confidential – Oracle Internal/Restricted/Highly Restricted</a:t>
            </a:r>
            <a:endParaRPr lang="en-US" dirty="0">
              <a:solidFill>
                <a:srgbClr val="58595B"/>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5261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Custom Title Slide: Red Graphic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1814" y="739775"/>
            <a:ext cx="8187695"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187695"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4682443"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8204558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Custom Title Slide with Primary Event Impress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5" name="Rectangle 14"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31814" y="739775"/>
            <a:ext cx="804531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804531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804531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5794219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ustom 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8" name="Rectangle 17" descr="Full slide 4-color photo can be inserted here. Customer/Partner and secondary logo can be included"/>
          <p:cNvSpPr/>
          <p:nvPr userDrawn="1"/>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4" name="Rectangle 13"/>
          <p:cNvSpPr/>
          <p:nvPr userDrawn="1"/>
        </p:nvSpPr>
        <p:spPr bwMode="white">
          <a:xfrm>
            <a:off x="9984628" y="4608094"/>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10056441" y="4815117"/>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Tree>
    <p:extLst>
      <p:ext uri="{BB962C8B-B14F-4D97-AF65-F5344CB8AC3E}">
        <p14:creationId xmlns:p14="http://schemas.microsoft.com/office/powerpoint/2010/main" val="288399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ustom 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1" name="Rectangle 20" descr="Full slide 4-color photo can be inserted here"/>
          <p:cNvSpPr/>
          <p:nvPr userDrawn="1"/>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5904" cy="6858000"/>
          </a:xfrm>
          <a:prstGeom prst="rect">
            <a:avLst/>
          </a:prstGeom>
        </p:spPr>
      </p:pic>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
        <p:nvSpPr>
          <p:cNvPr id="17" name="Rectangle 16"/>
          <p:cNvSpPr/>
          <p:nvPr userDrawn="1"/>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text</a:t>
            </a:r>
          </a:p>
        </p:txBody>
      </p:sp>
      <p:sp>
        <p:nvSpPr>
          <p:cNvPr id="20" name="Rectangle 19"/>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Tree>
    <p:extLst>
      <p:ext uri="{BB962C8B-B14F-4D97-AF65-F5344CB8AC3E}">
        <p14:creationId xmlns:p14="http://schemas.microsoft.com/office/powerpoint/2010/main" val="37285649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itle Slide with Picture">
    <p:bg>
      <p:bgPr>
        <a:blipFill dpi="0" rotWithShape="1">
          <a:blip r:embed="rId2" cstate="print"/>
          <a:srcRect/>
          <a:stretch>
            <a:fillRect/>
          </a:stretch>
        </a:blipFill>
        <a:effectLst/>
      </p:bgPr>
    </p:bg>
    <p:spTree>
      <p:nvGrpSpPr>
        <p:cNvPr id="1" name=""/>
        <p:cNvGrpSpPr/>
        <p:nvPr/>
      </p:nvGrpSpPr>
      <p:grpSpPr>
        <a:xfrm>
          <a:off x="0" y="0"/>
          <a:ext cx="0" cy="0"/>
          <a:chOff x="0" y="0"/>
          <a:chExt cx="0" cy="0"/>
        </a:xfrm>
      </p:grpSpPr>
      <p:sp>
        <p:nvSpPr>
          <p:cNvPr id="10" name="Rectangle 9" descr="Full slide 4-color photo can be inserted here"/>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601200" cy="1470025"/>
          </a:xfrm>
        </p:spPr>
        <p:txBody>
          <a:bodyPr/>
          <a:lstStyle>
            <a:lvl1pPr>
              <a:lnSpc>
                <a:spcPct val="80000"/>
              </a:lnSpc>
              <a:defRPr sz="4800"/>
            </a:lvl1pPr>
          </a:lstStyle>
          <a:p>
            <a:r>
              <a:rPr lang="en-US" smtClean="0"/>
              <a:t>Click to edit Master title style</a:t>
            </a:r>
            <a:endParaRPr dirty="0"/>
          </a:p>
        </p:txBody>
      </p:sp>
      <p:sp>
        <p:nvSpPr>
          <p:cNvPr id="3" name="Subtitle 2"/>
          <p:cNvSpPr>
            <a:spLocks noGrp="1"/>
          </p:cNvSpPr>
          <p:nvPr>
            <p:ph type="subTitle" idx="1"/>
          </p:nvPr>
        </p:nvSpPr>
        <p:spPr>
          <a:xfrm>
            <a:off x="531762" y="2286000"/>
            <a:ext cx="96012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13" name="Text Placeholder 12"/>
          <p:cNvSpPr>
            <a:spLocks noGrp="1"/>
          </p:cNvSpPr>
          <p:nvPr>
            <p:ph type="body" sz="quarter" idx="13" hasCustomPrompt="1"/>
          </p:nvPr>
        </p:nvSpPr>
        <p:spPr>
          <a:xfrm>
            <a:off x="531814" y="3429451"/>
            <a:ext cx="96012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7" name="Date Placeholder 6"/>
          <p:cNvSpPr>
            <a:spLocks noGrp="1"/>
          </p:cNvSpPr>
          <p:nvPr>
            <p:ph type="dt" sz="half" idx="14"/>
          </p:nvPr>
        </p:nvSpPr>
        <p:spPr/>
        <p:txBody>
          <a:bodyPr/>
          <a:lstStyle>
            <a:lvl1pPr>
              <a:defRPr>
                <a:solidFill>
                  <a:schemeClr val="tx1"/>
                </a:solidFill>
              </a:defRPr>
            </a:lvl1pPr>
          </a:lstStyle>
          <a:p>
            <a:fld id="{28EA2FC9-FB8E-5643-A6BA-BB418325CE56}" type="datetime1">
              <a:rPr lang="en-US" smtClean="0">
                <a:solidFill>
                  <a:srgbClr val="FFFFFF"/>
                </a:solidFill>
              </a:rPr>
              <a:pPr/>
              <a:t>11/10/2016</a:t>
            </a:fld>
            <a:endParaRPr lang="en-US" dirty="0">
              <a:solidFill>
                <a:srgbClr val="FFFFFF"/>
              </a:solidFill>
            </a:endParaRPr>
          </a:p>
        </p:txBody>
      </p:sp>
      <p:sp>
        <p:nvSpPr>
          <p:cNvPr id="8" name="Footer Placeholder 7"/>
          <p:cNvSpPr>
            <a:spLocks noGrp="1"/>
          </p:cNvSpPr>
          <p:nvPr>
            <p:ph type="ftr" sz="quarter" idx="15"/>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4" name="TextBox 13"/>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1" name="Picture 10"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8708917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Title Slide with Picture and Log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451"/>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FE9D4F83-0EF6-4A4D-9FC0-F03FA2077ACD}"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6" name="TextBox 15"/>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5" name="Picture 14"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5701309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Title Slide with Picture and 2 Logo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2" name="Rectangle 21" descr="Full slide 4-color photo can be inserted here. Customer/Partner and secondary logo can be included"/>
          <p:cNvSpPr/>
          <p:nvPr/>
        </p:nvSpPr>
        <p:spPr bwMode="hidden">
          <a:xfrm>
            <a:off x="0" y="0"/>
            <a:ext cx="12188825" cy="6858000"/>
          </a:xfrm>
          <a:prstGeom prst="rect">
            <a:avLst/>
          </a:prstGeom>
          <a:solidFill>
            <a:srgbClr val="465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 name="Title 1"/>
          <p:cNvSpPr>
            <a:spLocks noGrp="1"/>
          </p:cNvSpPr>
          <p:nvPr>
            <p:ph type="ctrTitle"/>
          </p:nvPr>
        </p:nvSpPr>
        <p:spPr>
          <a:xfrm>
            <a:off x="531814" y="739775"/>
            <a:ext cx="9144000" cy="1470025"/>
          </a:xfrm>
        </p:spPr>
        <p:txBody>
          <a:bodyPr/>
          <a:lstStyle>
            <a:lvl1pPr>
              <a:lnSpc>
                <a:spcPct val="80000"/>
              </a:lnSpc>
              <a:defRPr sz="4800"/>
            </a:lvl1pPr>
          </a:lstStyle>
          <a:p>
            <a:r>
              <a:rPr lang="en-US" smtClean="0"/>
              <a:t>Click to edit Master title style</a:t>
            </a:r>
            <a:endParaRPr/>
          </a:p>
        </p:txBody>
      </p:sp>
      <p:sp>
        <p:nvSpPr>
          <p:cNvPr id="3" name="Subtitle 2"/>
          <p:cNvSpPr>
            <a:spLocks noGrp="1"/>
          </p:cNvSpPr>
          <p:nvPr>
            <p:ph type="subTitle" idx="1"/>
          </p:nvPr>
        </p:nvSpPr>
        <p:spPr>
          <a:xfrm>
            <a:off x="531762" y="2286000"/>
            <a:ext cx="9144000" cy="9144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lvl1pPr>
              <a:defRPr>
                <a:solidFill>
                  <a:schemeClr val="tx1"/>
                </a:solidFill>
              </a:defRPr>
            </a:lvl1pPr>
          </a:lstStyle>
          <a:p>
            <a:fld id="{5190EDF2-7744-3443-B3CB-57655E386FA4}" type="datetime1">
              <a:rPr lang="en-US" smtClean="0">
                <a:solidFill>
                  <a:srgbClr val="FFFFFF"/>
                </a:solidFill>
              </a:rPr>
              <a:pPr/>
              <a:t>11/10/2016</a:t>
            </a:fld>
            <a:endParaRPr lang="en-US"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smtClean="0">
                <a:solidFill>
                  <a:srgbClr val="FFFFFF"/>
                </a:solidFill>
              </a:rPr>
              <a:t>Confidential – Oracle Internal/Restricted/Highly Restricted</a:t>
            </a:r>
            <a:endParaRPr lang="en-US" dirty="0">
              <a:solidFill>
                <a:srgbClr val="FFFFFF"/>
              </a:solidFill>
            </a:endParaRPr>
          </a:p>
        </p:txBody>
      </p:sp>
      <p:sp>
        <p:nvSpPr>
          <p:cNvPr id="13" name="Text Placeholder 12"/>
          <p:cNvSpPr>
            <a:spLocks noGrp="1"/>
          </p:cNvSpPr>
          <p:nvPr>
            <p:ph type="body" sz="quarter" idx="13" hasCustomPrompt="1"/>
          </p:nvPr>
        </p:nvSpPr>
        <p:spPr>
          <a:xfrm>
            <a:off x="531814" y="3429451"/>
            <a:ext cx="9144000" cy="2514149"/>
          </a:xfrm>
        </p:spPr>
        <p:txBody>
          <a:bodyPr>
            <a:noAutofit/>
          </a:bodyPr>
          <a:lstStyle>
            <a:lvl1pPr marL="1588" indent="0">
              <a:spcBef>
                <a:spcPts val="0"/>
              </a:spcBef>
              <a:buFontTx/>
              <a:buNone/>
              <a:defRPr sz="2400"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presenter’s name, title, division/business unit/organization and date</a:t>
            </a:r>
          </a:p>
        </p:txBody>
      </p:sp>
      <p:sp>
        <p:nvSpPr>
          <p:cNvPr id="12" name="Rectangle 11"/>
          <p:cNvSpPr/>
          <p:nvPr/>
        </p:nvSpPr>
        <p:spPr bwMode="white">
          <a:xfrm>
            <a:off x="9828212" y="0"/>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sz="1800" dirty="0">
              <a:solidFill>
                <a:srgbClr val="FFFFFF"/>
              </a:solidFill>
            </a:endParaRPr>
          </a:p>
        </p:txBody>
      </p:sp>
      <p:sp>
        <p:nvSpPr>
          <p:cNvPr id="21" name="Text Placeholder 12"/>
          <p:cNvSpPr>
            <a:spLocks noGrp="1"/>
          </p:cNvSpPr>
          <p:nvPr>
            <p:ph type="body" sz="quarter" idx="15" hasCustomPrompt="1"/>
          </p:nvPr>
        </p:nvSpPr>
        <p:spPr>
          <a:xfrm>
            <a:off x="9904412" y="228600"/>
            <a:ext cx="1676400" cy="228600"/>
          </a:xfrm>
        </p:spPr>
        <p:txBody>
          <a:bodyPr anchor="b">
            <a:normAutofit/>
          </a:bodyPr>
          <a:lstStyle>
            <a:lvl1pPr marL="1588" indent="0" algn="ctr">
              <a:spcBef>
                <a:spcPts val="0"/>
              </a:spcBef>
              <a:buFontTx/>
              <a:buNone/>
              <a:defRPr sz="1400" baseline="0">
                <a:solidFill>
                  <a:schemeClr val="bg1"/>
                </a:solidFill>
              </a:defRPr>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a:t>Click to add text</a:t>
            </a:r>
          </a:p>
        </p:txBody>
      </p:sp>
      <p:sp>
        <p:nvSpPr>
          <p:cNvPr id="15" name="Rectangle 14"/>
          <p:cNvSpPr/>
          <p:nvPr userDrawn="1"/>
        </p:nvSpPr>
        <p:spPr>
          <a:xfrm>
            <a:off x="9823443" y="5409983"/>
            <a:ext cx="1828800" cy="850392"/>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sp>
        <p:nvSpPr>
          <p:cNvPr id="17" name="TextBox 16"/>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FFFFFF"/>
                </a:solidFill>
              </a:rPr>
              <a:t>Copyright © </a:t>
            </a:r>
            <a:r>
              <a:rPr lang="en-US" sz="850" dirty="0" smtClean="0">
                <a:solidFill>
                  <a:srgbClr val="FFFFFF"/>
                </a:solidFill>
              </a:rPr>
              <a:t>2016,</a:t>
            </a:r>
            <a:r>
              <a:rPr sz="850" dirty="0" smtClean="0">
                <a:solidFill>
                  <a:srgbClr val="FFFFFF"/>
                </a:solidFill>
              </a:rPr>
              <a:t> </a:t>
            </a:r>
            <a:r>
              <a:rPr sz="850" dirty="0">
                <a:solidFill>
                  <a:srgbClr val="FFFFFF"/>
                </a:solidFill>
              </a:rPr>
              <a:t>Oracle and/or its affiliates. All rights reserved.  </a:t>
            </a:r>
            <a:r>
              <a:rPr sz="850" dirty="0" smtClean="0">
                <a:solidFill>
                  <a:srgbClr val="FFFFFF"/>
                </a:solidFill>
              </a:rPr>
              <a:t>|</a:t>
            </a:r>
            <a:endParaRPr sz="850" dirty="0">
              <a:solidFill>
                <a:srgbClr val="FFFFFF"/>
              </a:solidFill>
            </a:endParaRPr>
          </a:p>
        </p:txBody>
      </p:sp>
      <p:pic>
        <p:nvPicPr>
          <p:cNvPr id="16" name="Picture 15" descr="Oracle logo in white on red staging background"/>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551164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524001"/>
            <a:ext cx="11126522"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8926090-F7DD-7C47-A7A5-57C7ADACE0E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Tree>
    <p:extLst>
      <p:ext uri="{BB962C8B-B14F-4D97-AF65-F5344CB8AC3E}">
        <p14:creationId xmlns:p14="http://schemas.microsoft.com/office/powerpoint/2010/main" val="224908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dirty="0"/>
          </a:p>
        </p:txBody>
      </p:sp>
      <p:sp>
        <p:nvSpPr>
          <p:cNvPr id="3" name="Content Placeholder 2"/>
          <p:cNvSpPr>
            <a:spLocks noGrp="1"/>
          </p:cNvSpPr>
          <p:nvPr>
            <p:ph idx="1"/>
          </p:nvPr>
        </p:nvSpPr>
        <p:spPr>
          <a:xfrm>
            <a:off x="531151" y="1981200"/>
            <a:ext cx="11126522" cy="396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6996FA26-999E-144A-B9D6-0275E6EB9A15}" type="datetime1">
              <a:rPr lang="en-US" smtClean="0">
                <a:solidFill>
                  <a:srgbClr val="58595B"/>
                </a:solidFill>
              </a:rPr>
              <a:pPr/>
              <a:t>11/10/2016</a:t>
            </a:fld>
            <a:endParaRPr dirty="0">
              <a:solidFill>
                <a:srgbClr val="58595B"/>
              </a:solidFill>
            </a:endParaRPr>
          </a:p>
        </p:txBody>
      </p:sp>
      <p:sp>
        <p:nvSpPr>
          <p:cNvPr id="5" name="Footer Placeholder 4"/>
          <p:cNvSpPr>
            <a:spLocks noGrp="1"/>
          </p:cNvSpPr>
          <p:nvPr>
            <p:ph type="ftr" sz="quarter" idx="11"/>
          </p:nvPr>
        </p:nvSpPr>
        <p:spPr/>
        <p:txBody>
          <a:bodyPr/>
          <a:lstStyle/>
          <a:p>
            <a:r>
              <a:rPr lang="en-US" smtClean="0">
                <a:solidFill>
                  <a:srgbClr val="58595B"/>
                </a:solidFill>
              </a:rPr>
              <a:t>Confidential – Oracle Internal/Restricted/Highly Restricted</a:t>
            </a:r>
            <a:endParaRPr dirty="0">
              <a:solidFill>
                <a:srgbClr val="58595B"/>
              </a:solidFill>
            </a:endParaRPr>
          </a:p>
        </p:txBody>
      </p:sp>
      <p:sp>
        <p:nvSpPr>
          <p:cNvPr id="6" name="Slide Number Placeholder 5"/>
          <p:cNvSpPr>
            <a:spLocks noGrp="1"/>
          </p:cNvSpPr>
          <p:nvPr>
            <p:ph type="sldNum" sz="quarter" idx="12"/>
          </p:nvPr>
        </p:nvSpPr>
        <p:spPr/>
        <p:txBody>
          <a:bodyPr/>
          <a:lstStyle/>
          <a:p>
            <a:fld id="{C51EAA63-D034-42AE-91FA-B13B9518C7BE}" type="slidenum">
              <a:rPr>
                <a:solidFill>
                  <a:srgbClr val="58595B"/>
                </a:solidFill>
              </a:rPr>
              <a:pPr/>
              <a:t>‹#›</a:t>
            </a:fld>
            <a:endParaRPr dirty="0">
              <a:solidFill>
                <a:srgbClr val="58595B"/>
              </a:solidFill>
            </a:endParaRPr>
          </a:p>
        </p:txBody>
      </p:sp>
      <p:sp>
        <p:nvSpPr>
          <p:cNvPr id="7" name="Text Placeholder 12"/>
          <p:cNvSpPr>
            <a:spLocks noGrp="1"/>
          </p:cNvSpPr>
          <p:nvPr>
            <p:ph type="body" sz="quarter" idx="13" hasCustomPrompt="1"/>
          </p:nvPr>
        </p:nvSpPr>
        <p:spPr>
          <a:xfrm>
            <a:off x="531813" y="1373741"/>
            <a:ext cx="11125199" cy="343299"/>
          </a:xfrm>
        </p:spPr>
        <p:txBody>
          <a:bodyPr>
            <a:noAutofit/>
          </a:bodyPr>
          <a:lstStyle>
            <a:lvl1pPr marL="1588" indent="0">
              <a:spcBef>
                <a:spcPts val="0"/>
              </a:spcBef>
              <a:buFontTx/>
              <a:buNone/>
              <a:defRPr sz="2400" b="1" baseline="0"/>
            </a:lvl1pPr>
            <a:lvl2pPr marL="1588" indent="0">
              <a:buFontTx/>
              <a:buNone/>
              <a:defRPr sz="2400"/>
            </a:lvl2pPr>
            <a:lvl3pPr marL="1588" indent="0">
              <a:buFontTx/>
              <a:buNone/>
              <a:defRPr sz="2400"/>
            </a:lvl3pPr>
            <a:lvl4pPr marL="1588" indent="0">
              <a:buFontTx/>
              <a:buNone/>
              <a:defRPr sz="2400"/>
            </a:lvl4pPr>
            <a:lvl5pPr marL="1588" indent="0">
              <a:buFontTx/>
              <a:buNone/>
              <a:defRPr sz="2400"/>
            </a:lvl5pPr>
            <a:lvl6pPr marL="1588" indent="0">
              <a:buFontTx/>
              <a:buNone/>
              <a:defRPr sz="2400"/>
            </a:lvl6pPr>
            <a:lvl7pPr marL="1588" indent="0">
              <a:buFontTx/>
              <a:buNone/>
              <a:defRPr sz="2400"/>
            </a:lvl7pPr>
            <a:lvl8pPr marL="1588" indent="0">
              <a:buFontTx/>
              <a:buNone/>
              <a:defRPr sz="2400"/>
            </a:lvl8pPr>
            <a:lvl9pPr marL="1588" indent="0">
              <a:buFontTx/>
              <a:buNone/>
              <a:defRPr sz="2400"/>
            </a:lvl9pPr>
          </a:lstStyle>
          <a:p>
            <a:pPr lvl="0"/>
            <a:r>
              <a:rPr dirty="0"/>
              <a:t>Click to add subtitle</a:t>
            </a:r>
          </a:p>
        </p:txBody>
      </p:sp>
    </p:spTree>
    <p:extLst>
      <p:ext uri="{BB962C8B-B14F-4D97-AF65-F5344CB8AC3E}">
        <p14:creationId xmlns:p14="http://schemas.microsoft.com/office/powerpoint/2010/main" val="425205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29.xml"/><Relationship Id="rId13" Type="http://schemas.openxmlformats.org/officeDocument/2006/relationships/slideLayout" Target="../slideLayouts/slideLayout434.xml"/><Relationship Id="rId18" Type="http://schemas.openxmlformats.org/officeDocument/2006/relationships/slideLayout" Target="../slideLayouts/slideLayout439.xml"/><Relationship Id="rId26" Type="http://schemas.openxmlformats.org/officeDocument/2006/relationships/slideLayout" Target="../slideLayouts/slideLayout447.xml"/><Relationship Id="rId39" Type="http://schemas.openxmlformats.org/officeDocument/2006/relationships/theme" Target="../theme/theme10.xml"/><Relationship Id="rId3" Type="http://schemas.openxmlformats.org/officeDocument/2006/relationships/slideLayout" Target="../slideLayouts/slideLayout424.xml"/><Relationship Id="rId21" Type="http://schemas.openxmlformats.org/officeDocument/2006/relationships/slideLayout" Target="../slideLayouts/slideLayout442.xml"/><Relationship Id="rId34" Type="http://schemas.openxmlformats.org/officeDocument/2006/relationships/slideLayout" Target="../slideLayouts/slideLayout455.xml"/><Relationship Id="rId7" Type="http://schemas.openxmlformats.org/officeDocument/2006/relationships/slideLayout" Target="../slideLayouts/slideLayout428.xml"/><Relationship Id="rId12" Type="http://schemas.openxmlformats.org/officeDocument/2006/relationships/slideLayout" Target="../slideLayouts/slideLayout433.xml"/><Relationship Id="rId17" Type="http://schemas.openxmlformats.org/officeDocument/2006/relationships/slideLayout" Target="../slideLayouts/slideLayout438.xml"/><Relationship Id="rId25" Type="http://schemas.openxmlformats.org/officeDocument/2006/relationships/slideLayout" Target="../slideLayouts/slideLayout446.xml"/><Relationship Id="rId33" Type="http://schemas.openxmlformats.org/officeDocument/2006/relationships/slideLayout" Target="../slideLayouts/slideLayout454.xml"/><Relationship Id="rId38" Type="http://schemas.openxmlformats.org/officeDocument/2006/relationships/slideLayout" Target="../slideLayouts/slideLayout459.xml"/><Relationship Id="rId2" Type="http://schemas.openxmlformats.org/officeDocument/2006/relationships/slideLayout" Target="../slideLayouts/slideLayout423.xml"/><Relationship Id="rId16" Type="http://schemas.openxmlformats.org/officeDocument/2006/relationships/slideLayout" Target="../slideLayouts/slideLayout437.xml"/><Relationship Id="rId20" Type="http://schemas.openxmlformats.org/officeDocument/2006/relationships/slideLayout" Target="../slideLayouts/slideLayout441.xml"/><Relationship Id="rId29" Type="http://schemas.openxmlformats.org/officeDocument/2006/relationships/slideLayout" Target="../slideLayouts/slideLayout450.xml"/><Relationship Id="rId1" Type="http://schemas.openxmlformats.org/officeDocument/2006/relationships/slideLayout" Target="../slideLayouts/slideLayout422.xml"/><Relationship Id="rId6" Type="http://schemas.openxmlformats.org/officeDocument/2006/relationships/slideLayout" Target="../slideLayouts/slideLayout427.xml"/><Relationship Id="rId11" Type="http://schemas.openxmlformats.org/officeDocument/2006/relationships/slideLayout" Target="../slideLayouts/slideLayout432.xml"/><Relationship Id="rId24" Type="http://schemas.openxmlformats.org/officeDocument/2006/relationships/slideLayout" Target="../slideLayouts/slideLayout445.xml"/><Relationship Id="rId32" Type="http://schemas.openxmlformats.org/officeDocument/2006/relationships/slideLayout" Target="../slideLayouts/slideLayout453.xml"/><Relationship Id="rId37" Type="http://schemas.openxmlformats.org/officeDocument/2006/relationships/slideLayout" Target="../slideLayouts/slideLayout458.xml"/><Relationship Id="rId40" Type="http://schemas.openxmlformats.org/officeDocument/2006/relationships/image" Target="../media/image1.png"/><Relationship Id="rId5" Type="http://schemas.openxmlformats.org/officeDocument/2006/relationships/slideLayout" Target="../slideLayouts/slideLayout426.xml"/><Relationship Id="rId15" Type="http://schemas.openxmlformats.org/officeDocument/2006/relationships/slideLayout" Target="../slideLayouts/slideLayout436.xml"/><Relationship Id="rId23" Type="http://schemas.openxmlformats.org/officeDocument/2006/relationships/slideLayout" Target="../slideLayouts/slideLayout444.xml"/><Relationship Id="rId28" Type="http://schemas.openxmlformats.org/officeDocument/2006/relationships/slideLayout" Target="../slideLayouts/slideLayout449.xml"/><Relationship Id="rId36" Type="http://schemas.openxmlformats.org/officeDocument/2006/relationships/slideLayout" Target="../slideLayouts/slideLayout457.xml"/><Relationship Id="rId10" Type="http://schemas.openxmlformats.org/officeDocument/2006/relationships/slideLayout" Target="../slideLayouts/slideLayout431.xml"/><Relationship Id="rId19" Type="http://schemas.openxmlformats.org/officeDocument/2006/relationships/slideLayout" Target="../slideLayouts/slideLayout440.xml"/><Relationship Id="rId31" Type="http://schemas.openxmlformats.org/officeDocument/2006/relationships/slideLayout" Target="../slideLayouts/slideLayout452.xml"/><Relationship Id="rId4" Type="http://schemas.openxmlformats.org/officeDocument/2006/relationships/slideLayout" Target="../slideLayouts/slideLayout425.xml"/><Relationship Id="rId9" Type="http://schemas.openxmlformats.org/officeDocument/2006/relationships/slideLayout" Target="../slideLayouts/slideLayout430.xml"/><Relationship Id="rId14" Type="http://schemas.openxmlformats.org/officeDocument/2006/relationships/slideLayout" Target="../slideLayouts/slideLayout435.xml"/><Relationship Id="rId22" Type="http://schemas.openxmlformats.org/officeDocument/2006/relationships/slideLayout" Target="../slideLayouts/slideLayout443.xml"/><Relationship Id="rId27" Type="http://schemas.openxmlformats.org/officeDocument/2006/relationships/slideLayout" Target="../slideLayouts/slideLayout448.xml"/><Relationship Id="rId30" Type="http://schemas.openxmlformats.org/officeDocument/2006/relationships/slideLayout" Target="../slideLayouts/slideLayout451.xml"/><Relationship Id="rId35" Type="http://schemas.openxmlformats.org/officeDocument/2006/relationships/slideLayout" Target="../slideLayouts/slideLayout45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slideLayout" Target="../slideLayouts/slideLayout472.xml"/><Relationship Id="rId18" Type="http://schemas.openxmlformats.org/officeDocument/2006/relationships/slideLayout" Target="../slideLayouts/slideLayout477.xml"/><Relationship Id="rId26" Type="http://schemas.openxmlformats.org/officeDocument/2006/relationships/slideLayout" Target="../slideLayouts/slideLayout485.xml"/><Relationship Id="rId39" Type="http://schemas.openxmlformats.org/officeDocument/2006/relationships/slideLayout" Target="../slideLayouts/slideLayout498.xml"/><Relationship Id="rId3" Type="http://schemas.openxmlformats.org/officeDocument/2006/relationships/slideLayout" Target="../slideLayouts/slideLayout462.xml"/><Relationship Id="rId21" Type="http://schemas.openxmlformats.org/officeDocument/2006/relationships/slideLayout" Target="../slideLayouts/slideLayout480.xml"/><Relationship Id="rId34" Type="http://schemas.openxmlformats.org/officeDocument/2006/relationships/slideLayout" Target="../slideLayouts/slideLayout493.xml"/><Relationship Id="rId42" Type="http://schemas.openxmlformats.org/officeDocument/2006/relationships/slideLayout" Target="../slideLayouts/slideLayout501.xml"/><Relationship Id="rId7" Type="http://schemas.openxmlformats.org/officeDocument/2006/relationships/slideLayout" Target="../slideLayouts/slideLayout466.xml"/><Relationship Id="rId12" Type="http://schemas.openxmlformats.org/officeDocument/2006/relationships/slideLayout" Target="../slideLayouts/slideLayout471.xml"/><Relationship Id="rId17" Type="http://schemas.openxmlformats.org/officeDocument/2006/relationships/slideLayout" Target="../slideLayouts/slideLayout476.xml"/><Relationship Id="rId25" Type="http://schemas.openxmlformats.org/officeDocument/2006/relationships/slideLayout" Target="../slideLayouts/slideLayout484.xml"/><Relationship Id="rId33" Type="http://schemas.openxmlformats.org/officeDocument/2006/relationships/slideLayout" Target="../slideLayouts/slideLayout492.xml"/><Relationship Id="rId38" Type="http://schemas.openxmlformats.org/officeDocument/2006/relationships/slideLayout" Target="../slideLayouts/slideLayout497.xml"/><Relationship Id="rId2" Type="http://schemas.openxmlformats.org/officeDocument/2006/relationships/slideLayout" Target="../slideLayouts/slideLayout461.xml"/><Relationship Id="rId16" Type="http://schemas.openxmlformats.org/officeDocument/2006/relationships/slideLayout" Target="../slideLayouts/slideLayout475.xml"/><Relationship Id="rId20" Type="http://schemas.openxmlformats.org/officeDocument/2006/relationships/slideLayout" Target="../slideLayouts/slideLayout479.xml"/><Relationship Id="rId29" Type="http://schemas.openxmlformats.org/officeDocument/2006/relationships/slideLayout" Target="../slideLayouts/slideLayout488.xml"/><Relationship Id="rId41" Type="http://schemas.openxmlformats.org/officeDocument/2006/relationships/slideLayout" Target="../slideLayouts/slideLayout500.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slideLayout" Target="../slideLayouts/slideLayout470.xml"/><Relationship Id="rId24" Type="http://schemas.openxmlformats.org/officeDocument/2006/relationships/slideLayout" Target="../slideLayouts/slideLayout483.xml"/><Relationship Id="rId32" Type="http://schemas.openxmlformats.org/officeDocument/2006/relationships/slideLayout" Target="../slideLayouts/slideLayout491.xml"/><Relationship Id="rId37" Type="http://schemas.openxmlformats.org/officeDocument/2006/relationships/slideLayout" Target="../slideLayouts/slideLayout496.xml"/><Relationship Id="rId40" Type="http://schemas.openxmlformats.org/officeDocument/2006/relationships/slideLayout" Target="../slideLayouts/slideLayout499.xml"/><Relationship Id="rId45" Type="http://schemas.openxmlformats.org/officeDocument/2006/relationships/image" Target="../media/image33.png"/><Relationship Id="rId5" Type="http://schemas.openxmlformats.org/officeDocument/2006/relationships/slideLayout" Target="../slideLayouts/slideLayout464.xml"/><Relationship Id="rId15" Type="http://schemas.openxmlformats.org/officeDocument/2006/relationships/slideLayout" Target="../slideLayouts/slideLayout474.xml"/><Relationship Id="rId23" Type="http://schemas.openxmlformats.org/officeDocument/2006/relationships/slideLayout" Target="../slideLayouts/slideLayout482.xml"/><Relationship Id="rId28" Type="http://schemas.openxmlformats.org/officeDocument/2006/relationships/slideLayout" Target="../slideLayouts/slideLayout487.xml"/><Relationship Id="rId36" Type="http://schemas.openxmlformats.org/officeDocument/2006/relationships/slideLayout" Target="../slideLayouts/slideLayout495.xml"/><Relationship Id="rId10" Type="http://schemas.openxmlformats.org/officeDocument/2006/relationships/slideLayout" Target="../slideLayouts/slideLayout469.xml"/><Relationship Id="rId19" Type="http://schemas.openxmlformats.org/officeDocument/2006/relationships/slideLayout" Target="../slideLayouts/slideLayout478.xml"/><Relationship Id="rId31" Type="http://schemas.openxmlformats.org/officeDocument/2006/relationships/slideLayout" Target="../slideLayouts/slideLayout490.xml"/><Relationship Id="rId44" Type="http://schemas.openxmlformats.org/officeDocument/2006/relationships/theme" Target="../theme/theme11.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slideLayout" Target="../slideLayouts/slideLayout473.xml"/><Relationship Id="rId22" Type="http://schemas.openxmlformats.org/officeDocument/2006/relationships/slideLayout" Target="../slideLayouts/slideLayout481.xml"/><Relationship Id="rId27" Type="http://schemas.openxmlformats.org/officeDocument/2006/relationships/slideLayout" Target="../slideLayouts/slideLayout486.xml"/><Relationship Id="rId30" Type="http://schemas.openxmlformats.org/officeDocument/2006/relationships/slideLayout" Target="../slideLayouts/slideLayout489.xml"/><Relationship Id="rId35" Type="http://schemas.openxmlformats.org/officeDocument/2006/relationships/slideLayout" Target="../slideLayouts/slideLayout494.xml"/><Relationship Id="rId43" Type="http://schemas.openxmlformats.org/officeDocument/2006/relationships/slideLayout" Target="../slideLayouts/slideLayout50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10.xml"/><Relationship Id="rId13" Type="http://schemas.openxmlformats.org/officeDocument/2006/relationships/slideLayout" Target="../slideLayouts/slideLayout515.xml"/><Relationship Id="rId18" Type="http://schemas.openxmlformats.org/officeDocument/2006/relationships/slideLayout" Target="../slideLayouts/slideLayout520.xml"/><Relationship Id="rId26" Type="http://schemas.openxmlformats.org/officeDocument/2006/relationships/slideLayout" Target="../slideLayouts/slideLayout528.xml"/><Relationship Id="rId39" Type="http://schemas.openxmlformats.org/officeDocument/2006/relationships/slideLayout" Target="../slideLayouts/slideLayout541.xml"/><Relationship Id="rId3" Type="http://schemas.openxmlformats.org/officeDocument/2006/relationships/slideLayout" Target="../slideLayouts/slideLayout505.xml"/><Relationship Id="rId21" Type="http://schemas.openxmlformats.org/officeDocument/2006/relationships/slideLayout" Target="../slideLayouts/slideLayout523.xml"/><Relationship Id="rId34" Type="http://schemas.openxmlformats.org/officeDocument/2006/relationships/slideLayout" Target="../slideLayouts/slideLayout536.xml"/><Relationship Id="rId42" Type="http://schemas.openxmlformats.org/officeDocument/2006/relationships/image" Target="../media/image1.png"/><Relationship Id="rId7" Type="http://schemas.openxmlformats.org/officeDocument/2006/relationships/slideLayout" Target="../slideLayouts/slideLayout509.xml"/><Relationship Id="rId12" Type="http://schemas.openxmlformats.org/officeDocument/2006/relationships/slideLayout" Target="../slideLayouts/slideLayout514.xml"/><Relationship Id="rId17" Type="http://schemas.openxmlformats.org/officeDocument/2006/relationships/slideLayout" Target="../slideLayouts/slideLayout519.xml"/><Relationship Id="rId25" Type="http://schemas.openxmlformats.org/officeDocument/2006/relationships/slideLayout" Target="../slideLayouts/slideLayout527.xml"/><Relationship Id="rId33" Type="http://schemas.openxmlformats.org/officeDocument/2006/relationships/slideLayout" Target="../slideLayouts/slideLayout535.xml"/><Relationship Id="rId38" Type="http://schemas.openxmlformats.org/officeDocument/2006/relationships/slideLayout" Target="../slideLayouts/slideLayout540.xml"/><Relationship Id="rId2" Type="http://schemas.openxmlformats.org/officeDocument/2006/relationships/slideLayout" Target="../slideLayouts/slideLayout504.xml"/><Relationship Id="rId16" Type="http://schemas.openxmlformats.org/officeDocument/2006/relationships/slideLayout" Target="../slideLayouts/slideLayout518.xml"/><Relationship Id="rId20" Type="http://schemas.openxmlformats.org/officeDocument/2006/relationships/slideLayout" Target="../slideLayouts/slideLayout522.xml"/><Relationship Id="rId29" Type="http://schemas.openxmlformats.org/officeDocument/2006/relationships/slideLayout" Target="../slideLayouts/slideLayout531.xml"/><Relationship Id="rId41" Type="http://schemas.openxmlformats.org/officeDocument/2006/relationships/theme" Target="../theme/theme12.xml"/><Relationship Id="rId1" Type="http://schemas.openxmlformats.org/officeDocument/2006/relationships/slideLayout" Target="../slideLayouts/slideLayout503.xml"/><Relationship Id="rId6" Type="http://schemas.openxmlformats.org/officeDocument/2006/relationships/slideLayout" Target="../slideLayouts/slideLayout508.xml"/><Relationship Id="rId11" Type="http://schemas.openxmlformats.org/officeDocument/2006/relationships/slideLayout" Target="../slideLayouts/slideLayout513.xml"/><Relationship Id="rId24" Type="http://schemas.openxmlformats.org/officeDocument/2006/relationships/slideLayout" Target="../slideLayouts/slideLayout526.xml"/><Relationship Id="rId32" Type="http://schemas.openxmlformats.org/officeDocument/2006/relationships/slideLayout" Target="../slideLayouts/slideLayout534.xml"/><Relationship Id="rId37" Type="http://schemas.openxmlformats.org/officeDocument/2006/relationships/slideLayout" Target="../slideLayouts/slideLayout539.xml"/><Relationship Id="rId40" Type="http://schemas.openxmlformats.org/officeDocument/2006/relationships/slideLayout" Target="../slideLayouts/slideLayout542.xml"/><Relationship Id="rId5" Type="http://schemas.openxmlformats.org/officeDocument/2006/relationships/slideLayout" Target="../slideLayouts/slideLayout507.xml"/><Relationship Id="rId15" Type="http://schemas.openxmlformats.org/officeDocument/2006/relationships/slideLayout" Target="../slideLayouts/slideLayout517.xml"/><Relationship Id="rId23" Type="http://schemas.openxmlformats.org/officeDocument/2006/relationships/slideLayout" Target="../slideLayouts/slideLayout525.xml"/><Relationship Id="rId28" Type="http://schemas.openxmlformats.org/officeDocument/2006/relationships/slideLayout" Target="../slideLayouts/slideLayout530.xml"/><Relationship Id="rId36" Type="http://schemas.openxmlformats.org/officeDocument/2006/relationships/slideLayout" Target="../slideLayouts/slideLayout538.xml"/><Relationship Id="rId10" Type="http://schemas.openxmlformats.org/officeDocument/2006/relationships/slideLayout" Target="../slideLayouts/slideLayout512.xml"/><Relationship Id="rId19" Type="http://schemas.openxmlformats.org/officeDocument/2006/relationships/slideLayout" Target="../slideLayouts/slideLayout521.xml"/><Relationship Id="rId31" Type="http://schemas.openxmlformats.org/officeDocument/2006/relationships/slideLayout" Target="../slideLayouts/slideLayout533.xml"/><Relationship Id="rId4" Type="http://schemas.openxmlformats.org/officeDocument/2006/relationships/slideLayout" Target="../slideLayouts/slideLayout506.xml"/><Relationship Id="rId9" Type="http://schemas.openxmlformats.org/officeDocument/2006/relationships/slideLayout" Target="../slideLayouts/slideLayout511.xml"/><Relationship Id="rId14" Type="http://schemas.openxmlformats.org/officeDocument/2006/relationships/slideLayout" Target="../slideLayouts/slideLayout516.xml"/><Relationship Id="rId22" Type="http://schemas.openxmlformats.org/officeDocument/2006/relationships/slideLayout" Target="../slideLayouts/slideLayout524.xml"/><Relationship Id="rId27" Type="http://schemas.openxmlformats.org/officeDocument/2006/relationships/slideLayout" Target="../slideLayouts/slideLayout529.xml"/><Relationship Id="rId30" Type="http://schemas.openxmlformats.org/officeDocument/2006/relationships/slideLayout" Target="../slideLayouts/slideLayout532.xml"/><Relationship Id="rId35" Type="http://schemas.openxmlformats.org/officeDocument/2006/relationships/slideLayout" Target="../slideLayouts/slideLayout53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50.xml"/><Relationship Id="rId13" Type="http://schemas.openxmlformats.org/officeDocument/2006/relationships/slideLayout" Target="../slideLayouts/slideLayout555.xml"/><Relationship Id="rId18" Type="http://schemas.openxmlformats.org/officeDocument/2006/relationships/slideLayout" Target="../slideLayouts/slideLayout560.xml"/><Relationship Id="rId26" Type="http://schemas.openxmlformats.org/officeDocument/2006/relationships/slideLayout" Target="../slideLayouts/slideLayout568.xml"/><Relationship Id="rId39" Type="http://schemas.openxmlformats.org/officeDocument/2006/relationships/slideLayout" Target="../slideLayouts/slideLayout581.xml"/><Relationship Id="rId3" Type="http://schemas.openxmlformats.org/officeDocument/2006/relationships/slideLayout" Target="../slideLayouts/slideLayout545.xml"/><Relationship Id="rId21" Type="http://schemas.openxmlformats.org/officeDocument/2006/relationships/slideLayout" Target="../slideLayouts/slideLayout563.xml"/><Relationship Id="rId34" Type="http://schemas.openxmlformats.org/officeDocument/2006/relationships/slideLayout" Target="../slideLayouts/slideLayout576.xml"/><Relationship Id="rId42" Type="http://schemas.openxmlformats.org/officeDocument/2006/relationships/slideLayout" Target="../slideLayouts/slideLayout584.xml"/><Relationship Id="rId7" Type="http://schemas.openxmlformats.org/officeDocument/2006/relationships/slideLayout" Target="../slideLayouts/slideLayout549.xml"/><Relationship Id="rId12" Type="http://schemas.openxmlformats.org/officeDocument/2006/relationships/slideLayout" Target="../slideLayouts/slideLayout554.xml"/><Relationship Id="rId17" Type="http://schemas.openxmlformats.org/officeDocument/2006/relationships/slideLayout" Target="../slideLayouts/slideLayout559.xml"/><Relationship Id="rId25" Type="http://schemas.openxmlformats.org/officeDocument/2006/relationships/slideLayout" Target="../slideLayouts/slideLayout567.xml"/><Relationship Id="rId33" Type="http://schemas.openxmlformats.org/officeDocument/2006/relationships/slideLayout" Target="../slideLayouts/slideLayout575.xml"/><Relationship Id="rId38" Type="http://schemas.openxmlformats.org/officeDocument/2006/relationships/slideLayout" Target="../slideLayouts/slideLayout580.xml"/><Relationship Id="rId46" Type="http://schemas.openxmlformats.org/officeDocument/2006/relationships/image" Target="../media/image33.png"/><Relationship Id="rId2" Type="http://schemas.openxmlformats.org/officeDocument/2006/relationships/slideLayout" Target="../slideLayouts/slideLayout544.xml"/><Relationship Id="rId16" Type="http://schemas.openxmlformats.org/officeDocument/2006/relationships/slideLayout" Target="../slideLayouts/slideLayout558.xml"/><Relationship Id="rId20" Type="http://schemas.openxmlformats.org/officeDocument/2006/relationships/slideLayout" Target="../slideLayouts/slideLayout562.xml"/><Relationship Id="rId29" Type="http://schemas.openxmlformats.org/officeDocument/2006/relationships/slideLayout" Target="../slideLayouts/slideLayout571.xml"/><Relationship Id="rId41" Type="http://schemas.openxmlformats.org/officeDocument/2006/relationships/slideLayout" Target="../slideLayouts/slideLayout583.xml"/><Relationship Id="rId1" Type="http://schemas.openxmlformats.org/officeDocument/2006/relationships/slideLayout" Target="../slideLayouts/slideLayout543.xml"/><Relationship Id="rId6" Type="http://schemas.openxmlformats.org/officeDocument/2006/relationships/slideLayout" Target="../slideLayouts/slideLayout548.xml"/><Relationship Id="rId11" Type="http://schemas.openxmlformats.org/officeDocument/2006/relationships/slideLayout" Target="../slideLayouts/slideLayout553.xml"/><Relationship Id="rId24" Type="http://schemas.openxmlformats.org/officeDocument/2006/relationships/slideLayout" Target="../slideLayouts/slideLayout566.xml"/><Relationship Id="rId32" Type="http://schemas.openxmlformats.org/officeDocument/2006/relationships/slideLayout" Target="../slideLayouts/slideLayout574.xml"/><Relationship Id="rId37" Type="http://schemas.openxmlformats.org/officeDocument/2006/relationships/slideLayout" Target="../slideLayouts/slideLayout579.xml"/><Relationship Id="rId40" Type="http://schemas.openxmlformats.org/officeDocument/2006/relationships/slideLayout" Target="../slideLayouts/slideLayout582.xml"/><Relationship Id="rId45" Type="http://schemas.openxmlformats.org/officeDocument/2006/relationships/theme" Target="../theme/theme13.xml"/><Relationship Id="rId5" Type="http://schemas.openxmlformats.org/officeDocument/2006/relationships/slideLayout" Target="../slideLayouts/slideLayout547.xml"/><Relationship Id="rId15" Type="http://schemas.openxmlformats.org/officeDocument/2006/relationships/slideLayout" Target="../slideLayouts/slideLayout557.xml"/><Relationship Id="rId23" Type="http://schemas.openxmlformats.org/officeDocument/2006/relationships/slideLayout" Target="../slideLayouts/slideLayout565.xml"/><Relationship Id="rId28" Type="http://schemas.openxmlformats.org/officeDocument/2006/relationships/slideLayout" Target="../slideLayouts/slideLayout570.xml"/><Relationship Id="rId36" Type="http://schemas.openxmlformats.org/officeDocument/2006/relationships/slideLayout" Target="../slideLayouts/slideLayout578.xml"/><Relationship Id="rId10" Type="http://schemas.openxmlformats.org/officeDocument/2006/relationships/slideLayout" Target="../slideLayouts/slideLayout552.xml"/><Relationship Id="rId19" Type="http://schemas.openxmlformats.org/officeDocument/2006/relationships/slideLayout" Target="../slideLayouts/slideLayout561.xml"/><Relationship Id="rId31" Type="http://schemas.openxmlformats.org/officeDocument/2006/relationships/slideLayout" Target="../slideLayouts/slideLayout573.xml"/><Relationship Id="rId44" Type="http://schemas.openxmlformats.org/officeDocument/2006/relationships/slideLayout" Target="../slideLayouts/slideLayout586.xml"/><Relationship Id="rId4" Type="http://schemas.openxmlformats.org/officeDocument/2006/relationships/slideLayout" Target="../slideLayouts/slideLayout546.xml"/><Relationship Id="rId9" Type="http://schemas.openxmlformats.org/officeDocument/2006/relationships/slideLayout" Target="../slideLayouts/slideLayout551.xml"/><Relationship Id="rId14" Type="http://schemas.openxmlformats.org/officeDocument/2006/relationships/slideLayout" Target="../slideLayouts/slideLayout556.xml"/><Relationship Id="rId22" Type="http://schemas.openxmlformats.org/officeDocument/2006/relationships/slideLayout" Target="../slideLayouts/slideLayout564.xml"/><Relationship Id="rId27" Type="http://schemas.openxmlformats.org/officeDocument/2006/relationships/slideLayout" Target="../slideLayouts/slideLayout569.xml"/><Relationship Id="rId30" Type="http://schemas.openxmlformats.org/officeDocument/2006/relationships/slideLayout" Target="../slideLayouts/slideLayout572.xml"/><Relationship Id="rId35" Type="http://schemas.openxmlformats.org/officeDocument/2006/relationships/slideLayout" Target="../slideLayouts/slideLayout577.xml"/><Relationship Id="rId43" Type="http://schemas.openxmlformats.org/officeDocument/2006/relationships/slideLayout" Target="../slideLayouts/slideLayout58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slideLayout" Target="../slideLayouts/slideLayout599.xml"/><Relationship Id="rId18" Type="http://schemas.openxmlformats.org/officeDocument/2006/relationships/slideLayout" Target="../slideLayouts/slideLayout604.xml"/><Relationship Id="rId26" Type="http://schemas.openxmlformats.org/officeDocument/2006/relationships/slideLayout" Target="../slideLayouts/slideLayout612.xml"/><Relationship Id="rId39" Type="http://schemas.openxmlformats.org/officeDocument/2006/relationships/slideLayout" Target="../slideLayouts/slideLayout625.xml"/><Relationship Id="rId3" Type="http://schemas.openxmlformats.org/officeDocument/2006/relationships/slideLayout" Target="../slideLayouts/slideLayout589.xml"/><Relationship Id="rId21" Type="http://schemas.openxmlformats.org/officeDocument/2006/relationships/slideLayout" Target="../slideLayouts/slideLayout607.xml"/><Relationship Id="rId34" Type="http://schemas.openxmlformats.org/officeDocument/2006/relationships/slideLayout" Target="../slideLayouts/slideLayout620.xml"/><Relationship Id="rId42" Type="http://schemas.openxmlformats.org/officeDocument/2006/relationships/slideLayout" Target="../slideLayouts/slideLayout628.xml"/><Relationship Id="rId7" Type="http://schemas.openxmlformats.org/officeDocument/2006/relationships/slideLayout" Target="../slideLayouts/slideLayout593.xml"/><Relationship Id="rId12" Type="http://schemas.openxmlformats.org/officeDocument/2006/relationships/slideLayout" Target="../slideLayouts/slideLayout598.xml"/><Relationship Id="rId17" Type="http://schemas.openxmlformats.org/officeDocument/2006/relationships/slideLayout" Target="../slideLayouts/slideLayout603.xml"/><Relationship Id="rId25" Type="http://schemas.openxmlformats.org/officeDocument/2006/relationships/slideLayout" Target="../slideLayouts/slideLayout611.xml"/><Relationship Id="rId33" Type="http://schemas.openxmlformats.org/officeDocument/2006/relationships/slideLayout" Target="../slideLayouts/slideLayout619.xml"/><Relationship Id="rId38" Type="http://schemas.openxmlformats.org/officeDocument/2006/relationships/slideLayout" Target="../slideLayouts/slideLayout624.xml"/><Relationship Id="rId46" Type="http://schemas.openxmlformats.org/officeDocument/2006/relationships/image" Target="../media/image33.png"/><Relationship Id="rId2" Type="http://schemas.openxmlformats.org/officeDocument/2006/relationships/slideLayout" Target="../slideLayouts/slideLayout588.xml"/><Relationship Id="rId16" Type="http://schemas.openxmlformats.org/officeDocument/2006/relationships/slideLayout" Target="../slideLayouts/slideLayout602.xml"/><Relationship Id="rId20" Type="http://schemas.openxmlformats.org/officeDocument/2006/relationships/slideLayout" Target="../slideLayouts/slideLayout606.xml"/><Relationship Id="rId29" Type="http://schemas.openxmlformats.org/officeDocument/2006/relationships/slideLayout" Target="../slideLayouts/slideLayout615.xml"/><Relationship Id="rId41" Type="http://schemas.openxmlformats.org/officeDocument/2006/relationships/slideLayout" Target="../slideLayouts/slideLayout627.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slideLayout" Target="../slideLayouts/slideLayout597.xml"/><Relationship Id="rId24" Type="http://schemas.openxmlformats.org/officeDocument/2006/relationships/slideLayout" Target="../slideLayouts/slideLayout610.xml"/><Relationship Id="rId32" Type="http://schemas.openxmlformats.org/officeDocument/2006/relationships/slideLayout" Target="../slideLayouts/slideLayout618.xml"/><Relationship Id="rId37" Type="http://schemas.openxmlformats.org/officeDocument/2006/relationships/slideLayout" Target="../slideLayouts/slideLayout623.xml"/><Relationship Id="rId40" Type="http://schemas.openxmlformats.org/officeDocument/2006/relationships/slideLayout" Target="../slideLayouts/slideLayout626.xml"/><Relationship Id="rId45" Type="http://schemas.openxmlformats.org/officeDocument/2006/relationships/theme" Target="../theme/theme14.xml"/><Relationship Id="rId5" Type="http://schemas.openxmlformats.org/officeDocument/2006/relationships/slideLayout" Target="../slideLayouts/slideLayout591.xml"/><Relationship Id="rId15" Type="http://schemas.openxmlformats.org/officeDocument/2006/relationships/slideLayout" Target="../slideLayouts/slideLayout601.xml"/><Relationship Id="rId23" Type="http://schemas.openxmlformats.org/officeDocument/2006/relationships/slideLayout" Target="../slideLayouts/slideLayout609.xml"/><Relationship Id="rId28" Type="http://schemas.openxmlformats.org/officeDocument/2006/relationships/slideLayout" Target="../slideLayouts/slideLayout614.xml"/><Relationship Id="rId36" Type="http://schemas.openxmlformats.org/officeDocument/2006/relationships/slideLayout" Target="../slideLayouts/slideLayout622.xml"/><Relationship Id="rId10" Type="http://schemas.openxmlformats.org/officeDocument/2006/relationships/slideLayout" Target="../slideLayouts/slideLayout596.xml"/><Relationship Id="rId19" Type="http://schemas.openxmlformats.org/officeDocument/2006/relationships/slideLayout" Target="../slideLayouts/slideLayout605.xml"/><Relationship Id="rId31" Type="http://schemas.openxmlformats.org/officeDocument/2006/relationships/slideLayout" Target="../slideLayouts/slideLayout617.xml"/><Relationship Id="rId44" Type="http://schemas.openxmlformats.org/officeDocument/2006/relationships/slideLayout" Target="../slideLayouts/slideLayout630.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slideLayout" Target="../slideLayouts/slideLayout600.xml"/><Relationship Id="rId22" Type="http://schemas.openxmlformats.org/officeDocument/2006/relationships/slideLayout" Target="../slideLayouts/slideLayout608.xml"/><Relationship Id="rId27" Type="http://schemas.openxmlformats.org/officeDocument/2006/relationships/slideLayout" Target="../slideLayouts/slideLayout613.xml"/><Relationship Id="rId30" Type="http://schemas.openxmlformats.org/officeDocument/2006/relationships/slideLayout" Target="../slideLayouts/slideLayout616.xml"/><Relationship Id="rId35" Type="http://schemas.openxmlformats.org/officeDocument/2006/relationships/slideLayout" Target="../slideLayouts/slideLayout621.xml"/><Relationship Id="rId43" Type="http://schemas.openxmlformats.org/officeDocument/2006/relationships/slideLayout" Target="../slideLayouts/slideLayout62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38.xml"/><Relationship Id="rId13" Type="http://schemas.openxmlformats.org/officeDocument/2006/relationships/slideLayout" Target="../slideLayouts/slideLayout643.xml"/><Relationship Id="rId18" Type="http://schemas.openxmlformats.org/officeDocument/2006/relationships/slideLayout" Target="../slideLayouts/slideLayout648.xml"/><Relationship Id="rId26" Type="http://schemas.openxmlformats.org/officeDocument/2006/relationships/slideLayout" Target="../slideLayouts/slideLayout656.xml"/><Relationship Id="rId39" Type="http://schemas.openxmlformats.org/officeDocument/2006/relationships/slideLayout" Target="../slideLayouts/slideLayout669.xml"/><Relationship Id="rId3" Type="http://schemas.openxmlformats.org/officeDocument/2006/relationships/slideLayout" Target="../slideLayouts/slideLayout633.xml"/><Relationship Id="rId21" Type="http://schemas.openxmlformats.org/officeDocument/2006/relationships/slideLayout" Target="../slideLayouts/slideLayout651.xml"/><Relationship Id="rId34" Type="http://schemas.openxmlformats.org/officeDocument/2006/relationships/slideLayout" Target="../slideLayouts/slideLayout664.xml"/><Relationship Id="rId42" Type="http://schemas.openxmlformats.org/officeDocument/2006/relationships/slideLayout" Target="../slideLayouts/slideLayout672.xml"/><Relationship Id="rId7" Type="http://schemas.openxmlformats.org/officeDocument/2006/relationships/slideLayout" Target="../slideLayouts/slideLayout637.xml"/><Relationship Id="rId12" Type="http://schemas.openxmlformats.org/officeDocument/2006/relationships/slideLayout" Target="../slideLayouts/slideLayout642.xml"/><Relationship Id="rId17" Type="http://schemas.openxmlformats.org/officeDocument/2006/relationships/slideLayout" Target="../slideLayouts/slideLayout647.xml"/><Relationship Id="rId25" Type="http://schemas.openxmlformats.org/officeDocument/2006/relationships/slideLayout" Target="../slideLayouts/slideLayout655.xml"/><Relationship Id="rId33" Type="http://schemas.openxmlformats.org/officeDocument/2006/relationships/slideLayout" Target="../slideLayouts/slideLayout663.xml"/><Relationship Id="rId38" Type="http://schemas.openxmlformats.org/officeDocument/2006/relationships/slideLayout" Target="../slideLayouts/slideLayout668.xml"/><Relationship Id="rId2" Type="http://schemas.openxmlformats.org/officeDocument/2006/relationships/slideLayout" Target="../slideLayouts/slideLayout632.xml"/><Relationship Id="rId16" Type="http://schemas.openxmlformats.org/officeDocument/2006/relationships/slideLayout" Target="../slideLayouts/slideLayout646.xml"/><Relationship Id="rId20" Type="http://schemas.openxmlformats.org/officeDocument/2006/relationships/slideLayout" Target="../slideLayouts/slideLayout650.xml"/><Relationship Id="rId29" Type="http://schemas.openxmlformats.org/officeDocument/2006/relationships/slideLayout" Target="../slideLayouts/slideLayout659.xml"/><Relationship Id="rId41" Type="http://schemas.openxmlformats.org/officeDocument/2006/relationships/slideLayout" Target="../slideLayouts/slideLayout671.xml"/><Relationship Id="rId1" Type="http://schemas.openxmlformats.org/officeDocument/2006/relationships/slideLayout" Target="../slideLayouts/slideLayout631.xml"/><Relationship Id="rId6" Type="http://schemas.openxmlformats.org/officeDocument/2006/relationships/slideLayout" Target="../slideLayouts/slideLayout636.xml"/><Relationship Id="rId11" Type="http://schemas.openxmlformats.org/officeDocument/2006/relationships/slideLayout" Target="../slideLayouts/slideLayout641.xml"/><Relationship Id="rId24" Type="http://schemas.openxmlformats.org/officeDocument/2006/relationships/slideLayout" Target="../slideLayouts/slideLayout654.xml"/><Relationship Id="rId32" Type="http://schemas.openxmlformats.org/officeDocument/2006/relationships/slideLayout" Target="../slideLayouts/slideLayout662.xml"/><Relationship Id="rId37" Type="http://schemas.openxmlformats.org/officeDocument/2006/relationships/slideLayout" Target="../slideLayouts/slideLayout667.xml"/><Relationship Id="rId40" Type="http://schemas.openxmlformats.org/officeDocument/2006/relationships/slideLayout" Target="../slideLayouts/slideLayout670.xml"/><Relationship Id="rId5" Type="http://schemas.openxmlformats.org/officeDocument/2006/relationships/slideLayout" Target="../slideLayouts/slideLayout635.xml"/><Relationship Id="rId15" Type="http://schemas.openxmlformats.org/officeDocument/2006/relationships/slideLayout" Target="../slideLayouts/slideLayout645.xml"/><Relationship Id="rId23" Type="http://schemas.openxmlformats.org/officeDocument/2006/relationships/slideLayout" Target="../slideLayouts/slideLayout653.xml"/><Relationship Id="rId28" Type="http://schemas.openxmlformats.org/officeDocument/2006/relationships/slideLayout" Target="../slideLayouts/slideLayout658.xml"/><Relationship Id="rId36" Type="http://schemas.openxmlformats.org/officeDocument/2006/relationships/slideLayout" Target="../slideLayouts/slideLayout666.xml"/><Relationship Id="rId10" Type="http://schemas.openxmlformats.org/officeDocument/2006/relationships/slideLayout" Target="../slideLayouts/slideLayout640.xml"/><Relationship Id="rId19" Type="http://schemas.openxmlformats.org/officeDocument/2006/relationships/slideLayout" Target="../slideLayouts/slideLayout649.xml"/><Relationship Id="rId31" Type="http://schemas.openxmlformats.org/officeDocument/2006/relationships/slideLayout" Target="../slideLayouts/slideLayout661.xml"/><Relationship Id="rId44" Type="http://schemas.openxmlformats.org/officeDocument/2006/relationships/image" Target="../media/image33.png"/><Relationship Id="rId4" Type="http://schemas.openxmlformats.org/officeDocument/2006/relationships/slideLayout" Target="../slideLayouts/slideLayout634.xml"/><Relationship Id="rId9" Type="http://schemas.openxmlformats.org/officeDocument/2006/relationships/slideLayout" Target="../slideLayouts/slideLayout639.xml"/><Relationship Id="rId14" Type="http://schemas.openxmlformats.org/officeDocument/2006/relationships/slideLayout" Target="../slideLayouts/slideLayout644.xml"/><Relationship Id="rId22" Type="http://schemas.openxmlformats.org/officeDocument/2006/relationships/slideLayout" Target="../slideLayouts/slideLayout652.xml"/><Relationship Id="rId27" Type="http://schemas.openxmlformats.org/officeDocument/2006/relationships/slideLayout" Target="../slideLayouts/slideLayout657.xml"/><Relationship Id="rId30" Type="http://schemas.openxmlformats.org/officeDocument/2006/relationships/slideLayout" Target="../slideLayouts/slideLayout660.xml"/><Relationship Id="rId35" Type="http://schemas.openxmlformats.org/officeDocument/2006/relationships/slideLayout" Target="../slideLayouts/slideLayout665.xml"/><Relationship Id="rId43"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685.xml"/><Relationship Id="rId18" Type="http://schemas.openxmlformats.org/officeDocument/2006/relationships/slideLayout" Target="../slideLayouts/slideLayout690.xml"/><Relationship Id="rId26" Type="http://schemas.openxmlformats.org/officeDocument/2006/relationships/slideLayout" Target="../slideLayouts/slideLayout698.xml"/><Relationship Id="rId39" Type="http://schemas.openxmlformats.org/officeDocument/2006/relationships/slideLayout" Target="../slideLayouts/slideLayout711.xml"/><Relationship Id="rId3" Type="http://schemas.openxmlformats.org/officeDocument/2006/relationships/slideLayout" Target="../slideLayouts/slideLayout675.xml"/><Relationship Id="rId21" Type="http://schemas.openxmlformats.org/officeDocument/2006/relationships/slideLayout" Target="../slideLayouts/slideLayout693.xml"/><Relationship Id="rId34" Type="http://schemas.openxmlformats.org/officeDocument/2006/relationships/slideLayout" Target="../slideLayouts/slideLayout706.xml"/><Relationship Id="rId42" Type="http://schemas.openxmlformats.org/officeDocument/2006/relationships/slideLayout" Target="../slideLayouts/slideLayout714.xml"/><Relationship Id="rId47" Type="http://schemas.openxmlformats.org/officeDocument/2006/relationships/slideLayout" Target="../slideLayouts/slideLayout719.xml"/><Relationship Id="rId50" Type="http://schemas.openxmlformats.org/officeDocument/2006/relationships/slideLayout" Target="../slideLayouts/slideLayout722.xml"/><Relationship Id="rId7" Type="http://schemas.openxmlformats.org/officeDocument/2006/relationships/slideLayout" Target="../slideLayouts/slideLayout679.xml"/><Relationship Id="rId12" Type="http://schemas.openxmlformats.org/officeDocument/2006/relationships/slideLayout" Target="../slideLayouts/slideLayout684.xml"/><Relationship Id="rId17" Type="http://schemas.openxmlformats.org/officeDocument/2006/relationships/slideLayout" Target="../slideLayouts/slideLayout689.xml"/><Relationship Id="rId25" Type="http://schemas.openxmlformats.org/officeDocument/2006/relationships/slideLayout" Target="../slideLayouts/slideLayout697.xml"/><Relationship Id="rId33" Type="http://schemas.openxmlformats.org/officeDocument/2006/relationships/slideLayout" Target="../slideLayouts/slideLayout705.xml"/><Relationship Id="rId38" Type="http://schemas.openxmlformats.org/officeDocument/2006/relationships/slideLayout" Target="../slideLayouts/slideLayout710.xml"/><Relationship Id="rId46" Type="http://schemas.openxmlformats.org/officeDocument/2006/relationships/slideLayout" Target="../slideLayouts/slideLayout718.xml"/><Relationship Id="rId2" Type="http://schemas.openxmlformats.org/officeDocument/2006/relationships/slideLayout" Target="../slideLayouts/slideLayout674.xml"/><Relationship Id="rId16" Type="http://schemas.openxmlformats.org/officeDocument/2006/relationships/slideLayout" Target="../slideLayouts/slideLayout688.xml"/><Relationship Id="rId20" Type="http://schemas.openxmlformats.org/officeDocument/2006/relationships/slideLayout" Target="../slideLayouts/slideLayout692.xml"/><Relationship Id="rId29" Type="http://schemas.openxmlformats.org/officeDocument/2006/relationships/slideLayout" Target="../slideLayouts/slideLayout701.xml"/><Relationship Id="rId41" Type="http://schemas.openxmlformats.org/officeDocument/2006/relationships/slideLayout" Target="../slideLayouts/slideLayout713.xml"/><Relationship Id="rId1" Type="http://schemas.openxmlformats.org/officeDocument/2006/relationships/slideLayout" Target="../slideLayouts/slideLayout673.xml"/><Relationship Id="rId6" Type="http://schemas.openxmlformats.org/officeDocument/2006/relationships/slideLayout" Target="../slideLayouts/slideLayout678.xml"/><Relationship Id="rId11" Type="http://schemas.openxmlformats.org/officeDocument/2006/relationships/slideLayout" Target="../slideLayouts/slideLayout683.xml"/><Relationship Id="rId24" Type="http://schemas.openxmlformats.org/officeDocument/2006/relationships/slideLayout" Target="../slideLayouts/slideLayout696.xml"/><Relationship Id="rId32" Type="http://schemas.openxmlformats.org/officeDocument/2006/relationships/slideLayout" Target="../slideLayouts/slideLayout704.xml"/><Relationship Id="rId37" Type="http://schemas.openxmlformats.org/officeDocument/2006/relationships/slideLayout" Target="../slideLayouts/slideLayout709.xml"/><Relationship Id="rId40" Type="http://schemas.openxmlformats.org/officeDocument/2006/relationships/slideLayout" Target="../slideLayouts/slideLayout712.xml"/><Relationship Id="rId45" Type="http://schemas.openxmlformats.org/officeDocument/2006/relationships/slideLayout" Target="../slideLayouts/slideLayout717.xml"/><Relationship Id="rId5" Type="http://schemas.openxmlformats.org/officeDocument/2006/relationships/slideLayout" Target="../slideLayouts/slideLayout677.xml"/><Relationship Id="rId15" Type="http://schemas.openxmlformats.org/officeDocument/2006/relationships/slideLayout" Target="../slideLayouts/slideLayout687.xml"/><Relationship Id="rId23" Type="http://schemas.openxmlformats.org/officeDocument/2006/relationships/slideLayout" Target="../slideLayouts/slideLayout695.xml"/><Relationship Id="rId28" Type="http://schemas.openxmlformats.org/officeDocument/2006/relationships/slideLayout" Target="../slideLayouts/slideLayout700.xml"/><Relationship Id="rId36" Type="http://schemas.openxmlformats.org/officeDocument/2006/relationships/slideLayout" Target="../slideLayouts/slideLayout708.xml"/><Relationship Id="rId49" Type="http://schemas.openxmlformats.org/officeDocument/2006/relationships/slideLayout" Target="../slideLayouts/slideLayout721.xml"/><Relationship Id="rId10" Type="http://schemas.openxmlformats.org/officeDocument/2006/relationships/slideLayout" Target="../slideLayouts/slideLayout682.xml"/><Relationship Id="rId19" Type="http://schemas.openxmlformats.org/officeDocument/2006/relationships/slideLayout" Target="../slideLayouts/slideLayout691.xml"/><Relationship Id="rId31" Type="http://schemas.openxmlformats.org/officeDocument/2006/relationships/slideLayout" Target="../slideLayouts/slideLayout703.xml"/><Relationship Id="rId44" Type="http://schemas.openxmlformats.org/officeDocument/2006/relationships/slideLayout" Target="../slideLayouts/slideLayout716.xml"/><Relationship Id="rId52" Type="http://schemas.openxmlformats.org/officeDocument/2006/relationships/image" Target="../media/image33.png"/><Relationship Id="rId4" Type="http://schemas.openxmlformats.org/officeDocument/2006/relationships/slideLayout" Target="../slideLayouts/slideLayout676.xml"/><Relationship Id="rId9" Type="http://schemas.openxmlformats.org/officeDocument/2006/relationships/slideLayout" Target="../slideLayouts/slideLayout681.xml"/><Relationship Id="rId14" Type="http://schemas.openxmlformats.org/officeDocument/2006/relationships/slideLayout" Target="../slideLayouts/slideLayout686.xml"/><Relationship Id="rId22" Type="http://schemas.openxmlformats.org/officeDocument/2006/relationships/slideLayout" Target="../slideLayouts/slideLayout694.xml"/><Relationship Id="rId27" Type="http://schemas.openxmlformats.org/officeDocument/2006/relationships/slideLayout" Target="../slideLayouts/slideLayout699.xml"/><Relationship Id="rId30" Type="http://schemas.openxmlformats.org/officeDocument/2006/relationships/slideLayout" Target="../slideLayouts/slideLayout702.xml"/><Relationship Id="rId35" Type="http://schemas.openxmlformats.org/officeDocument/2006/relationships/slideLayout" Target="../slideLayouts/slideLayout707.xml"/><Relationship Id="rId43" Type="http://schemas.openxmlformats.org/officeDocument/2006/relationships/slideLayout" Target="../slideLayouts/slideLayout715.xml"/><Relationship Id="rId48" Type="http://schemas.openxmlformats.org/officeDocument/2006/relationships/slideLayout" Target="../slideLayouts/slideLayout720.xml"/><Relationship Id="rId8" Type="http://schemas.openxmlformats.org/officeDocument/2006/relationships/slideLayout" Target="../slideLayouts/slideLayout680.xml"/><Relationship Id="rId51"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2.xml"/><Relationship Id="rId18" Type="http://schemas.openxmlformats.org/officeDocument/2006/relationships/image" Target="../media/image24.jpe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image" Target="../media/image23.jpeg"/><Relationship Id="rId2" Type="http://schemas.openxmlformats.org/officeDocument/2006/relationships/slideLayout" Target="../slideLayouts/slideLayout77.xml"/><Relationship Id="rId16" Type="http://schemas.openxmlformats.org/officeDocument/2006/relationships/image" Target="../media/image22.jpe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image" Target="../media/image21.jpeg"/><Relationship Id="rId10" Type="http://schemas.openxmlformats.org/officeDocument/2006/relationships/slideLayout" Target="../slideLayouts/slideLayout85.xml"/><Relationship Id="rId19" Type="http://schemas.openxmlformats.org/officeDocument/2006/relationships/image" Target="../media/image25.pn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20.jpe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50" Type="http://schemas.openxmlformats.org/officeDocument/2006/relationships/slideLayout" Target="../slideLayouts/slideLayout137.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41" Type="http://schemas.openxmlformats.org/officeDocument/2006/relationships/slideLayout" Target="../slideLayouts/slideLayout128.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slideLayout" Target="../slideLayouts/slideLayout136.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52" Type="http://schemas.openxmlformats.org/officeDocument/2006/relationships/image" Target="../media/image33.png"/><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slideLayout" Target="../slideLayouts/slideLayout135.xml"/><Relationship Id="rId8" Type="http://schemas.openxmlformats.org/officeDocument/2006/relationships/slideLayout" Target="../slideLayouts/slideLayout95.xml"/><Relationship Id="rId5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9" Type="http://schemas.openxmlformats.org/officeDocument/2006/relationships/slideLayout" Target="../slideLayouts/slideLayout176.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slideLayout" Target="../slideLayouts/slideLayout171.xml"/><Relationship Id="rId42" Type="http://schemas.openxmlformats.org/officeDocument/2006/relationships/slideLayout" Target="../slideLayouts/slideLayout179.xml"/><Relationship Id="rId47" Type="http://schemas.openxmlformats.org/officeDocument/2006/relationships/slideLayout" Target="../slideLayouts/slideLayout184.xml"/><Relationship Id="rId50" Type="http://schemas.openxmlformats.org/officeDocument/2006/relationships/slideLayout" Target="../slideLayouts/slideLayout187.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slideLayout" Target="../slideLayouts/slideLayout170.xml"/><Relationship Id="rId38" Type="http://schemas.openxmlformats.org/officeDocument/2006/relationships/slideLayout" Target="../slideLayouts/slideLayout175.xml"/><Relationship Id="rId46" Type="http://schemas.openxmlformats.org/officeDocument/2006/relationships/slideLayout" Target="../slideLayouts/slideLayout183.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41" Type="http://schemas.openxmlformats.org/officeDocument/2006/relationships/slideLayout" Target="../slideLayouts/slideLayout178.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40" Type="http://schemas.openxmlformats.org/officeDocument/2006/relationships/slideLayout" Target="../slideLayouts/slideLayout177.xml"/><Relationship Id="rId45" Type="http://schemas.openxmlformats.org/officeDocument/2006/relationships/slideLayout" Target="../slideLayouts/slideLayout182.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slideLayout" Target="../slideLayouts/slideLayout173.xml"/><Relationship Id="rId49" Type="http://schemas.openxmlformats.org/officeDocument/2006/relationships/slideLayout" Target="../slideLayouts/slideLayout186.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4" Type="http://schemas.openxmlformats.org/officeDocument/2006/relationships/slideLayout" Target="../slideLayouts/slideLayout181.xml"/><Relationship Id="rId52" Type="http://schemas.openxmlformats.org/officeDocument/2006/relationships/image" Target="../media/image33.png"/><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slideLayout" Target="../slideLayouts/slideLayout172.xml"/><Relationship Id="rId43" Type="http://schemas.openxmlformats.org/officeDocument/2006/relationships/slideLayout" Target="../slideLayouts/slideLayout180.xml"/><Relationship Id="rId48" Type="http://schemas.openxmlformats.org/officeDocument/2006/relationships/slideLayout" Target="../slideLayouts/slideLayout185.xml"/><Relationship Id="rId8" Type="http://schemas.openxmlformats.org/officeDocument/2006/relationships/slideLayout" Target="../slideLayouts/slideLayout145.xml"/><Relationship Id="rId5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slideLayout" Target="../slideLayouts/slideLayout226.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slideLayout" Target="../slideLayouts/slideLayout229.xml"/><Relationship Id="rId47" Type="http://schemas.openxmlformats.org/officeDocument/2006/relationships/slideLayout" Target="../slideLayouts/slideLayout234.xml"/><Relationship Id="rId50" Type="http://schemas.openxmlformats.org/officeDocument/2006/relationships/slideLayout" Target="../slideLayouts/slideLayout237.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 Id="rId46" Type="http://schemas.openxmlformats.org/officeDocument/2006/relationships/slideLayout" Target="../slideLayouts/slideLayout233.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41" Type="http://schemas.openxmlformats.org/officeDocument/2006/relationships/slideLayout" Target="../slideLayouts/slideLayout228.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45" Type="http://schemas.openxmlformats.org/officeDocument/2006/relationships/slideLayout" Target="../slideLayouts/slideLayout232.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49" Type="http://schemas.openxmlformats.org/officeDocument/2006/relationships/slideLayout" Target="../slideLayouts/slideLayout236.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4" Type="http://schemas.openxmlformats.org/officeDocument/2006/relationships/slideLayout" Target="../slideLayouts/slideLayout231.xml"/><Relationship Id="rId52" Type="http://schemas.openxmlformats.org/officeDocument/2006/relationships/image" Target="../media/image33.png"/><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43" Type="http://schemas.openxmlformats.org/officeDocument/2006/relationships/slideLayout" Target="../slideLayouts/slideLayout230.xml"/><Relationship Id="rId48" Type="http://schemas.openxmlformats.org/officeDocument/2006/relationships/slideLayout" Target="../slideLayouts/slideLayout235.xml"/><Relationship Id="rId8" Type="http://schemas.openxmlformats.org/officeDocument/2006/relationships/slideLayout" Target="../slideLayouts/slideLayout195.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39" Type="http://schemas.openxmlformats.org/officeDocument/2006/relationships/slideLayout" Target="../slideLayouts/slideLayout276.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34" Type="http://schemas.openxmlformats.org/officeDocument/2006/relationships/slideLayout" Target="../slideLayouts/slideLayout271.xml"/><Relationship Id="rId42" Type="http://schemas.openxmlformats.org/officeDocument/2006/relationships/slideLayout" Target="../slideLayouts/slideLayout279.xml"/><Relationship Id="rId47" Type="http://schemas.openxmlformats.org/officeDocument/2006/relationships/slideLayout" Target="../slideLayouts/slideLayout284.xml"/><Relationship Id="rId50" Type="http://schemas.openxmlformats.org/officeDocument/2006/relationships/slideLayout" Target="../slideLayouts/slideLayout287.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38" Type="http://schemas.openxmlformats.org/officeDocument/2006/relationships/slideLayout" Target="../slideLayouts/slideLayout275.xml"/><Relationship Id="rId46" Type="http://schemas.openxmlformats.org/officeDocument/2006/relationships/slideLayout" Target="../slideLayouts/slideLayout283.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41" Type="http://schemas.openxmlformats.org/officeDocument/2006/relationships/slideLayout" Target="../slideLayouts/slideLayout278.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slideLayout" Target="../slideLayouts/slideLayout274.xml"/><Relationship Id="rId40" Type="http://schemas.openxmlformats.org/officeDocument/2006/relationships/slideLayout" Target="../slideLayouts/slideLayout277.xml"/><Relationship Id="rId45" Type="http://schemas.openxmlformats.org/officeDocument/2006/relationships/slideLayout" Target="../slideLayouts/slideLayout282.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slideLayout" Target="../slideLayouts/slideLayout273.xml"/><Relationship Id="rId49" Type="http://schemas.openxmlformats.org/officeDocument/2006/relationships/slideLayout" Target="../slideLayouts/slideLayout286.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4" Type="http://schemas.openxmlformats.org/officeDocument/2006/relationships/slideLayout" Target="../slideLayouts/slideLayout281.xml"/><Relationship Id="rId52" Type="http://schemas.openxmlformats.org/officeDocument/2006/relationships/image" Target="../media/image33.png"/><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 Id="rId43" Type="http://schemas.openxmlformats.org/officeDocument/2006/relationships/slideLayout" Target="../slideLayouts/slideLayout280.xml"/><Relationship Id="rId48" Type="http://schemas.openxmlformats.org/officeDocument/2006/relationships/slideLayout" Target="../slideLayouts/slideLayout285.xml"/><Relationship Id="rId8" Type="http://schemas.openxmlformats.org/officeDocument/2006/relationships/slideLayout" Target="../slideLayouts/slideLayout245.xml"/><Relationship Id="rId5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9" Type="http://schemas.openxmlformats.org/officeDocument/2006/relationships/slideLayout" Target="../slideLayouts/slideLayout326.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34" Type="http://schemas.openxmlformats.org/officeDocument/2006/relationships/slideLayout" Target="../slideLayouts/slideLayout321.xml"/><Relationship Id="rId42" Type="http://schemas.openxmlformats.org/officeDocument/2006/relationships/slideLayout" Target="../slideLayouts/slideLayout329.xml"/><Relationship Id="rId47" Type="http://schemas.openxmlformats.org/officeDocument/2006/relationships/slideLayout" Target="../slideLayouts/slideLayout334.xml"/><Relationship Id="rId50" Type="http://schemas.openxmlformats.org/officeDocument/2006/relationships/slideLayout" Target="../slideLayouts/slideLayout337.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33" Type="http://schemas.openxmlformats.org/officeDocument/2006/relationships/slideLayout" Target="../slideLayouts/slideLayout320.xml"/><Relationship Id="rId38" Type="http://schemas.openxmlformats.org/officeDocument/2006/relationships/slideLayout" Target="../slideLayouts/slideLayout325.xml"/><Relationship Id="rId46" Type="http://schemas.openxmlformats.org/officeDocument/2006/relationships/slideLayout" Target="../slideLayouts/slideLayout333.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slideLayout" Target="../slideLayouts/slideLayout316.xml"/><Relationship Id="rId41" Type="http://schemas.openxmlformats.org/officeDocument/2006/relationships/slideLayout" Target="../slideLayouts/slideLayout328.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32" Type="http://schemas.openxmlformats.org/officeDocument/2006/relationships/slideLayout" Target="../slideLayouts/slideLayout319.xml"/><Relationship Id="rId37" Type="http://schemas.openxmlformats.org/officeDocument/2006/relationships/slideLayout" Target="../slideLayouts/slideLayout324.xml"/><Relationship Id="rId40" Type="http://schemas.openxmlformats.org/officeDocument/2006/relationships/slideLayout" Target="../slideLayouts/slideLayout327.xml"/><Relationship Id="rId45" Type="http://schemas.openxmlformats.org/officeDocument/2006/relationships/slideLayout" Target="../slideLayouts/slideLayout332.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36" Type="http://schemas.openxmlformats.org/officeDocument/2006/relationships/slideLayout" Target="../slideLayouts/slideLayout323.xml"/><Relationship Id="rId49" Type="http://schemas.openxmlformats.org/officeDocument/2006/relationships/slideLayout" Target="../slideLayouts/slideLayout336.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slideLayout" Target="../slideLayouts/slideLayout318.xml"/><Relationship Id="rId44" Type="http://schemas.openxmlformats.org/officeDocument/2006/relationships/slideLayout" Target="../slideLayouts/slideLayout331.xml"/><Relationship Id="rId52" Type="http://schemas.openxmlformats.org/officeDocument/2006/relationships/image" Target="../media/image33.png"/><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slideLayout" Target="../slideLayouts/slideLayout317.xml"/><Relationship Id="rId35" Type="http://schemas.openxmlformats.org/officeDocument/2006/relationships/slideLayout" Target="../slideLayouts/slideLayout322.xml"/><Relationship Id="rId43" Type="http://schemas.openxmlformats.org/officeDocument/2006/relationships/slideLayout" Target="../slideLayouts/slideLayout330.xml"/><Relationship Id="rId48" Type="http://schemas.openxmlformats.org/officeDocument/2006/relationships/slideLayout" Target="../slideLayouts/slideLayout335.xml"/><Relationship Id="rId8" Type="http://schemas.openxmlformats.org/officeDocument/2006/relationships/slideLayout" Target="../slideLayouts/slideLayout295.xml"/><Relationship Id="rId5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slideLayout" Target="../slideLayouts/slideLayout363.xml"/><Relationship Id="rId39" Type="http://schemas.openxmlformats.org/officeDocument/2006/relationships/slideLayout" Target="../slideLayouts/slideLayout376.xml"/><Relationship Id="rId3" Type="http://schemas.openxmlformats.org/officeDocument/2006/relationships/slideLayout" Target="../slideLayouts/slideLayout340.xml"/><Relationship Id="rId21" Type="http://schemas.openxmlformats.org/officeDocument/2006/relationships/slideLayout" Target="../slideLayouts/slideLayout358.xml"/><Relationship Id="rId34" Type="http://schemas.openxmlformats.org/officeDocument/2006/relationships/slideLayout" Target="../slideLayouts/slideLayout371.xml"/><Relationship Id="rId42" Type="http://schemas.openxmlformats.org/officeDocument/2006/relationships/slideLayout" Target="../slideLayouts/slideLayout379.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slideLayout" Target="../slideLayouts/slideLayout362.xml"/><Relationship Id="rId33" Type="http://schemas.openxmlformats.org/officeDocument/2006/relationships/slideLayout" Target="../slideLayouts/slideLayout370.xml"/><Relationship Id="rId38" Type="http://schemas.openxmlformats.org/officeDocument/2006/relationships/slideLayout" Target="../slideLayouts/slideLayout375.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slideLayout" Target="../slideLayouts/slideLayout366.xml"/><Relationship Id="rId41" Type="http://schemas.openxmlformats.org/officeDocument/2006/relationships/slideLayout" Target="../slideLayouts/slideLayout378.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slideLayout" Target="../slideLayouts/slideLayout369.xml"/><Relationship Id="rId37" Type="http://schemas.openxmlformats.org/officeDocument/2006/relationships/slideLayout" Target="../slideLayouts/slideLayout374.xml"/><Relationship Id="rId40" Type="http://schemas.openxmlformats.org/officeDocument/2006/relationships/slideLayout" Target="../slideLayouts/slideLayout377.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slideLayout" Target="../slideLayouts/slideLayout365.xml"/><Relationship Id="rId36" Type="http://schemas.openxmlformats.org/officeDocument/2006/relationships/slideLayout" Target="../slideLayouts/slideLayout373.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slideLayout" Target="../slideLayouts/slideLayout368.xml"/><Relationship Id="rId44" Type="http://schemas.openxmlformats.org/officeDocument/2006/relationships/image" Target="../media/image33.png"/><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slideLayout" Target="../slideLayouts/slideLayout364.xml"/><Relationship Id="rId30" Type="http://schemas.openxmlformats.org/officeDocument/2006/relationships/slideLayout" Target="../slideLayouts/slideLayout367.xml"/><Relationship Id="rId35" Type="http://schemas.openxmlformats.org/officeDocument/2006/relationships/slideLayout" Target="../slideLayouts/slideLayout372.xml"/><Relationship Id="rId43"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slideLayout" Target="../slideLayouts/slideLayout392.xml"/><Relationship Id="rId18" Type="http://schemas.openxmlformats.org/officeDocument/2006/relationships/slideLayout" Target="../slideLayouts/slideLayout397.xml"/><Relationship Id="rId26" Type="http://schemas.openxmlformats.org/officeDocument/2006/relationships/slideLayout" Target="../slideLayouts/slideLayout405.xml"/><Relationship Id="rId39" Type="http://schemas.openxmlformats.org/officeDocument/2006/relationships/slideLayout" Target="../slideLayouts/slideLayout418.xml"/><Relationship Id="rId3" Type="http://schemas.openxmlformats.org/officeDocument/2006/relationships/slideLayout" Target="../slideLayouts/slideLayout382.xml"/><Relationship Id="rId21" Type="http://schemas.openxmlformats.org/officeDocument/2006/relationships/slideLayout" Target="../slideLayouts/slideLayout400.xml"/><Relationship Id="rId34" Type="http://schemas.openxmlformats.org/officeDocument/2006/relationships/slideLayout" Target="../slideLayouts/slideLayout413.xml"/><Relationship Id="rId42" Type="http://schemas.openxmlformats.org/officeDocument/2006/relationships/slideLayout" Target="../slideLayouts/slideLayout421.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17" Type="http://schemas.openxmlformats.org/officeDocument/2006/relationships/slideLayout" Target="../slideLayouts/slideLayout396.xml"/><Relationship Id="rId25" Type="http://schemas.openxmlformats.org/officeDocument/2006/relationships/slideLayout" Target="../slideLayouts/slideLayout404.xml"/><Relationship Id="rId33" Type="http://schemas.openxmlformats.org/officeDocument/2006/relationships/slideLayout" Target="../slideLayouts/slideLayout412.xml"/><Relationship Id="rId38" Type="http://schemas.openxmlformats.org/officeDocument/2006/relationships/slideLayout" Target="../slideLayouts/slideLayout417.xml"/><Relationship Id="rId2" Type="http://schemas.openxmlformats.org/officeDocument/2006/relationships/slideLayout" Target="../slideLayouts/slideLayout381.xml"/><Relationship Id="rId16" Type="http://schemas.openxmlformats.org/officeDocument/2006/relationships/slideLayout" Target="../slideLayouts/slideLayout395.xml"/><Relationship Id="rId20" Type="http://schemas.openxmlformats.org/officeDocument/2006/relationships/slideLayout" Target="../slideLayouts/slideLayout399.xml"/><Relationship Id="rId29" Type="http://schemas.openxmlformats.org/officeDocument/2006/relationships/slideLayout" Target="../slideLayouts/slideLayout408.xml"/><Relationship Id="rId41" Type="http://schemas.openxmlformats.org/officeDocument/2006/relationships/slideLayout" Target="../slideLayouts/slideLayout420.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24" Type="http://schemas.openxmlformats.org/officeDocument/2006/relationships/slideLayout" Target="../slideLayouts/slideLayout403.xml"/><Relationship Id="rId32" Type="http://schemas.openxmlformats.org/officeDocument/2006/relationships/slideLayout" Target="../slideLayouts/slideLayout411.xml"/><Relationship Id="rId37" Type="http://schemas.openxmlformats.org/officeDocument/2006/relationships/slideLayout" Target="../slideLayouts/slideLayout416.xml"/><Relationship Id="rId40" Type="http://schemas.openxmlformats.org/officeDocument/2006/relationships/slideLayout" Target="../slideLayouts/slideLayout419.xml"/><Relationship Id="rId5" Type="http://schemas.openxmlformats.org/officeDocument/2006/relationships/slideLayout" Target="../slideLayouts/slideLayout384.xml"/><Relationship Id="rId15" Type="http://schemas.openxmlformats.org/officeDocument/2006/relationships/slideLayout" Target="../slideLayouts/slideLayout394.xml"/><Relationship Id="rId23" Type="http://schemas.openxmlformats.org/officeDocument/2006/relationships/slideLayout" Target="../slideLayouts/slideLayout402.xml"/><Relationship Id="rId28" Type="http://schemas.openxmlformats.org/officeDocument/2006/relationships/slideLayout" Target="../slideLayouts/slideLayout407.xml"/><Relationship Id="rId36" Type="http://schemas.openxmlformats.org/officeDocument/2006/relationships/slideLayout" Target="../slideLayouts/slideLayout415.xml"/><Relationship Id="rId10" Type="http://schemas.openxmlformats.org/officeDocument/2006/relationships/slideLayout" Target="../slideLayouts/slideLayout389.xml"/><Relationship Id="rId19" Type="http://schemas.openxmlformats.org/officeDocument/2006/relationships/slideLayout" Target="../slideLayouts/slideLayout398.xml"/><Relationship Id="rId31" Type="http://schemas.openxmlformats.org/officeDocument/2006/relationships/slideLayout" Target="../slideLayouts/slideLayout410.xml"/><Relationship Id="rId44" Type="http://schemas.openxmlformats.org/officeDocument/2006/relationships/image" Target="../media/image33.png"/><Relationship Id="rId4" Type="http://schemas.openxmlformats.org/officeDocument/2006/relationships/slideLayout" Target="../slideLayouts/slideLayout383.xml"/><Relationship Id="rId9" Type="http://schemas.openxmlformats.org/officeDocument/2006/relationships/slideLayout" Target="../slideLayouts/slideLayout388.xml"/><Relationship Id="rId14" Type="http://schemas.openxmlformats.org/officeDocument/2006/relationships/slideLayout" Target="../slideLayouts/slideLayout393.xml"/><Relationship Id="rId22" Type="http://schemas.openxmlformats.org/officeDocument/2006/relationships/slideLayout" Target="../slideLayouts/slideLayout401.xml"/><Relationship Id="rId27" Type="http://schemas.openxmlformats.org/officeDocument/2006/relationships/slideLayout" Target="../slideLayouts/slideLayout406.xml"/><Relationship Id="rId30" Type="http://schemas.openxmlformats.org/officeDocument/2006/relationships/slideLayout" Target="../slideLayouts/slideLayout409.xml"/><Relationship Id="rId35" Type="http://schemas.openxmlformats.org/officeDocument/2006/relationships/slideLayout" Target="../slideLayouts/slideLayout414.xml"/><Relationship Id="rId43"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Border"/>
          <p:cNvGrpSpPr/>
          <p:nvPr/>
        </p:nvGrpSpPr>
        <p:grpSpPr>
          <a:xfrm>
            <a:off x="-285" y="0"/>
            <a:ext cx="12189400" cy="6858000"/>
            <a:chOff x="-287" y="0"/>
            <a:chExt cx="12189399" cy="6858000"/>
          </a:xfrm>
        </p:grpSpPr>
        <p:sp>
          <p:nvSpPr>
            <p:cNvPr id="8" name="Rectangle 7"/>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9" name="Rectangle 8"/>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10" name="Rectangle 9"/>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sp>
          <p:nvSpPr>
            <p:cNvPr id="11" name="Rectangle 10"/>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23"/>
              <a:endParaRPr dirty="0">
                <a:solidFill>
                  <a:srgbClr val="FFFFFF"/>
                </a:solidFill>
              </a:endParaRPr>
            </a:p>
          </p:txBody>
        </p:sp>
      </p:grpSp>
      <p:pic>
        <p:nvPicPr>
          <p:cNvPr id="19" name="Oracle red badge logo" descr="Oracle logo in white on red staging background"/>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bwMode="ltGray">
          <a:xfrm>
            <a:off x="531814" y="6263640"/>
            <a:ext cx="1622861" cy="594360"/>
          </a:xfrm>
          <a:prstGeom prst="rect">
            <a:avLst/>
          </a:prstGeom>
        </p:spPr>
      </p:pic>
      <p:sp>
        <p:nvSpPr>
          <p:cNvPr id="2" name="Title Placeholder 1"/>
          <p:cNvSpPr>
            <a:spLocks noGrp="1"/>
          </p:cNvSpPr>
          <p:nvPr>
            <p:ph type="title"/>
          </p:nvPr>
        </p:nvSpPr>
        <p:spPr>
          <a:xfrm>
            <a:off x="531814" y="406400"/>
            <a:ext cx="11125199"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3"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563214" y="6556248"/>
            <a:ext cx="1226398" cy="182880"/>
          </a:xfrm>
          <a:prstGeom prst="rect">
            <a:avLst/>
          </a:prstGeom>
        </p:spPr>
        <p:txBody>
          <a:bodyPr vert="horz" wrap="none" lIns="0" tIns="0" rIns="0" bIns="0" rtlCol="0" anchor="ctr"/>
          <a:lstStyle>
            <a:lvl1pPr algn="r">
              <a:defRPr sz="800">
                <a:solidFill>
                  <a:schemeClr val="tx1">
                    <a:lumMod val="60000"/>
                    <a:lumOff val="40000"/>
                  </a:schemeClr>
                </a:solidFill>
              </a:defRPr>
            </a:lvl1pPr>
          </a:lstStyle>
          <a:p>
            <a:pPr defTabSz="914323"/>
            <a:fld id="{1EE11BFD-AD4C-4A98-9D38-1958507EA4E5}" type="datetime1">
              <a:rPr lang="en-US">
                <a:solidFill>
                  <a:srgbClr val="5F5F5F">
                    <a:lumMod val="60000"/>
                    <a:lumOff val="40000"/>
                  </a:srgbClr>
                </a:solidFill>
              </a:rPr>
              <a:pPr defTabSz="914323"/>
              <a:t>11/10/2016</a:t>
            </a:fld>
            <a:endParaRPr dirty="0">
              <a:solidFill>
                <a:srgbClr val="5F5F5F">
                  <a:lumMod val="60000"/>
                  <a:lumOff val="40000"/>
                </a:srgbClr>
              </a:solidFill>
            </a:endParaRPr>
          </a:p>
        </p:txBody>
      </p:sp>
      <p:sp>
        <p:nvSpPr>
          <p:cNvPr id="15" name="TextBox 14"/>
          <p:cNvSpPr txBox="1"/>
          <p:nvPr/>
        </p:nvSpPr>
        <p:spPr>
          <a:xfrm>
            <a:off x="5989641" y="6556248"/>
            <a:ext cx="2787651" cy="182880"/>
          </a:xfrm>
          <a:prstGeom prst="rect">
            <a:avLst/>
          </a:prstGeom>
          <a:noFill/>
        </p:spPr>
        <p:txBody>
          <a:bodyPr wrap="none" lIns="0" tIns="0" rIns="0" bIns="0" rtlCol="0" anchor="ctr" anchorCtr="0">
            <a:noAutofit/>
          </a:bodyPr>
          <a:lstStyle/>
          <a:p>
            <a:pPr defTabSz="914323"/>
            <a:r>
              <a:rPr sz="800" dirty="0">
                <a:solidFill>
                  <a:srgbClr val="5F5F5F">
                    <a:lumMod val="60000"/>
                    <a:lumOff val="40000"/>
                  </a:srgbClr>
                </a:solidFill>
              </a:rPr>
              <a:t>Copyright © </a:t>
            </a:r>
            <a:r>
              <a:rPr sz="800" dirty="0" smtClean="0">
                <a:solidFill>
                  <a:srgbClr val="5F5F5F">
                    <a:lumMod val="60000"/>
                    <a:lumOff val="40000"/>
                  </a:srgbClr>
                </a:solidFill>
              </a:rPr>
              <a:t>201</a:t>
            </a:r>
            <a:r>
              <a:rPr lang="en-US" sz="800" dirty="0" smtClean="0">
                <a:solidFill>
                  <a:srgbClr val="5F5F5F">
                    <a:lumMod val="60000"/>
                    <a:lumOff val="40000"/>
                  </a:srgbClr>
                </a:solidFill>
              </a:rPr>
              <a:t>6</a:t>
            </a:r>
            <a:r>
              <a:rPr sz="800" dirty="0" smtClean="0">
                <a:solidFill>
                  <a:srgbClr val="5F5F5F">
                    <a:lumMod val="60000"/>
                    <a:lumOff val="40000"/>
                  </a:srgbClr>
                </a:solidFill>
              </a:rPr>
              <a:t> </a:t>
            </a:r>
            <a:r>
              <a:rPr sz="800" dirty="0">
                <a:solidFill>
                  <a:srgbClr val="5F5F5F">
                    <a:lumMod val="60000"/>
                    <a:lumOff val="40000"/>
                  </a:srgbClr>
                </a:solidFill>
              </a:rPr>
              <a:t>Oracle and/or its affiliates. All rights reserved. </a:t>
            </a:r>
          </a:p>
        </p:txBody>
      </p:sp>
      <p:sp>
        <p:nvSpPr>
          <p:cNvPr id="6" name="Slide Number Placeholder 5"/>
          <p:cNvSpPr>
            <a:spLocks noGrp="1"/>
          </p:cNvSpPr>
          <p:nvPr>
            <p:ph type="sldNum" sz="quarter" idx="4"/>
          </p:nvPr>
        </p:nvSpPr>
        <p:spPr>
          <a:xfrm>
            <a:off x="11276012" y="6556248"/>
            <a:ext cx="381661" cy="182880"/>
          </a:xfrm>
          <a:prstGeom prst="rect">
            <a:avLst/>
          </a:prstGeom>
        </p:spPr>
        <p:txBody>
          <a:bodyPr vert="horz" wrap="none" lIns="0" tIns="0" rIns="0" bIns="0" rtlCol="0" anchor="ctr"/>
          <a:lstStyle>
            <a:lvl1pPr algn="r">
              <a:defRPr sz="800">
                <a:solidFill>
                  <a:schemeClr val="tx1">
                    <a:lumMod val="60000"/>
                    <a:lumOff val="40000"/>
                  </a:schemeClr>
                </a:solidFill>
              </a:defRPr>
            </a:lvl1pPr>
          </a:lstStyle>
          <a:p>
            <a:pPr defTabSz="914323"/>
            <a:fld id="{C51EAA63-D034-42AE-91FA-B13B9518C7BE}" type="slidenum">
              <a:rPr>
                <a:solidFill>
                  <a:srgbClr val="5F5F5F">
                    <a:lumMod val="60000"/>
                    <a:lumOff val="40000"/>
                  </a:srgbClr>
                </a:solidFill>
              </a:rPr>
              <a:pPr defTabSz="914323"/>
              <a:t>‹#›</a:t>
            </a:fld>
            <a:endParaRPr dirty="0">
              <a:solidFill>
                <a:srgbClr val="5F5F5F">
                  <a:lumMod val="60000"/>
                  <a:lumOff val="40000"/>
                </a:srgbClr>
              </a:solidFill>
            </a:endParaRPr>
          </a:p>
        </p:txBody>
      </p:sp>
    </p:spTree>
    <p:extLst>
      <p:ext uri="{BB962C8B-B14F-4D97-AF65-F5344CB8AC3E}">
        <p14:creationId xmlns:p14="http://schemas.microsoft.com/office/powerpoint/2010/main" val="3193062027"/>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 id="2147483777" r:id="rId31"/>
    <p:sldLayoutId id="2147483778" r:id="rId32"/>
    <p:sldLayoutId id="2147483779" r:id="rId33"/>
    <p:sldLayoutId id="2147483780" r:id="rId34"/>
    <p:sldLayoutId id="2147483781" r:id="rId35"/>
    <p:sldLayoutId id="2147483782" r:id="rId36"/>
    <p:sldLayoutId id="2147483783" r:id="rId37"/>
    <p:sldLayoutId id="2147483784" r:id="rId38"/>
    <p:sldLayoutId id="2147483785" r:id="rId39"/>
    <p:sldLayoutId id="2147483787" r:id="rId40"/>
    <p:sldLayoutId id="2147483790" r:id="rId41"/>
    <p:sldLayoutId id="2147483791" r:id="rId42"/>
    <p:sldLayoutId id="2147483792" r:id="rId43"/>
    <p:sldLayoutId id="2147483793" r:id="rId44"/>
    <p:sldLayoutId id="2147483794" r:id="rId45"/>
    <p:sldLayoutId id="2147483795" r:id="rId46"/>
    <p:sldLayoutId id="2147483796" r:id="rId47"/>
    <p:sldLayoutId id="2147483797" r:id="rId48"/>
    <p:sldLayoutId id="2147483798" r:id="rId49"/>
    <p:sldLayoutId id="2147483799" r:id="rId50"/>
    <p:sldLayoutId id="2147483800" r:id="rId51"/>
    <p:sldLayoutId id="2147483801" r:id="rId52"/>
    <p:sldLayoutId id="2147483802" r:id="rId53"/>
    <p:sldLayoutId id="2147483803" r:id="rId54"/>
    <p:sldLayoutId id="2147483804" r:id="rId55"/>
    <p:sldLayoutId id="2147483866" r:id="rId56"/>
    <p:sldLayoutId id="2147483862" r:id="rId57"/>
    <p:sldLayoutId id="2147483863" r:id="rId58"/>
    <p:sldLayoutId id="2147483864" r:id="rId59"/>
    <p:sldLayoutId id="2147483689" r:id="rId60"/>
    <p:sldLayoutId id="2147483693" r:id="rId61"/>
    <p:sldLayoutId id="2147483692" r:id="rId62"/>
    <p:sldLayoutId id="2147483654" r:id="rId63"/>
    <p:sldLayoutId id="2147483682" r:id="rId64"/>
    <p:sldLayoutId id="2147483684" r:id="rId65"/>
    <p:sldLayoutId id="2147483690" r:id="rId66"/>
    <p:sldLayoutId id="2147483691" r:id="rId67"/>
    <p:sldLayoutId id="2147483817" r:id="rId68"/>
    <p:sldLayoutId id="2147483826" r:id="rId69"/>
    <p:sldLayoutId id="2147483835" r:id="rId70"/>
    <p:sldLayoutId id="2147483836" r:id="rId71"/>
    <p:sldLayoutId id="2147483844" r:id="rId72"/>
    <p:sldLayoutId id="2147483845" r:id="rId73"/>
    <p:sldLayoutId id="2147483867" r:id="rId74"/>
    <p:sldLayoutId id="2147484016" r:id="rId7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323"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581" indent="-228581" algn="l" defTabSz="914323"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879" indent="-228581" algn="l" defTabSz="914323"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459"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040"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900" kern="1200">
          <a:solidFill>
            <a:schemeClr val="tx1"/>
          </a:solidFill>
          <a:latin typeface="+mn-lt"/>
          <a:ea typeface="+mn-ea"/>
          <a:cs typeface="+mn-cs"/>
        </a:defRPr>
      </a:lvl4pPr>
      <a:lvl5pPr marL="1188621"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201"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784"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363"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2944"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323" rtl="0" eaLnBrk="1" latinLnBrk="0" hangingPunct="1">
        <a:defRPr sz="1900" kern="1200">
          <a:solidFill>
            <a:schemeClr val="tx1"/>
          </a:solidFill>
          <a:latin typeface="+mn-lt"/>
          <a:ea typeface="+mn-ea"/>
          <a:cs typeface="+mn-cs"/>
        </a:defRPr>
      </a:lvl1pPr>
      <a:lvl2pPr marL="457161" algn="l" defTabSz="914323" rtl="0" eaLnBrk="1" latinLnBrk="0" hangingPunct="1">
        <a:defRPr sz="1900" kern="1200">
          <a:solidFill>
            <a:schemeClr val="tx1"/>
          </a:solidFill>
          <a:latin typeface="+mn-lt"/>
          <a:ea typeface="+mn-ea"/>
          <a:cs typeface="+mn-cs"/>
        </a:defRPr>
      </a:lvl2pPr>
      <a:lvl3pPr marL="914323" algn="l" defTabSz="914323" rtl="0" eaLnBrk="1" latinLnBrk="0" hangingPunct="1">
        <a:defRPr sz="1900" kern="1200">
          <a:solidFill>
            <a:schemeClr val="tx1"/>
          </a:solidFill>
          <a:latin typeface="+mn-lt"/>
          <a:ea typeface="+mn-ea"/>
          <a:cs typeface="+mn-cs"/>
        </a:defRPr>
      </a:lvl3pPr>
      <a:lvl4pPr marL="1371485" algn="l" defTabSz="914323" rtl="0" eaLnBrk="1" latinLnBrk="0" hangingPunct="1">
        <a:defRPr sz="1900" kern="1200">
          <a:solidFill>
            <a:schemeClr val="tx1"/>
          </a:solidFill>
          <a:latin typeface="+mn-lt"/>
          <a:ea typeface="+mn-ea"/>
          <a:cs typeface="+mn-cs"/>
        </a:defRPr>
      </a:lvl4pPr>
      <a:lvl5pPr marL="1828648" algn="l" defTabSz="914323" rtl="0" eaLnBrk="1" latinLnBrk="0" hangingPunct="1">
        <a:defRPr sz="1900" kern="1200">
          <a:solidFill>
            <a:schemeClr val="tx1"/>
          </a:solidFill>
          <a:latin typeface="+mn-lt"/>
          <a:ea typeface="+mn-ea"/>
          <a:cs typeface="+mn-cs"/>
        </a:defRPr>
      </a:lvl5pPr>
      <a:lvl6pPr marL="2285809" algn="l" defTabSz="914323" rtl="0" eaLnBrk="1" latinLnBrk="0" hangingPunct="1">
        <a:defRPr sz="1900" kern="1200">
          <a:solidFill>
            <a:schemeClr val="tx1"/>
          </a:solidFill>
          <a:latin typeface="+mn-lt"/>
          <a:ea typeface="+mn-ea"/>
          <a:cs typeface="+mn-cs"/>
        </a:defRPr>
      </a:lvl6pPr>
      <a:lvl7pPr marL="2742971" algn="l" defTabSz="914323" rtl="0" eaLnBrk="1" latinLnBrk="0" hangingPunct="1">
        <a:defRPr sz="1900" kern="1200">
          <a:solidFill>
            <a:schemeClr val="tx1"/>
          </a:solidFill>
          <a:latin typeface="+mn-lt"/>
          <a:ea typeface="+mn-ea"/>
          <a:cs typeface="+mn-cs"/>
        </a:defRPr>
      </a:lvl7pPr>
      <a:lvl8pPr marL="3200133" algn="l" defTabSz="914323" rtl="0" eaLnBrk="1" latinLnBrk="0" hangingPunct="1">
        <a:defRPr sz="1900" kern="1200">
          <a:solidFill>
            <a:schemeClr val="tx1"/>
          </a:solidFill>
          <a:latin typeface="+mn-lt"/>
          <a:ea typeface="+mn-ea"/>
          <a:cs typeface="+mn-cs"/>
        </a:defRPr>
      </a:lvl8pPr>
      <a:lvl9pPr marL="3657296" algn="l" defTabSz="914323"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39" userDrawn="1">
          <p15:clr>
            <a:srgbClr val="F26B43"/>
          </p15:clr>
        </p15:guide>
        <p15:guide id="4" orient="horz" pos="412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098" name="Border"/>
          <p:cNvGrpSpPr>
            <a:grpSpLocks/>
          </p:cNvGrpSpPr>
          <p:nvPr/>
        </p:nvGrpSpPr>
        <p:grpSpPr bwMode="auto">
          <a:xfrm>
            <a:off x="0" y="0"/>
            <a:ext cx="12188825" cy="6858000"/>
            <a:chOff x="-287" y="0"/>
            <a:chExt cx="12189399" cy="6858000"/>
          </a:xfrm>
        </p:grpSpPr>
        <p:sp>
          <p:nvSpPr>
            <p:cNvPr id="8" name="Rectangle 7"/>
            <p:cNvSpPr/>
            <p:nvPr/>
          </p:nvSpPr>
          <p:spPr bwMode="gray">
            <a:xfrm>
              <a:off x="-287" y="0"/>
              <a:ext cx="193684" cy="68516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9" name="Rectangle 8"/>
            <p:cNvSpPr/>
            <p:nvPr/>
          </p:nvSpPr>
          <p:spPr bwMode="gray">
            <a:xfrm>
              <a:off x="11995428" y="6350"/>
              <a:ext cx="193684" cy="68516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10" name="Rectangle 9"/>
            <p:cNvSpPr/>
            <p:nvPr/>
          </p:nvSpPr>
          <p:spPr bwMode="gray">
            <a:xfrm>
              <a:off x="-287" y="6400800"/>
              <a:ext cx="12189399"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sp>
          <p:nvSpPr>
            <p:cNvPr id="11" name="Rectangle 10"/>
            <p:cNvSpPr/>
            <p:nvPr/>
          </p:nvSpPr>
          <p:spPr bwMode="gray">
            <a:xfrm>
              <a:off x="-287" y="0"/>
              <a:ext cx="12189399" cy="19208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sz="1800" dirty="0">
                <a:solidFill>
                  <a:srgbClr val="FFFFFF"/>
                </a:solidFill>
              </a:endParaRPr>
            </a:p>
          </p:txBody>
        </p:sp>
      </p:grpSp>
      <p:pic>
        <p:nvPicPr>
          <p:cNvPr id="4099" name="Oracle red badge logo" descr="Oracle logo in white on red staging background"/>
          <p:cNvPicPr>
            <a:picLocks noChangeAspect="1"/>
          </p:cNvPicPr>
          <p:nvPr/>
        </p:nvPicPr>
        <p:blipFill>
          <a:blip r:embed="rId40" cstate="print"/>
          <a:srcRect/>
          <a:stretch>
            <a:fillRect/>
          </a:stretch>
        </p:blipFill>
        <p:spPr bwMode="ltGray">
          <a:xfrm>
            <a:off x="531815" y="6264327"/>
            <a:ext cx="1622425" cy="593725"/>
          </a:xfrm>
          <a:prstGeom prst="rect">
            <a:avLst/>
          </a:prstGeom>
          <a:noFill/>
          <a:ln w="9525">
            <a:noFill/>
            <a:miter lim="800000"/>
            <a:headEnd/>
            <a:tailEnd/>
          </a:ln>
        </p:spPr>
      </p:pic>
      <p:sp>
        <p:nvSpPr>
          <p:cNvPr id="4100" name="Title Placeholder 1"/>
          <p:cNvSpPr>
            <a:spLocks noGrp="1"/>
          </p:cNvSpPr>
          <p:nvPr>
            <p:ph type="title"/>
          </p:nvPr>
        </p:nvSpPr>
        <p:spPr bwMode="auto">
          <a:xfrm>
            <a:off x="531848" y="406400"/>
            <a:ext cx="11125199" cy="889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4101" name="Text Placeholder 2"/>
          <p:cNvSpPr>
            <a:spLocks noGrp="1"/>
          </p:cNvSpPr>
          <p:nvPr>
            <p:ph type="body" idx="1"/>
          </p:nvPr>
        </p:nvSpPr>
        <p:spPr bwMode="auto">
          <a:xfrm>
            <a:off x="531848" y="1524000"/>
            <a:ext cx="11125199" cy="441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62476" y="6556427"/>
            <a:ext cx="1227138" cy="182563"/>
          </a:xfrm>
          <a:prstGeom prst="rect">
            <a:avLst/>
          </a:prstGeom>
        </p:spPr>
        <p:txBody>
          <a:bodyPr vert="horz" wrap="none" lIns="0" tIns="0" rIns="0" bIns="0" rtlCol="0" anchor="ctr"/>
          <a:lstStyle>
            <a:lvl1pPr algn="r" fontAlgn="auto">
              <a:spcBef>
                <a:spcPts val="0"/>
              </a:spcBef>
              <a:spcAft>
                <a:spcPts val="0"/>
              </a:spcAft>
              <a:defRPr sz="800">
                <a:solidFill>
                  <a:schemeClr val="tx1">
                    <a:lumMod val="60000"/>
                    <a:lumOff val="40000"/>
                  </a:schemeClr>
                </a:solidFill>
                <a:latin typeface="+mn-lt"/>
                <a:cs typeface="+mn-cs"/>
              </a:defRPr>
            </a:lvl1pPr>
          </a:lstStyle>
          <a:p>
            <a:pPr defTabSz="914400">
              <a:defRPr/>
            </a:pPr>
            <a:endParaRPr>
              <a:solidFill>
                <a:srgbClr val="5F5F5F">
                  <a:lumMod val="60000"/>
                  <a:lumOff val="40000"/>
                </a:srgbClr>
              </a:solidFill>
            </a:endParaRPr>
          </a:p>
        </p:txBody>
      </p:sp>
      <p:sp>
        <p:nvSpPr>
          <p:cNvPr id="15" name="TextBox 14"/>
          <p:cNvSpPr txBox="1"/>
          <p:nvPr/>
        </p:nvSpPr>
        <p:spPr>
          <a:xfrm>
            <a:off x="5989638" y="6556427"/>
            <a:ext cx="2787650" cy="182563"/>
          </a:xfrm>
          <a:prstGeom prst="rect">
            <a:avLst/>
          </a:prstGeom>
          <a:noFill/>
        </p:spPr>
        <p:txBody>
          <a:bodyPr wrap="none" lIns="0" tIns="0" rIns="0" bIns="0" anchor="ctr"/>
          <a:lstStyle/>
          <a:p>
            <a:pPr defTabSz="914400">
              <a:defRPr/>
            </a:pPr>
            <a:r>
              <a:rPr sz="800" dirty="0">
                <a:solidFill>
                  <a:srgbClr val="5F5F5F">
                    <a:lumMod val="60000"/>
                    <a:lumOff val="40000"/>
                  </a:srgbClr>
                </a:solidFill>
                <a:cs typeface="Arial" pitchFamily="34" charset="0"/>
              </a:rPr>
              <a:t>Copyright © 2014 Oracle and/or its affiliates. All rights reserved.  |</a:t>
            </a:r>
          </a:p>
        </p:txBody>
      </p:sp>
      <p:sp>
        <p:nvSpPr>
          <p:cNvPr id="5" name="Footer Placeholder 4"/>
          <p:cNvSpPr>
            <a:spLocks noGrp="1"/>
          </p:cNvSpPr>
          <p:nvPr>
            <p:ph type="ftr" sz="quarter" idx="3"/>
          </p:nvPr>
        </p:nvSpPr>
        <p:spPr>
          <a:xfrm>
            <a:off x="8777288" y="6556427"/>
            <a:ext cx="2498725" cy="182563"/>
          </a:xfrm>
          <a:prstGeom prst="rect">
            <a:avLst/>
          </a:prstGeom>
        </p:spPr>
        <p:txBody>
          <a:bodyPr vert="horz" wrap="none" lIns="0" tIns="0" rIns="0" bIns="0" rtlCol="0" anchor="ctr"/>
          <a:lstStyle>
            <a:lvl1pPr algn="l" fontAlgn="auto">
              <a:spcBef>
                <a:spcPts val="0"/>
              </a:spcBef>
              <a:spcAft>
                <a:spcPts val="0"/>
              </a:spcAft>
              <a:defRPr sz="800">
                <a:solidFill>
                  <a:schemeClr val="tx1">
                    <a:lumMod val="60000"/>
                    <a:lumOff val="40000"/>
                  </a:schemeClr>
                </a:solidFill>
                <a:latin typeface="+mn-lt"/>
                <a:cs typeface="+mn-cs"/>
              </a:defRPr>
            </a:lvl1pPr>
          </a:lstStyle>
          <a:p>
            <a:pPr defTabSz="914400">
              <a:defRPr/>
            </a:pPr>
            <a:r>
              <a:rPr lang="en-US">
                <a:solidFill>
                  <a:srgbClr val="5F5F5F">
                    <a:lumMod val="60000"/>
                    <a:lumOff val="40000"/>
                  </a:srgbClr>
                </a:solidFill>
              </a:rPr>
              <a:t>Oracle Confidential</a:t>
            </a:r>
            <a:endParaRPr>
              <a:solidFill>
                <a:srgbClr val="5F5F5F">
                  <a:lumMod val="60000"/>
                  <a:lumOff val="40000"/>
                </a:srgbClr>
              </a:solidFill>
            </a:endParaRPr>
          </a:p>
        </p:txBody>
      </p:sp>
      <p:sp>
        <p:nvSpPr>
          <p:cNvPr id="6" name="Slide Number Placeholder 5"/>
          <p:cNvSpPr>
            <a:spLocks noGrp="1"/>
          </p:cNvSpPr>
          <p:nvPr>
            <p:ph type="sldNum" sz="quarter" idx="4"/>
          </p:nvPr>
        </p:nvSpPr>
        <p:spPr>
          <a:xfrm>
            <a:off x="11276015" y="6556427"/>
            <a:ext cx="380999" cy="182563"/>
          </a:xfrm>
          <a:prstGeom prst="rect">
            <a:avLst/>
          </a:prstGeom>
        </p:spPr>
        <p:txBody>
          <a:bodyPr vert="horz" wrap="none" lIns="0" tIns="0" rIns="0" bIns="0" rtlCol="0" anchor="ctr"/>
          <a:lstStyle>
            <a:lvl1pPr algn="r" fontAlgn="auto">
              <a:spcBef>
                <a:spcPts val="0"/>
              </a:spcBef>
              <a:spcAft>
                <a:spcPts val="0"/>
              </a:spcAft>
              <a:defRPr sz="800">
                <a:solidFill>
                  <a:schemeClr val="tx1">
                    <a:lumMod val="60000"/>
                    <a:lumOff val="40000"/>
                  </a:schemeClr>
                </a:solidFill>
                <a:latin typeface="+mn-lt"/>
                <a:cs typeface="+mn-cs"/>
              </a:defRPr>
            </a:lvl1pPr>
          </a:lstStyle>
          <a:p>
            <a:pPr defTabSz="914400">
              <a:defRPr/>
            </a:pPr>
            <a:fld id="{AAC29953-0059-473B-BAC9-E8B1F16276E0}" type="slidenum">
              <a:rPr>
                <a:solidFill>
                  <a:srgbClr val="5F5F5F">
                    <a:lumMod val="60000"/>
                    <a:lumOff val="40000"/>
                  </a:srgbClr>
                </a:solidFill>
              </a:rPr>
              <a:pPr defTabSz="914400">
                <a:defRPr/>
              </a:pPr>
              <a:t>‹#›</a:t>
            </a:fld>
            <a:endParaRPr dirty="0">
              <a:solidFill>
                <a:srgbClr val="5F5F5F">
                  <a:lumMod val="60000"/>
                  <a:lumOff val="40000"/>
                </a:srgbClr>
              </a:solidFill>
            </a:endParaRPr>
          </a:p>
        </p:txBody>
      </p:sp>
    </p:spTree>
    <p:extLst>
      <p:ext uri="{BB962C8B-B14F-4D97-AF65-F5344CB8AC3E}">
        <p14:creationId xmlns:p14="http://schemas.microsoft.com/office/powerpoint/2010/main" val="1186595167"/>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 id="2147484450" r:id="rId15"/>
    <p:sldLayoutId id="2147484451" r:id="rId16"/>
    <p:sldLayoutId id="2147484452" r:id="rId17"/>
    <p:sldLayoutId id="2147484453" r:id="rId18"/>
    <p:sldLayoutId id="2147484454" r:id="rId19"/>
    <p:sldLayoutId id="2147484455" r:id="rId20"/>
    <p:sldLayoutId id="2147484456" r:id="rId21"/>
    <p:sldLayoutId id="2147484457" r:id="rId22"/>
    <p:sldLayoutId id="2147484458" r:id="rId23"/>
    <p:sldLayoutId id="2147484459" r:id="rId24"/>
    <p:sldLayoutId id="2147484460" r:id="rId25"/>
    <p:sldLayoutId id="2147484461" r:id="rId26"/>
    <p:sldLayoutId id="2147484462" r:id="rId27"/>
    <p:sldLayoutId id="2147484463" r:id="rId28"/>
    <p:sldLayoutId id="2147484464" r:id="rId29"/>
    <p:sldLayoutId id="2147484465" r:id="rId30"/>
    <p:sldLayoutId id="2147484466" r:id="rId31"/>
    <p:sldLayoutId id="2147484467" r:id="rId32"/>
    <p:sldLayoutId id="2147484468" r:id="rId33"/>
    <p:sldLayoutId id="2147484469" r:id="rId34"/>
    <p:sldLayoutId id="2147484470" r:id="rId35"/>
    <p:sldLayoutId id="2147484471" r:id="rId36"/>
    <p:sldLayoutId id="2147484472" r:id="rId37"/>
    <p:sldLayoutId id="2147484473"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rtl="0" eaLnBrk="0" fontAlgn="base" hangingPunct="0">
        <a:lnSpc>
          <a:spcPct val="80000"/>
        </a:lnSpc>
        <a:spcBef>
          <a:spcPct val="0"/>
        </a:spcBef>
        <a:spcAft>
          <a:spcPct val="0"/>
        </a:spcAft>
        <a:defRPr sz="3600" kern="1200">
          <a:solidFill>
            <a:schemeClr val="tx1"/>
          </a:solidFill>
          <a:latin typeface="+mj-lt"/>
          <a:ea typeface="+mj-ea"/>
          <a:cs typeface="+mj-cs"/>
        </a:defRPr>
      </a:lvl1pPr>
      <a:lvl2pPr algn="l" rtl="0" eaLnBrk="0" fontAlgn="base" hangingPunct="0">
        <a:lnSpc>
          <a:spcPct val="80000"/>
        </a:lnSpc>
        <a:spcBef>
          <a:spcPct val="0"/>
        </a:spcBef>
        <a:spcAft>
          <a:spcPct val="0"/>
        </a:spcAft>
        <a:defRPr sz="3600">
          <a:solidFill>
            <a:schemeClr val="tx1"/>
          </a:solidFill>
          <a:latin typeface="Calibri" pitchFamily="34" charset="0"/>
        </a:defRPr>
      </a:lvl2pPr>
      <a:lvl3pPr algn="l" rtl="0" eaLnBrk="0" fontAlgn="base" hangingPunct="0">
        <a:lnSpc>
          <a:spcPct val="80000"/>
        </a:lnSpc>
        <a:spcBef>
          <a:spcPct val="0"/>
        </a:spcBef>
        <a:spcAft>
          <a:spcPct val="0"/>
        </a:spcAft>
        <a:defRPr sz="3600">
          <a:solidFill>
            <a:schemeClr val="tx1"/>
          </a:solidFill>
          <a:latin typeface="Calibri" pitchFamily="34" charset="0"/>
        </a:defRPr>
      </a:lvl3pPr>
      <a:lvl4pPr algn="l" rtl="0" eaLnBrk="0" fontAlgn="base" hangingPunct="0">
        <a:lnSpc>
          <a:spcPct val="80000"/>
        </a:lnSpc>
        <a:spcBef>
          <a:spcPct val="0"/>
        </a:spcBef>
        <a:spcAft>
          <a:spcPct val="0"/>
        </a:spcAft>
        <a:defRPr sz="3600">
          <a:solidFill>
            <a:schemeClr val="tx1"/>
          </a:solidFill>
          <a:latin typeface="Calibri" pitchFamily="34" charset="0"/>
        </a:defRPr>
      </a:lvl4pPr>
      <a:lvl5pPr algn="l" rtl="0" eaLnBrk="0" fontAlgn="base" hangingPunct="0">
        <a:lnSpc>
          <a:spcPct val="80000"/>
        </a:lnSpc>
        <a:spcBef>
          <a:spcPct val="0"/>
        </a:spcBef>
        <a:spcAft>
          <a:spcPct val="0"/>
        </a:spcAft>
        <a:defRPr sz="3600">
          <a:solidFill>
            <a:schemeClr val="tx1"/>
          </a:solidFill>
          <a:latin typeface="Calibri" pitchFamily="34" charset="0"/>
        </a:defRPr>
      </a:lvl5pPr>
      <a:lvl6pPr marL="457200" algn="l" rtl="0" fontAlgn="base">
        <a:lnSpc>
          <a:spcPct val="80000"/>
        </a:lnSpc>
        <a:spcBef>
          <a:spcPct val="0"/>
        </a:spcBef>
        <a:spcAft>
          <a:spcPct val="0"/>
        </a:spcAft>
        <a:defRPr sz="3600">
          <a:solidFill>
            <a:schemeClr val="tx1"/>
          </a:solidFill>
          <a:latin typeface="Calibri" pitchFamily="34" charset="0"/>
        </a:defRPr>
      </a:lvl6pPr>
      <a:lvl7pPr marL="914400" algn="l" rtl="0" fontAlgn="base">
        <a:lnSpc>
          <a:spcPct val="80000"/>
        </a:lnSpc>
        <a:spcBef>
          <a:spcPct val="0"/>
        </a:spcBef>
        <a:spcAft>
          <a:spcPct val="0"/>
        </a:spcAft>
        <a:defRPr sz="3600">
          <a:solidFill>
            <a:schemeClr val="tx1"/>
          </a:solidFill>
          <a:latin typeface="Calibri" pitchFamily="34" charset="0"/>
        </a:defRPr>
      </a:lvl7pPr>
      <a:lvl8pPr marL="1371600" algn="l" rtl="0" fontAlgn="base">
        <a:lnSpc>
          <a:spcPct val="80000"/>
        </a:lnSpc>
        <a:spcBef>
          <a:spcPct val="0"/>
        </a:spcBef>
        <a:spcAft>
          <a:spcPct val="0"/>
        </a:spcAft>
        <a:defRPr sz="3600">
          <a:solidFill>
            <a:schemeClr val="tx1"/>
          </a:solidFill>
          <a:latin typeface="Calibri" pitchFamily="34" charset="0"/>
        </a:defRPr>
      </a:lvl8pPr>
      <a:lvl9pPr marL="1828800" algn="l" rtl="0" fontAlgn="base">
        <a:lnSpc>
          <a:spcPct val="80000"/>
        </a:lnSpc>
        <a:spcBef>
          <a:spcPct val="0"/>
        </a:spcBef>
        <a:spcAft>
          <a:spcPct val="0"/>
        </a:spcAft>
        <a:defRPr sz="3600">
          <a:solidFill>
            <a:schemeClr val="tx1"/>
          </a:solidFill>
          <a:latin typeface="Calibri" pitchFamily="34" charset="0"/>
        </a:defRPr>
      </a:lvl9pPr>
    </p:titleStyle>
    <p:bodyStyle>
      <a:lvl1pPr marL="228600" indent="-228600" algn="l" rtl="0" eaLnBrk="0" fontAlgn="base" hangingPunct="0">
        <a:lnSpc>
          <a:spcPct val="90000"/>
        </a:lnSpc>
        <a:spcBef>
          <a:spcPts val="1200"/>
        </a:spcBef>
        <a:spcAft>
          <a:spcPct val="0"/>
        </a:spcAft>
        <a:buClr>
          <a:srgbClr val="9F9F9F"/>
        </a:buClr>
        <a:buFont typeface="Arial" pitchFamily="34" charset="0"/>
        <a:buChar char="•"/>
        <a:defRPr sz="2800" kern="1200">
          <a:solidFill>
            <a:schemeClr val="tx1"/>
          </a:solidFill>
          <a:latin typeface="+mn-lt"/>
          <a:ea typeface="+mn-ea"/>
          <a:cs typeface="+mn-cs"/>
        </a:defRPr>
      </a:lvl1pPr>
      <a:lvl2pPr marL="501650" indent="-228600" algn="l" rtl="0" eaLnBrk="0" fontAlgn="base" hangingPunct="0">
        <a:lnSpc>
          <a:spcPct val="90000"/>
        </a:lnSpc>
        <a:spcBef>
          <a:spcPts val="800"/>
        </a:spcBef>
        <a:spcAft>
          <a:spcPct val="0"/>
        </a:spcAft>
        <a:buClr>
          <a:srgbClr val="9F9F9F"/>
        </a:buClr>
        <a:buFont typeface="Arial" pitchFamily="34" charset="0"/>
        <a:buChar char="–"/>
        <a:defRPr sz="2400" kern="1200">
          <a:solidFill>
            <a:schemeClr val="tx1"/>
          </a:solidFill>
          <a:latin typeface="+mn-lt"/>
          <a:ea typeface="+mn-ea"/>
          <a:cs typeface="+mn-cs"/>
        </a:defRPr>
      </a:lvl2pPr>
      <a:lvl3pPr marL="730250" indent="-182563" algn="l" rtl="0" eaLnBrk="0" fontAlgn="base" hangingPunct="0">
        <a:lnSpc>
          <a:spcPct val="90000"/>
        </a:lnSpc>
        <a:spcBef>
          <a:spcPts val="600"/>
        </a:spcBef>
        <a:spcAft>
          <a:spcPct val="0"/>
        </a:spcAft>
        <a:buClr>
          <a:srgbClr val="9F9F9F"/>
        </a:buClr>
        <a:buFont typeface="Arial" pitchFamily="34" charset="0"/>
        <a:buChar char="•"/>
        <a:defRPr sz="2000" kern="1200">
          <a:solidFill>
            <a:schemeClr val="tx1"/>
          </a:solidFill>
          <a:latin typeface="+mn-lt"/>
          <a:ea typeface="+mn-ea"/>
          <a:cs typeface="+mn-cs"/>
        </a:defRPr>
      </a:lvl3pPr>
      <a:lvl4pPr marL="958850" indent="-182563" algn="l" rtl="0" eaLnBrk="0" fontAlgn="base" hangingPunct="0">
        <a:lnSpc>
          <a:spcPct val="90000"/>
        </a:lnSpc>
        <a:spcBef>
          <a:spcPts val="600"/>
        </a:spcBef>
        <a:spcAft>
          <a:spcPct val="0"/>
        </a:spcAft>
        <a:buClr>
          <a:srgbClr val="9F9F9F"/>
        </a:buClr>
        <a:buFont typeface="Arial" pitchFamily="34" charset="0"/>
        <a:buChar char="–"/>
        <a:defRPr kern="1200">
          <a:solidFill>
            <a:schemeClr val="tx1"/>
          </a:solidFill>
          <a:latin typeface="+mn-lt"/>
          <a:ea typeface="+mn-ea"/>
          <a:cs typeface="+mn-cs"/>
        </a:defRPr>
      </a:lvl4pPr>
      <a:lvl5pPr marL="1187450" indent="-182563" algn="l" rtl="0" eaLnBrk="0" fontAlgn="base" hangingPunct="0">
        <a:lnSpc>
          <a:spcPct val="90000"/>
        </a:lnSpc>
        <a:spcBef>
          <a:spcPts val="600"/>
        </a:spcBef>
        <a:spcAft>
          <a:spcPct val="0"/>
        </a:spcAft>
        <a:buClr>
          <a:srgbClr val="9F9F9F"/>
        </a:buClr>
        <a:buFont typeface="Arial"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0"/>
            <a:ext cx="12189398" cy="6858000"/>
            <a:chOff x="0" y="0"/>
            <a:chExt cx="12189398" cy="6858000"/>
          </a:xfrm>
        </p:grpSpPr>
        <p:sp>
          <p:nvSpPr>
            <p:cNvPr id="8" name="Rectangle 7"/>
            <p:cNvSpPr/>
            <p:nvPr/>
          </p:nvSpPr>
          <p:spPr bwMode="gray">
            <a:xfrm>
              <a:off x="0" y="0"/>
              <a:ext cx="193962"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11995151" y="0"/>
              <a:ext cx="19396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0"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0"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F58637A1-2757-41E8-AD98-43E9D0558D9A}" type="datetime1">
              <a:rPr lang="en-US" smtClean="0">
                <a:solidFill>
                  <a:srgbClr val="5F5F5F"/>
                </a:solidFill>
                <a:cs typeface="Arial" pitchFamily="34" charset="0"/>
              </a:rPr>
              <a:pPr defTabSz="914400"/>
              <a:t>11/10/2016</a:t>
            </a:fld>
            <a:endParaRPr lang="en-US" dirty="0">
              <a:solidFill>
                <a:srgbClr val="5F5F5F"/>
              </a:solidFill>
              <a:cs typeface="Arial" pitchFamily="34" charset="0"/>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F5F5F"/>
                </a:solidFill>
                <a:cs typeface="Arial" pitchFamily="34" charset="0"/>
              </a:rPr>
              <a:pPr defTabSz="914400"/>
              <a:t>‹#›</a:t>
            </a:fld>
            <a:endParaRPr lang="en-US" dirty="0">
              <a:solidFill>
                <a:srgbClr val="5F5F5F"/>
              </a:solidFill>
              <a:cs typeface="Arial" pitchFamily="34" charset="0"/>
            </a:endParaRPr>
          </a:p>
        </p:txBody>
      </p:sp>
      <p:sp>
        <p:nvSpPr>
          <p:cNvPr id="15" name="TextBox 14"/>
          <p:cNvSpPr txBox="1"/>
          <p:nvPr/>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cs typeface="Arial" pitchFamily="34" charset="0"/>
              </a:rPr>
              <a:t>Copyright © </a:t>
            </a:r>
            <a:r>
              <a:rPr sz="850" dirty="0" smtClean="0">
                <a:solidFill>
                  <a:srgbClr val="5F5F5F"/>
                </a:solidFill>
                <a:cs typeface="Arial" pitchFamily="34" charset="0"/>
              </a:rPr>
              <a:t>201</a:t>
            </a:r>
            <a:r>
              <a:rPr lang="en-US" sz="850" dirty="0" smtClean="0">
                <a:solidFill>
                  <a:srgbClr val="5F5F5F"/>
                </a:solidFill>
                <a:cs typeface="Arial" pitchFamily="34" charset="0"/>
              </a:rPr>
              <a:t>5,</a:t>
            </a:r>
            <a:r>
              <a:rPr sz="850" dirty="0" smtClean="0">
                <a:solidFill>
                  <a:srgbClr val="5F5F5F"/>
                </a:solidFill>
                <a:cs typeface="Arial" pitchFamily="34" charset="0"/>
              </a:rPr>
              <a:t> </a:t>
            </a:r>
            <a:r>
              <a:rPr sz="850" dirty="0">
                <a:solidFill>
                  <a:srgbClr val="5F5F5F"/>
                </a:solidFill>
                <a:cs typeface="Arial" pitchFamily="34" charset="0"/>
              </a:rPr>
              <a:t>Oracle and/or its affiliates. All rights reserved.  </a:t>
            </a:r>
            <a:r>
              <a:rPr sz="850" dirty="0" smtClean="0">
                <a:solidFill>
                  <a:srgbClr val="5F5F5F"/>
                </a:solidFill>
                <a:cs typeface="Arial" pitchFamily="34" charset="0"/>
              </a:rPr>
              <a:t>|</a:t>
            </a:r>
            <a:endParaRPr sz="850" dirty="0">
              <a:solidFill>
                <a:srgbClr val="5F5F5F"/>
              </a:solidFill>
              <a:cs typeface="Arial" pitchFamily="34" charset="0"/>
            </a:endParaRPr>
          </a:p>
        </p:txBody>
      </p:sp>
      <p:pic>
        <p:nvPicPr>
          <p:cNvPr id="16" name="Picture 15" descr="Oracle logo in white on red staging background" title="Oracle red badge logo"/>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227356934"/>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 id="2147484478" r:id="rId4"/>
    <p:sldLayoutId id="2147484479" r:id="rId5"/>
    <p:sldLayoutId id="2147484480" r:id="rId6"/>
    <p:sldLayoutId id="2147484481" r:id="rId7"/>
    <p:sldLayoutId id="2147484482" r:id="rId8"/>
    <p:sldLayoutId id="2147484483" r:id="rId9"/>
    <p:sldLayoutId id="2147484484" r:id="rId10"/>
    <p:sldLayoutId id="2147484485" r:id="rId11"/>
    <p:sldLayoutId id="2147484486" r:id="rId12"/>
    <p:sldLayoutId id="2147484487" r:id="rId13"/>
    <p:sldLayoutId id="2147484488" r:id="rId14"/>
    <p:sldLayoutId id="2147484489" r:id="rId15"/>
    <p:sldLayoutId id="2147484490" r:id="rId16"/>
    <p:sldLayoutId id="2147484491" r:id="rId17"/>
    <p:sldLayoutId id="2147484492" r:id="rId18"/>
    <p:sldLayoutId id="2147484493" r:id="rId19"/>
    <p:sldLayoutId id="2147484494" r:id="rId20"/>
    <p:sldLayoutId id="2147484495" r:id="rId21"/>
    <p:sldLayoutId id="2147484496" r:id="rId22"/>
    <p:sldLayoutId id="2147484497" r:id="rId23"/>
    <p:sldLayoutId id="2147484498" r:id="rId24"/>
    <p:sldLayoutId id="2147484499" r:id="rId25"/>
    <p:sldLayoutId id="2147484500" r:id="rId26"/>
    <p:sldLayoutId id="2147484501" r:id="rId27"/>
    <p:sldLayoutId id="2147484502" r:id="rId28"/>
    <p:sldLayoutId id="2147484503" r:id="rId29"/>
    <p:sldLayoutId id="2147484504" r:id="rId30"/>
    <p:sldLayoutId id="2147484505" r:id="rId31"/>
    <p:sldLayoutId id="2147484506" r:id="rId32"/>
    <p:sldLayoutId id="2147484507" r:id="rId33"/>
    <p:sldLayoutId id="2147484508" r:id="rId34"/>
    <p:sldLayoutId id="2147484509" r:id="rId35"/>
    <p:sldLayoutId id="2147484510" r:id="rId36"/>
    <p:sldLayoutId id="2147484511" r:id="rId37"/>
    <p:sldLayoutId id="2147484512" r:id="rId38"/>
    <p:sldLayoutId id="2147484513" r:id="rId39"/>
    <p:sldLayoutId id="2147484514" r:id="rId40"/>
    <p:sldLayoutId id="2147484515" r:id="rId41"/>
    <p:sldLayoutId id="2147484516" r:id="rId42"/>
    <p:sldLayoutId id="2147484517"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Border"/>
          <p:cNvGrpSpPr/>
          <p:nvPr userDrawn="1"/>
        </p:nvGrpSpPr>
        <p:grpSpPr>
          <a:xfrm>
            <a:off x="-287" y="0"/>
            <a:ext cx="12189399" cy="6858000"/>
            <a:chOff x="-287" y="0"/>
            <a:chExt cx="12189399" cy="6858000"/>
          </a:xfrm>
        </p:grpSpPr>
        <p:sp>
          <p:nvSpPr>
            <p:cNvPr id="8" name="Rectangle 7"/>
            <p:cNvSpPr/>
            <p:nvPr/>
          </p:nvSpPr>
          <p:spPr bwMode="gray">
            <a:xfrm>
              <a:off x="-287" y="0"/>
              <a:ext cx="193962"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11995151" y="5854"/>
              <a:ext cx="193960" cy="68521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286"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286"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pic>
        <p:nvPicPr>
          <p:cNvPr id="19" name="Oracle red badge logo" descr="Oracle logo in white on red staging background"/>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bwMode="ltGray">
          <a:xfrm>
            <a:off x="531812" y="6263640"/>
            <a:ext cx="1622861" cy="594360"/>
          </a:xfrm>
          <a:prstGeom prst="rect">
            <a:avLst/>
          </a:prstGeom>
        </p:spPr>
      </p:pic>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563214" y="6556248"/>
            <a:ext cx="1226398" cy="182880"/>
          </a:xfrm>
          <a:prstGeom prst="rect">
            <a:avLst/>
          </a:prstGeom>
        </p:spPr>
        <p:txBody>
          <a:bodyPr vert="horz" wrap="none" lIns="0" tIns="0" rIns="0" bIns="0" rtlCol="0" anchor="ctr"/>
          <a:lstStyle>
            <a:lvl1pPr algn="r">
              <a:defRPr sz="800">
                <a:solidFill>
                  <a:schemeClr val="tx1">
                    <a:lumMod val="60000"/>
                    <a:lumOff val="40000"/>
                  </a:schemeClr>
                </a:solidFill>
              </a:defRPr>
            </a:lvl1pPr>
          </a:lstStyle>
          <a:p>
            <a:pPr defTabSz="914400"/>
            <a:fld id="{1EE11BFD-AD4C-4A98-9D38-1958507EA4E5}" type="datetime1">
              <a:rPr lang="en-US">
                <a:solidFill>
                  <a:srgbClr val="5F5F5F">
                    <a:lumMod val="60000"/>
                    <a:lumOff val="40000"/>
                  </a:srgbClr>
                </a:solidFill>
              </a:rPr>
              <a:pPr defTabSz="914400"/>
              <a:t>11/10/2016</a:t>
            </a:fld>
            <a:endParaRPr dirty="0">
              <a:solidFill>
                <a:srgbClr val="5F5F5F">
                  <a:lumMod val="60000"/>
                  <a:lumOff val="40000"/>
                </a:srgbClr>
              </a:solidFill>
            </a:endParaRPr>
          </a:p>
        </p:txBody>
      </p:sp>
      <p:sp>
        <p:nvSpPr>
          <p:cNvPr id="15" name="TextBox 14"/>
          <p:cNvSpPr txBox="1"/>
          <p:nvPr/>
        </p:nvSpPr>
        <p:spPr>
          <a:xfrm>
            <a:off x="5989638" y="6556248"/>
            <a:ext cx="2787651" cy="182880"/>
          </a:xfrm>
          <a:prstGeom prst="rect">
            <a:avLst/>
          </a:prstGeom>
          <a:noFill/>
        </p:spPr>
        <p:txBody>
          <a:bodyPr wrap="none" lIns="0" tIns="0" rIns="0" bIns="0" rtlCol="0" anchor="ctr" anchorCtr="0">
            <a:noAutofit/>
          </a:bodyPr>
          <a:lstStyle/>
          <a:p>
            <a:pPr defTabSz="914400"/>
            <a:r>
              <a:rPr sz="800" dirty="0">
                <a:solidFill>
                  <a:srgbClr val="5F5F5F">
                    <a:lumMod val="60000"/>
                    <a:lumOff val="40000"/>
                  </a:srgbClr>
                </a:solidFill>
              </a:rPr>
              <a:t>Copyright © 2014 Oracle and/or its affiliates. All rights reserved.  |</a:t>
            </a:r>
          </a:p>
        </p:txBody>
      </p:sp>
      <p:sp>
        <p:nvSpPr>
          <p:cNvPr id="5" name="Footer Placeholder 4"/>
          <p:cNvSpPr>
            <a:spLocks noGrp="1"/>
          </p:cNvSpPr>
          <p:nvPr>
            <p:ph type="ftr" sz="quarter" idx="3"/>
          </p:nvPr>
        </p:nvSpPr>
        <p:spPr>
          <a:xfrm>
            <a:off x="8777289" y="6556248"/>
            <a:ext cx="2498723" cy="182880"/>
          </a:xfrm>
          <a:prstGeom prst="rect">
            <a:avLst/>
          </a:prstGeom>
        </p:spPr>
        <p:txBody>
          <a:bodyPr vert="horz" wrap="none" lIns="0" tIns="0" rIns="0" bIns="0" rtlCol="0" anchor="ctr"/>
          <a:lstStyle>
            <a:lvl1pPr algn="l">
              <a:defRPr sz="800">
                <a:solidFill>
                  <a:schemeClr val="tx1">
                    <a:lumMod val="60000"/>
                    <a:lumOff val="40000"/>
                  </a:schemeClr>
                </a:solidFill>
              </a:defRPr>
            </a:lvl1pPr>
          </a:lstStyle>
          <a:p>
            <a:pPr defTabSz="914400"/>
            <a:r>
              <a:rPr dirty="0">
                <a:solidFill>
                  <a:srgbClr val="5F5F5F">
                    <a:lumMod val="60000"/>
                    <a:lumOff val="40000"/>
                  </a:srgbClr>
                </a:solidFill>
              </a:rPr>
              <a:t>Oracle Confidential – Internal/Restricted/Highly Restricted</a:t>
            </a: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lstStyle>
            <a:lvl1pPr algn="r">
              <a:defRPr sz="800">
                <a:solidFill>
                  <a:schemeClr val="tx1">
                    <a:lumMod val="60000"/>
                    <a:lumOff val="40000"/>
                  </a:schemeClr>
                </a:solidFill>
              </a:defRPr>
            </a:lvl1pPr>
          </a:lstStyle>
          <a:p>
            <a:pPr defTabSz="914400"/>
            <a:fld id="{C51EAA63-D034-42AE-91FA-B13B9518C7BE}" type="slidenum">
              <a:rPr>
                <a:solidFill>
                  <a:srgbClr val="5F5F5F">
                    <a:lumMod val="60000"/>
                    <a:lumOff val="40000"/>
                  </a:srgbClr>
                </a:solidFill>
              </a:rPr>
              <a:pPr defTabSz="914400"/>
              <a:t>‹#›</a:t>
            </a:fld>
            <a:endParaRPr dirty="0">
              <a:solidFill>
                <a:srgbClr val="5F5F5F">
                  <a:lumMod val="60000"/>
                  <a:lumOff val="40000"/>
                </a:srgbClr>
              </a:solidFill>
            </a:endParaRPr>
          </a:p>
        </p:txBody>
      </p:sp>
    </p:spTree>
    <p:extLst>
      <p:ext uri="{BB962C8B-B14F-4D97-AF65-F5344CB8AC3E}">
        <p14:creationId xmlns:p14="http://schemas.microsoft.com/office/powerpoint/2010/main" val="1724557162"/>
      </p:ext>
    </p:extLst>
  </p:cSld>
  <p:clrMap bg1="lt1" tx1="dk1" bg2="lt2" tx2="dk2" accent1="accent1" accent2="accent2" accent3="accent3" accent4="accent4" accent5="accent5" accent6="accent6" hlink="hlink" folHlink="folHlink"/>
  <p:sldLayoutIdLst>
    <p:sldLayoutId id="2147484519" r:id="rId1"/>
    <p:sldLayoutId id="2147484520" r:id="rId2"/>
    <p:sldLayoutId id="2147484521" r:id="rId3"/>
    <p:sldLayoutId id="2147484522" r:id="rId4"/>
    <p:sldLayoutId id="2147484523" r:id="rId5"/>
    <p:sldLayoutId id="2147484524" r:id="rId6"/>
    <p:sldLayoutId id="2147484525" r:id="rId7"/>
    <p:sldLayoutId id="2147484526" r:id="rId8"/>
    <p:sldLayoutId id="2147484527" r:id="rId9"/>
    <p:sldLayoutId id="2147484528" r:id="rId10"/>
    <p:sldLayoutId id="2147484529" r:id="rId11"/>
    <p:sldLayoutId id="2147484530" r:id="rId12"/>
    <p:sldLayoutId id="2147484531" r:id="rId13"/>
    <p:sldLayoutId id="2147484532" r:id="rId14"/>
    <p:sldLayoutId id="2147484533" r:id="rId15"/>
    <p:sldLayoutId id="2147484534" r:id="rId16"/>
    <p:sldLayoutId id="2147484535" r:id="rId17"/>
    <p:sldLayoutId id="2147484536" r:id="rId18"/>
    <p:sldLayoutId id="2147484537" r:id="rId19"/>
    <p:sldLayoutId id="2147484538" r:id="rId20"/>
    <p:sldLayoutId id="2147484539" r:id="rId21"/>
    <p:sldLayoutId id="2147484540" r:id="rId22"/>
    <p:sldLayoutId id="2147484541" r:id="rId23"/>
    <p:sldLayoutId id="2147484542" r:id="rId24"/>
    <p:sldLayoutId id="2147484543" r:id="rId25"/>
    <p:sldLayoutId id="2147484544" r:id="rId26"/>
    <p:sldLayoutId id="2147484545" r:id="rId27"/>
    <p:sldLayoutId id="2147484546" r:id="rId28"/>
    <p:sldLayoutId id="2147484547" r:id="rId29"/>
    <p:sldLayoutId id="2147484548" r:id="rId30"/>
    <p:sldLayoutId id="2147484549" r:id="rId31"/>
    <p:sldLayoutId id="2147484550" r:id="rId32"/>
    <p:sldLayoutId id="2147484551" r:id="rId33"/>
    <p:sldLayoutId id="2147484552" r:id="rId34"/>
    <p:sldLayoutId id="2147484553" r:id="rId35"/>
    <p:sldLayoutId id="2147484554" r:id="rId36"/>
    <p:sldLayoutId id="2147484555" r:id="rId37"/>
    <p:sldLayoutId id="2147484556" r:id="rId38"/>
    <p:sldLayoutId id="2147484557" r:id="rId39"/>
    <p:sldLayoutId id="2147484558"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guide id="3" orient="horz" pos="412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0"/>
            <a:ext cx="12189398" cy="6858000"/>
            <a:chOff x="0" y="0"/>
            <a:chExt cx="12189398" cy="6858000"/>
          </a:xfrm>
        </p:grpSpPr>
        <p:sp>
          <p:nvSpPr>
            <p:cNvPr id="8" name="Rectangle 7"/>
            <p:cNvSpPr/>
            <p:nvPr/>
          </p:nvSpPr>
          <p:spPr bwMode="gray">
            <a:xfrm>
              <a:off x="0" y="0"/>
              <a:ext cx="193962"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11995151" y="0"/>
              <a:ext cx="19396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0"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0"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F58637A1-2757-41E8-AD98-43E9D0558D9A}" type="datetime1">
              <a:rPr lang="en-US" smtClean="0">
                <a:solidFill>
                  <a:srgbClr val="5F5F5F"/>
                </a:solidFill>
              </a:rPr>
              <a:pPr defTabSz="914400"/>
              <a:t>11/10/2016</a:t>
            </a:fld>
            <a:endParaRPr lang="en-US" dirty="0">
              <a:solidFill>
                <a:srgbClr val="5F5F5F"/>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F5F5F"/>
                </a:solidFill>
              </a:rPr>
              <a:pPr defTabSz="914400"/>
              <a:t>‹#›</a:t>
            </a:fld>
            <a:endParaRPr lang="en-US" dirty="0">
              <a:solidFill>
                <a:srgbClr val="5F5F5F"/>
              </a:solidFill>
            </a:endParaRPr>
          </a:p>
        </p:txBody>
      </p:sp>
      <p:sp>
        <p:nvSpPr>
          <p:cNvPr id="15" name="TextBox 14"/>
          <p:cNvSpPr txBox="1"/>
          <p:nvPr/>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387436066"/>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67" r:id="rId8"/>
    <p:sldLayoutId id="2147484568" r:id="rId9"/>
    <p:sldLayoutId id="2147484569" r:id="rId10"/>
    <p:sldLayoutId id="2147484570" r:id="rId11"/>
    <p:sldLayoutId id="2147484571" r:id="rId12"/>
    <p:sldLayoutId id="2147484572" r:id="rId13"/>
    <p:sldLayoutId id="2147484573" r:id="rId14"/>
    <p:sldLayoutId id="2147484574" r:id="rId15"/>
    <p:sldLayoutId id="2147484575" r:id="rId16"/>
    <p:sldLayoutId id="2147484576" r:id="rId17"/>
    <p:sldLayoutId id="2147484577" r:id="rId18"/>
    <p:sldLayoutId id="2147484578" r:id="rId19"/>
    <p:sldLayoutId id="2147484579" r:id="rId20"/>
    <p:sldLayoutId id="2147484580" r:id="rId21"/>
    <p:sldLayoutId id="2147484581" r:id="rId22"/>
    <p:sldLayoutId id="2147484582" r:id="rId23"/>
    <p:sldLayoutId id="2147484583" r:id="rId24"/>
    <p:sldLayoutId id="2147484584" r:id="rId25"/>
    <p:sldLayoutId id="2147484585" r:id="rId26"/>
    <p:sldLayoutId id="2147484586" r:id="rId27"/>
    <p:sldLayoutId id="2147484587" r:id="rId28"/>
    <p:sldLayoutId id="2147484588" r:id="rId29"/>
    <p:sldLayoutId id="2147484589" r:id="rId30"/>
    <p:sldLayoutId id="2147484590" r:id="rId31"/>
    <p:sldLayoutId id="2147484591" r:id="rId32"/>
    <p:sldLayoutId id="2147484592" r:id="rId33"/>
    <p:sldLayoutId id="2147484593" r:id="rId34"/>
    <p:sldLayoutId id="2147484594" r:id="rId35"/>
    <p:sldLayoutId id="2147484595" r:id="rId36"/>
    <p:sldLayoutId id="2147484596" r:id="rId37"/>
    <p:sldLayoutId id="2147484597" r:id="rId38"/>
    <p:sldLayoutId id="2147484598" r:id="rId39"/>
    <p:sldLayoutId id="2147484599" r:id="rId40"/>
    <p:sldLayoutId id="2147484600" r:id="rId41"/>
    <p:sldLayoutId id="2147484601" r:id="rId42"/>
    <p:sldLayoutId id="2147484602" r:id="rId43"/>
    <p:sldLayoutId id="2147484603"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0"/>
            <a:ext cx="12189398" cy="6858000"/>
            <a:chOff x="0" y="0"/>
            <a:chExt cx="12189398" cy="6858000"/>
          </a:xfrm>
        </p:grpSpPr>
        <p:sp>
          <p:nvSpPr>
            <p:cNvPr id="8" name="Rectangle 7"/>
            <p:cNvSpPr/>
            <p:nvPr/>
          </p:nvSpPr>
          <p:spPr bwMode="gray">
            <a:xfrm>
              <a:off x="0" y="0"/>
              <a:ext cx="193962"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11995151" y="0"/>
              <a:ext cx="19396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0"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0"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F58637A1-2757-41E8-AD98-43E9D0558D9A}" type="datetime1">
              <a:rPr lang="en-US" smtClean="0">
                <a:solidFill>
                  <a:srgbClr val="5F5F5F"/>
                </a:solidFill>
              </a:rPr>
              <a:pPr defTabSz="914400"/>
              <a:t>11/10/2016</a:t>
            </a:fld>
            <a:endParaRPr lang="en-US" dirty="0">
              <a:solidFill>
                <a:srgbClr val="5F5F5F"/>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F5F5F"/>
                </a:solidFill>
              </a:rPr>
              <a:pPr defTabSz="914400"/>
              <a:t>‹#›</a:t>
            </a:fld>
            <a:endParaRPr lang="en-US" dirty="0">
              <a:solidFill>
                <a:srgbClr val="5F5F5F"/>
              </a:solidFill>
            </a:endParaRPr>
          </a:p>
        </p:txBody>
      </p:sp>
      <p:sp>
        <p:nvSpPr>
          <p:cNvPr id="15" name="TextBox 14"/>
          <p:cNvSpPr txBox="1"/>
          <p:nvPr/>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177422724"/>
      </p:ext>
    </p:extLst>
  </p:cSld>
  <p:clrMap bg1="lt1" tx1="dk1" bg2="lt2" tx2="dk2" accent1="accent1" accent2="accent2" accent3="accent3" accent4="accent4" accent5="accent5" accent6="accent6" hlink="hlink" folHlink="folHlink"/>
  <p:sldLayoutIdLst>
    <p:sldLayoutId id="2147484605" r:id="rId1"/>
    <p:sldLayoutId id="2147484606" r:id="rId2"/>
    <p:sldLayoutId id="2147484607" r:id="rId3"/>
    <p:sldLayoutId id="2147484608" r:id="rId4"/>
    <p:sldLayoutId id="2147484609" r:id="rId5"/>
    <p:sldLayoutId id="2147484610" r:id="rId6"/>
    <p:sldLayoutId id="2147484611" r:id="rId7"/>
    <p:sldLayoutId id="2147484612" r:id="rId8"/>
    <p:sldLayoutId id="2147484613" r:id="rId9"/>
    <p:sldLayoutId id="2147484614" r:id="rId10"/>
    <p:sldLayoutId id="2147484615" r:id="rId11"/>
    <p:sldLayoutId id="2147484616" r:id="rId12"/>
    <p:sldLayoutId id="2147484617" r:id="rId13"/>
    <p:sldLayoutId id="2147484618" r:id="rId14"/>
    <p:sldLayoutId id="2147484619" r:id="rId15"/>
    <p:sldLayoutId id="2147484620" r:id="rId16"/>
    <p:sldLayoutId id="2147484621" r:id="rId17"/>
    <p:sldLayoutId id="2147484622" r:id="rId18"/>
    <p:sldLayoutId id="2147484623" r:id="rId19"/>
    <p:sldLayoutId id="2147484624" r:id="rId20"/>
    <p:sldLayoutId id="2147484625" r:id="rId21"/>
    <p:sldLayoutId id="2147484626" r:id="rId22"/>
    <p:sldLayoutId id="2147484627" r:id="rId23"/>
    <p:sldLayoutId id="2147484628" r:id="rId24"/>
    <p:sldLayoutId id="2147484629" r:id="rId25"/>
    <p:sldLayoutId id="2147484630" r:id="rId26"/>
    <p:sldLayoutId id="2147484631" r:id="rId27"/>
    <p:sldLayoutId id="2147484632" r:id="rId28"/>
    <p:sldLayoutId id="2147484633" r:id="rId29"/>
    <p:sldLayoutId id="2147484634" r:id="rId30"/>
    <p:sldLayoutId id="2147484635" r:id="rId31"/>
    <p:sldLayoutId id="2147484636" r:id="rId32"/>
    <p:sldLayoutId id="2147484637" r:id="rId33"/>
    <p:sldLayoutId id="2147484638" r:id="rId34"/>
    <p:sldLayoutId id="2147484639" r:id="rId35"/>
    <p:sldLayoutId id="2147484640" r:id="rId36"/>
    <p:sldLayoutId id="2147484641" r:id="rId37"/>
    <p:sldLayoutId id="2147484642" r:id="rId38"/>
    <p:sldLayoutId id="2147484643" r:id="rId39"/>
    <p:sldLayoutId id="2147484644" r:id="rId40"/>
    <p:sldLayoutId id="2147484645" r:id="rId41"/>
    <p:sldLayoutId id="2147484646" r:id="rId42"/>
    <p:sldLayoutId id="2147484647" r:id="rId43"/>
    <p:sldLayoutId id="2147484648"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0"/>
            <a:ext cx="12189398" cy="6858000"/>
            <a:chOff x="0" y="0"/>
            <a:chExt cx="12189398" cy="6858000"/>
          </a:xfrm>
        </p:grpSpPr>
        <p:sp>
          <p:nvSpPr>
            <p:cNvPr id="8" name="Rectangle 7"/>
            <p:cNvSpPr/>
            <p:nvPr/>
          </p:nvSpPr>
          <p:spPr bwMode="gray">
            <a:xfrm>
              <a:off x="0" y="0"/>
              <a:ext cx="193962"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11995151" y="0"/>
              <a:ext cx="19396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0"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0"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F58637A1-2757-41E8-AD98-43E9D0558D9A}" type="datetime1">
              <a:rPr lang="en-US" smtClean="0">
                <a:solidFill>
                  <a:srgbClr val="5F5F5F"/>
                </a:solidFill>
              </a:rPr>
              <a:pPr defTabSz="914400"/>
              <a:t>11/10/2016</a:t>
            </a:fld>
            <a:endParaRPr lang="en-US" dirty="0">
              <a:solidFill>
                <a:srgbClr val="5F5F5F"/>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F5F5F"/>
                </a:solidFill>
              </a:rPr>
              <a:t>Oracle Confidential – Internal/Restricted/Highly Restricted</a:t>
            </a:r>
            <a:endParaRPr lang="en-US" dirty="0">
              <a:solidFill>
                <a:srgbClr val="5F5F5F"/>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F5F5F"/>
                </a:solidFill>
              </a:rPr>
              <a:pPr defTabSz="914400"/>
              <a:t>‹#›</a:t>
            </a:fld>
            <a:endParaRPr lang="en-US" dirty="0">
              <a:solidFill>
                <a:srgbClr val="5F5F5F"/>
              </a:solidFill>
            </a:endParaRPr>
          </a:p>
        </p:txBody>
      </p:sp>
      <p:sp>
        <p:nvSpPr>
          <p:cNvPr id="15" name="TextBox 14"/>
          <p:cNvSpPr txBox="1"/>
          <p:nvPr/>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624909847"/>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 id="2147484670" r:id="rId21"/>
    <p:sldLayoutId id="2147484671" r:id="rId22"/>
    <p:sldLayoutId id="2147484672" r:id="rId23"/>
    <p:sldLayoutId id="2147484673" r:id="rId24"/>
    <p:sldLayoutId id="2147484674" r:id="rId25"/>
    <p:sldLayoutId id="2147484675" r:id="rId26"/>
    <p:sldLayoutId id="2147484676" r:id="rId27"/>
    <p:sldLayoutId id="2147484677" r:id="rId28"/>
    <p:sldLayoutId id="2147484678" r:id="rId29"/>
    <p:sldLayoutId id="2147484679" r:id="rId30"/>
    <p:sldLayoutId id="2147484680" r:id="rId31"/>
    <p:sldLayoutId id="2147484681" r:id="rId32"/>
    <p:sldLayoutId id="2147484682" r:id="rId33"/>
    <p:sldLayoutId id="2147484683" r:id="rId34"/>
    <p:sldLayoutId id="2147484684" r:id="rId35"/>
    <p:sldLayoutId id="2147484685" r:id="rId36"/>
    <p:sldLayoutId id="2147484686" r:id="rId37"/>
    <p:sldLayoutId id="2147484687" r:id="rId38"/>
    <p:sldLayoutId id="2147484688" r:id="rId39"/>
    <p:sldLayoutId id="2147484689" r:id="rId40"/>
    <p:sldLayoutId id="2147484690" r:id="rId41"/>
    <p:sldLayoutId id="2147484691"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Rectangle 1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2FEA922B-34CC-A746-ABF0-D1ED97CD7A6C}" type="datetime1">
              <a:rPr lang="en-US" smtClean="0">
                <a:solidFill>
                  <a:srgbClr val="58595B"/>
                </a:solidFill>
              </a:rPr>
              <a:pPr defTabSz="914400"/>
              <a:t>11/10/2016</a:t>
            </a:fld>
            <a:endParaRPr lang="en-US" dirty="0">
              <a:solidFill>
                <a:srgbClr val="58595B"/>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8595B"/>
                </a:solidFill>
              </a:rPr>
              <a:t>Confidential – Oracle Internal/Restricted/Highly Restricted</a:t>
            </a:r>
            <a:endParaRPr lang="en-US" dirty="0">
              <a:solidFill>
                <a:srgbClr val="58595B"/>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8595B"/>
                </a:solidFill>
              </a:rPr>
              <a:pPr defTabSz="914400"/>
              <a:t>‹#›</a:t>
            </a:fld>
            <a:endParaRPr lang="en-US" dirty="0">
              <a:solidFill>
                <a:srgbClr val="58595B"/>
              </a:solidFill>
            </a:endParaRPr>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6" name="Picture 15" descr="Oracle logo in white on red staging background"/>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608089892"/>
      </p:ext>
    </p:extLst>
  </p:cSld>
  <p:clrMap bg1="lt1" tx1="dk1" bg2="lt2" tx2="dk2" accent1="accent1" accent2="accent2" accent3="accent3" accent4="accent4" accent5="accent5" accent6="accent6" hlink="hlink" folHlink="folHlink"/>
  <p:sldLayoutIdLst>
    <p:sldLayoutId id="2147484693" r:id="rId1"/>
    <p:sldLayoutId id="2147484694" r:id="rId2"/>
    <p:sldLayoutId id="2147484695" r:id="rId3"/>
    <p:sldLayoutId id="2147484696" r:id="rId4"/>
    <p:sldLayoutId id="2147484697" r:id="rId5"/>
    <p:sldLayoutId id="2147484698" r:id="rId6"/>
    <p:sldLayoutId id="2147484699" r:id="rId7"/>
    <p:sldLayoutId id="2147484700" r:id="rId8"/>
    <p:sldLayoutId id="2147484701" r:id="rId9"/>
    <p:sldLayoutId id="2147484702"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 id="2147484713" r:id="rId21"/>
    <p:sldLayoutId id="2147484714" r:id="rId22"/>
    <p:sldLayoutId id="2147484715" r:id="rId23"/>
    <p:sldLayoutId id="2147484716" r:id="rId24"/>
    <p:sldLayoutId id="2147484717" r:id="rId25"/>
    <p:sldLayoutId id="2147484718" r:id="rId26"/>
    <p:sldLayoutId id="2147484719" r:id="rId27"/>
    <p:sldLayoutId id="2147484720" r:id="rId28"/>
    <p:sldLayoutId id="2147484721" r:id="rId29"/>
    <p:sldLayoutId id="2147484722" r:id="rId30"/>
    <p:sldLayoutId id="2147484723" r:id="rId31"/>
    <p:sldLayoutId id="2147484724" r:id="rId32"/>
    <p:sldLayoutId id="2147484725" r:id="rId33"/>
    <p:sldLayoutId id="2147484726" r:id="rId34"/>
    <p:sldLayoutId id="2147484727" r:id="rId35"/>
    <p:sldLayoutId id="2147484728" r:id="rId36"/>
    <p:sldLayoutId id="2147484729" r:id="rId37"/>
    <p:sldLayoutId id="2147484730" r:id="rId38"/>
    <p:sldLayoutId id="2147484731" r:id="rId39"/>
    <p:sldLayoutId id="2147484732" r:id="rId40"/>
    <p:sldLayoutId id="2147484733" r:id="rId41"/>
    <p:sldLayoutId id="2147484734" r:id="rId42"/>
    <p:sldLayoutId id="2147484735" r:id="rId43"/>
    <p:sldLayoutId id="2147484736" r:id="rId44"/>
    <p:sldLayoutId id="2147484737" r:id="rId45"/>
    <p:sldLayoutId id="2147484738" r:id="rId46"/>
    <p:sldLayoutId id="2147484739" r:id="rId47"/>
    <p:sldLayoutId id="2147484740" r:id="rId48"/>
    <p:sldLayoutId id="2147484741" r:id="rId49"/>
    <p:sldLayoutId id="2147484742"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pSp>
        <p:nvGrpSpPr>
          <p:cNvPr id="3" name="Group 38"/>
          <p:cNvGrpSpPr>
            <a:grpSpLocks/>
          </p:cNvGrpSpPr>
          <p:nvPr userDrawn="1"/>
        </p:nvGrpSpPr>
        <p:grpSpPr bwMode="auto">
          <a:xfrm>
            <a:off x="7800002" y="6288617"/>
            <a:ext cx="4026968" cy="353483"/>
            <a:chOff x="3522" y="3986"/>
            <a:chExt cx="1903" cy="223"/>
          </a:xfrm>
        </p:grpSpPr>
        <p:sp>
          <p:nvSpPr>
            <p:cNvPr id="1032" name="Rectangle 28"/>
            <p:cNvSpPr>
              <a:spLocks noChangeAspect="1" noChangeArrowheads="1"/>
            </p:cNvSpPr>
            <p:nvPr userDrawn="1"/>
          </p:nvSpPr>
          <p:spPr bwMode="auto">
            <a:xfrm>
              <a:off x="3758" y="4054"/>
              <a:ext cx="151" cy="152"/>
            </a:xfrm>
            <a:prstGeom prst="rect">
              <a:avLst/>
            </a:prstGeom>
            <a:solidFill>
              <a:srgbClr val="FF6600"/>
            </a:solidFill>
            <a:ln>
              <a:noFill/>
            </a:ln>
            <a:extLst/>
          </p:spPr>
          <p:txBody>
            <a:bodyPr wrap="none" anchor="ctr"/>
            <a:lstStyle>
              <a:lvl1pPr eaLnBrk="0" hangingPunct="0">
                <a:defRPr sz="2000">
                  <a:solidFill>
                    <a:schemeClr val="tx1"/>
                  </a:solidFill>
                  <a:latin typeface="Univers LT 55" pitchFamily="2" charset="0"/>
                  <a:cs typeface="Arial" charset="0"/>
                </a:defRPr>
              </a:lvl1pPr>
              <a:lvl2pPr marL="742950" indent="-285750" eaLnBrk="0" hangingPunct="0">
                <a:defRPr sz="2000">
                  <a:solidFill>
                    <a:schemeClr val="tx1"/>
                  </a:solidFill>
                  <a:latin typeface="Univers LT 55" pitchFamily="2" charset="0"/>
                  <a:cs typeface="Arial" charset="0"/>
                </a:defRPr>
              </a:lvl2pPr>
              <a:lvl3pPr marL="1143000" indent="-228600" eaLnBrk="0" hangingPunct="0">
                <a:defRPr sz="2000">
                  <a:solidFill>
                    <a:schemeClr val="tx1"/>
                  </a:solidFill>
                  <a:latin typeface="Univers LT 55" pitchFamily="2" charset="0"/>
                  <a:cs typeface="Arial" charset="0"/>
                </a:defRPr>
              </a:lvl3pPr>
              <a:lvl4pPr marL="1600200" indent="-228600" eaLnBrk="0" hangingPunct="0">
                <a:defRPr sz="2000">
                  <a:solidFill>
                    <a:schemeClr val="tx1"/>
                  </a:solidFill>
                  <a:latin typeface="Univers LT 55" pitchFamily="2" charset="0"/>
                  <a:cs typeface="Arial" charset="0"/>
                </a:defRPr>
              </a:lvl4pPr>
              <a:lvl5pPr marL="2057400" indent="-228600" eaLnBrk="0" hangingPunct="0">
                <a:defRPr sz="2000">
                  <a:solidFill>
                    <a:schemeClr val="tx1"/>
                  </a:solidFill>
                  <a:latin typeface="Univers LT 55" pitchFamily="2" charset="0"/>
                  <a:cs typeface="Arial" charset="0"/>
                </a:defRPr>
              </a:lvl5pPr>
              <a:lvl6pPr marL="2514600" indent="-228600" defTabSz="912813" eaLnBrk="0" fontAlgn="base" hangingPunct="0">
                <a:spcBef>
                  <a:spcPct val="0"/>
                </a:spcBef>
                <a:spcAft>
                  <a:spcPct val="0"/>
                </a:spcAft>
                <a:defRPr sz="2000">
                  <a:solidFill>
                    <a:schemeClr val="tx1"/>
                  </a:solidFill>
                  <a:latin typeface="Univers LT 55" pitchFamily="2" charset="0"/>
                  <a:cs typeface="Arial" charset="0"/>
                </a:defRPr>
              </a:lvl6pPr>
              <a:lvl7pPr marL="2971800" indent="-228600" defTabSz="912813" eaLnBrk="0" fontAlgn="base" hangingPunct="0">
                <a:spcBef>
                  <a:spcPct val="0"/>
                </a:spcBef>
                <a:spcAft>
                  <a:spcPct val="0"/>
                </a:spcAft>
                <a:defRPr sz="2000">
                  <a:solidFill>
                    <a:schemeClr val="tx1"/>
                  </a:solidFill>
                  <a:latin typeface="Univers LT 55" pitchFamily="2" charset="0"/>
                  <a:cs typeface="Arial" charset="0"/>
                </a:defRPr>
              </a:lvl7pPr>
              <a:lvl8pPr marL="3429000" indent="-228600" defTabSz="912813" eaLnBrk="0" fontAlgn="base" hangingPunct="0">
                <a:spcBef>
                  <a:spcPct val="0"/>
                </a:spcBef>
                <a:spcAft>
                  <a:spcPct val="0"/>
                </a:spcAft>
                <a:defRPr sz="2000">
                  <a:solidFill>
                    <a:schemeClr val="tx1"/>
                  </a:solidFill>
                  <a:latin typeface="Univers LT 55" pitchFamily="2" charset="0"/>
                  <a:cs typeface="Arial" charset="0"/>
                </a:defRPr>
              </a:lvl8pPr>
              <a:lvl9pPr marL="3886200" indent="-228600" defTabSz="912813" eaLnBrk="0" fontAlgn="base" hangingPunct="0">
                <a:spcBef>
                  <a:spcPct val="0"/>
                </a:spcBef>
                <a:spcAft>
                  <a:spcPct val="0"/>
                </a:spcAft>
                <a:defRPr sz="2000">
                  <a:solidFill>
                    <a:schemeClr val="tx1"/>
                  </a:solidFill>
                  <a:latin typeface="Univers LT 55" pitchFamily="2" charset="0"/>
                  <a:cs typeface="Arial" charset="0"/>
                </a:defRPr>
              </a:lvl9pPr>
            </a:lstStyle>
            <a:p>
              <a:pPr defTabSz="1216871" eaLnBrk="1" fontAlgn="base" hangingPunct="1">
                <a:spcBef>
                  <a:spcPct val="0"/>
                </a:spcBef>
                <a:spcAft>
                  <a:spcPct val="0"/>
                </a:spcAft>
                <a:defRPr/>
              </a:pPr>
              <a:endParaRPr lang="en-US" altLang="en-US" smtClean="0">
                <a:solidFill>
                  <a:srgbClr val="333333"/>
                </a:solidFill>
                <a:latin typeface="Arial" charset="0"/>
              </a:endParaRPr>
            </a:p>
          </p:txBody>
        </p:sp>
        <p:pic>
          <p:nvPicPr>
            <p:cNvPr id="2" name="Picture 1" descr="C:\Documents and Settings\x\Desktop\C2 Fiserv 09\iStock_000005452121Large.jpg"/>
            <p:cNvPicPr>
              <a:picLocks noChangeAspect="1" noChangeArrowheads="1"/>
            </p:cNvPicPr>
            <p:nvPr userDrawn="1"/>
          </p:nvPicPr>
          <p:blipFill>
            <a:blip r:embed="rId14" cstate="print"/>
            <a:srcRect/>
            <a:stretch>
              <a:fillRect/>
            </a:stretch>
          </p:blipFill>
          <p:spPr bwMode="auto">
            <a:xfrm>
              <a:off x="4702" y="4054"/>
              <a:ext cx="150" cy="152"/>
            </a:xfrm>
            <a:prstGeom prst="rect">
              <a:avLst/>
            </a:prstGeom>
            <a:noFill/>
            <a:ln w="9525">
              <a:noFill/>
              <a:miter lim="800000"/>
              <a:headEnd/>
              <a:tailEnd/>
            </a:ln>
          </p:spPr>
        </p:pic>
        <p:pic>
          <p:nvPicPr>
            <p:cNvPr id="1033" name="Picture 30" descr="Risk_Compliance-SQ"/>
            <p:cNvPicPr>
              <a:picLocks noChangeArrowheads="1"/>
            </p:cNvPicPr>
            <p:nvPr userDrawn="1"/>
          </p:nvPicPr>
          <p:blipFill>
            <a:blip r:embed="rId15" cstate="print"/>
            <a:srcRect/>
            <a:stretch>
              <a:fillRect/>
            </a:stretch>
          </p:blipFill>
          <p:spPr bwMode="auto">
            <a:xfrm>
              <a:off x="3522" y="4054"/>
              <a:ext cx="152" cy="152"/>
            </a:xfrm>
            <a:prstGeom prst="rect">
              <a:avLst/>
            </a:prstGeom>
            <a:noFill/>
            <a:ln w="9525">
              <a:noFill/>
              <a:miter lim="800000"/>
              <a:headEnd/>
              <a:tailEnd/>
            </a:ln>
          </p:spPr>
        </p:pic>
        <p:pic>
          <p:nvPicPr>
            <p:cNvPr id="1034" name="Picture 31" descr="Processing_Services-SQ"/>
            <p:cNvPicPr>
              <a:picLocks noChangeAspect="1" noChangeArrowheads="1"/>
            </p:cNvPicPr>
            <p:nvPr userDrawn="1"/>
          </p:nvPicPr>
          <p:blipFill>
            <a:blip r:embed="rId16" cstate="print"/>
            <a:srcRect/>
            <a:stretch>
              <a:fillRect/>
            </a:stretch>
          </p:blipFill>
          <p:spPr bwMode="auto">
            <a:xfrm>
              <a:off x="3994" y="4054"/>
              <a:ext cx="152" cy="152"/>
            </a:xfrm>
            <a:prstGeom prst="rect">
              <a:avLst/>
            </a:prstGeom>
            <a:noFill/>
            <a:ln w="9525">
              <a:noFill/>
              <a:miter lim="800000"/>
              <a:headEnd/>
              <a:tailEnd/>
            </a:ln>
          </p:spPr>
        </p:pic>
        <p:pic>
          <p:nvPicPr>
            <p:cNvPr id="1035" name="Picture 32" descr="Intelligence_Optimization"/>
            <p:cNvPicPr>
              <a:picLocks noChangeAspect="1" noChangeArrowheads="1"/>
            </p:cNvPicPr>
            <p:nvPr userDrawn="1"/>
          </p:nvPicPr>
          <p:blipFill>
            <a:blip r:embed="rId17" cstate="print"/>
            <a:srcRect/>
            <a:stretch>
              <a:fillRect/>
            </a:stretch>
          </p:blipFill>
          <p:spPr bwMode="auto">
            <a:xfrm>
              <a:off x="4466" y="4054"/>
              <a:ext cx="151" cy="152"/>
            </a:xfrm>
            <a:prstGeom prst="rect">
              <a:avLst/>
            </a:prstGeom>
            <a:noFill/>
            <a:ln w="9525">
              <a:noFill/>
              <a:miter lim="800000"/>
              <a:headEnd/>
              <a:tailEnd/>
            </a:ln>
          </p:spPr>
        </p:pic>
        <p:pic>
          <p:nvPicPr>
            <p:cNvPr id="1036" name="Picture 33" descr="Customer_and_Channel-Getty_RF_74583036_5"/>
            <p:cNvPicPr>
              <a:picLocks noChangeAspect="1" noChangeArrowheads="1"/>
            </p:cNvPicPr>
            <p:nvPr userDrawn="1"/>
          </p:nvPicPr>
          <p:blipFill>
            <a:blip r:embed="rId18" cstate="print"/>
            <a:srcRect/>
            <a:stretch>
              <a:fillRect/>
            </a:stretch>
          </p:blipFill>
          <p:spPr bwMode="auto">
            <a:xfrm>
              <a:off x="4231" y="4054"/>
              <a:ext cx="150" cy="152"/>
            </a:xfrm>
            <a:prstGeom prst="rect">
              <a:avLst/>
            </a:prstGeom>
            <a:noFill/>
            <a:ln w="9525">
              <a:noFill/>
              <a:miter lim="800000"/>
              <a:headEnd/>
              <a:tailEnd/>
            </a:ln>
          </p:spPr>
        </p:pic>
        <p:pic>
          <p:nvPicPr>
            <p:cNvPr id="1037" name="Picture 34"/>
            <p:cNvPicPr>
              <a:picLocks noChangeAspect="1" noChangeArrowheads="1"/>
            </p:cNvPicPr>
            <p:nvPr userDrawn="1"/>
          </p:nvPicPr>
          <p:blipFill>
            <a:blip r:embed="rId19" cstate="print"/>
            <a:srcRect/>
            <a:stretch>
              <a:fillRect/>
            </a:stretch>
          </p:blipFill>
          <p:spPr bwMode="auto">
            <a:xfrm>
              <a:off x="4991" y="3986"/>
              <a:ext cx="434" cy="223"/>
            </a:xfrm>
            <a:prstGeom prst="rect">
              <a:avLst/>
            </a:prstGeom>
            <a:noFill/>
            <a:ln w="9525">
              <a:noFill/>
              <a:miter lim="800000"/>
              <a:headEnd/>
              <a:tailEnd/>
            </a:ln>
          </p:spPr>
        </p:pic>
      </p:grpSp>
      <p:sp>
        <p:nvSpPr>
          <p:cNvPr id="1027" name="Title Placeholder 1"/>
          <p:cNvSpPr>
            <a:spLocks noGrp="1"/>
          </p:cNvSpPr>
          <p:nvPr>
            <p:ph type="title"/>
          </p:nvPr>
        </p:nvSpPr>
        <p:spPr bwMode="auto">
          <a:xfrm>
            <a:off x="761802" y="425452"/>
            <a:ext cx="11033426" cy="603249"/>
          </a:xfrm>
          <a:prstGeom prst="rect">
            <a:avLst/>
          </a:prstGeom>
          <a:noFill/>
          <a:ln w="9525">
            <a:noFill/>
            <a:miter lim="800000"/>
            <a:headEnd/>
            <a:tailEnd/>
          </a:ln>
        </p:spPr>
        <p:txBody>
          <a:bodyPr vert="horz" wrap="square" lIns="121887" tIns="60944" rIns="121887" bIns="60944" numCol="1" anchor="t"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766034" y="1341967"/>
            <a:ext cx="11020729" cy="4730751"/>
          </a:xfrm>
          <a:prstGeom prst="rect">
            <a:avLst/>
          </a:prstGeom>
          <a:noFill/>
          <a:ln w="9525">
            <a:noFill/>
            <a:miter lim="800000"/>
            <a:headEnd/>
            <a:tailEnd/>
          </a:ln>
        </p:spPr>
        <p:txBody>
          <a:bodyPr vert="horz" wrap="square" lIns="121887" tIns="60944" rIns="121887" bIns="60944"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p:txBody>
      </p:sp>
      <p:sp>
        <p:nvSpPr>
          <p:cNvPr id="10275" name="Rectangle 35"/>
          <p:cNvSpPr>
            <a:spLocks noGrp="1" noChangeArrowheads="1"/>
          </p:cNvSpPr>
          <p:nvPr>
            <p:ph type="sldNum" sz="quarter" idx="4"/>
          </p:nvPr>
        </p:nvSpPr>
        <p:spPr bwMode="auto">
          <a:xfrm>
            <a:off x="105806" y="6576484"/>
            <a:ext cx="535378" cy="209549"/>
          </a:xfrm>
          <a:prstGeom prst="rect">
            <a:avLst/>
          </a:prstGeom>
          <a:noFill/>
          <a:ln w="9525" algn="ctr">
            <a:noFill/>
            <a:miter lim="800000"/>
            <a:headEnd/>
            <a:tailEnd/>
          </a:ln>
          <a:effectLst/>
        </p:spPr>
        <p:txBody>
          <a:bodyPr vert="horz" wrap="square" lIns="121899" tIns="60949" rIns="121899" bIns="60949" numCol="1" anchor="t" anchorCtr="0" compatLnSpc="1">
            <a:prstTxWarp prst="textNoShape">
              <a:avLst/>
            </a:prstTxWarp>
          </a:bodyPr>
          <a:lstStyle>
            <a:lvl1pPr eaLnBrk="0" hangingPunct="0">
              <a:defRPr sz="900">
                <a:solidFill>
                  <a:srgbClr val="000000"/>
                </a:solidFill>
                <a:latin typeface="Arial" charset="0"/>
                <a:cs typeface="Arial" charset="0"/>
              </a:defRPr>
            </a:lvl1pPr>
          </a:lstStyle>
          <a:p>
            <a:pPr defTabSz="1216871" fontAlgn="base">
              <a:spcBef>
                <a:spcPct val="0"/>
              </a:spcBef>
              <a:spcAft>
                <a:spcPct val="0"/>
              </a:spcAft>
              <a:defRPr/>
            </a:pPr>
            <a:fld id="{7321D162-0EAF-400D-9685-48594C95C5C6}" type="slidenum">
              <a:rPr lang="en-US"/>
              <a:pPr defTabSz="1216871" fontAlgn="base">
                <a:spcBef>
                  <a:spcPct val="0"/>
                </a:spcBef>
                <a:spcAft>
                  <a:spcPct val="0"/>
                </a:spcAft>
                <a:defRPr/>
              </a:pPr>
              <a:t>‹#›</a:t>
            </a:fld>
            <a:endParaRPr lang="en-US"/>
          </a:p>
        </p:txBody>
      </p:sp>
      <p:sp>
        <p:nvSpPr>
          <p:cNvPr id="1030" name="TextBox 13"/>
          <p:cNvSpPr txBox="1">
            <a:spLocks noChangeArrowheads="1"/>
          </p:cNvSpPr>
          <p:nvPr userDrawn="1"/>
        </p:nvSpPr>
        <p:spPr bwMode="auto">
          <a:xfrm>
            <a:off x="5334728" y="6620934"/>
            <a:ext cx="1523603" cy="133351"/>
          </a:xfrm>
          <a:prstGeom prst="rect">
            <a:avLst/>
          </a:prstGeom>
          <a:noFill/>
          <a:ln>
            <a:noFill/>
          </a:ln>
          <a:extLst/>
        </p:spPr>
        <p:txBody>
          <a:bodyPr lIns="85325" tIns="42663" rIns="85325" bIns="42663"/>
          <a:lstStyle>
            <a:lvl1pPr eaLnBrk="0" hangingPunct="0">
              <a:defRPr sz="2000">
                <a:solidFill>
                  <a:schemeClr val="tx1"/>
                </a:solidFill>
                <a:latin typeface="Univers LT 55" pitchFamily="2" charset="0"/>
                <a:cs typeface="Arial" charset="0"/>
              </a:defRPr>
            </a:lvl1pPr>
            <a:lvl2pPr marL="37931725" indent="-37474525" eaLnBrk="0" hangingPunct="0">
              <a:defRPr sz="2000">
                <a:solidFill>
                  <a:schemeClr val="tx1"/>
                </a:solidFill>
                <a:latin typeface="Univers LT 55" pitchFamily="2" charset="0"/>
                <a:cs typeface="Arial" charset="0"/>
              </a:defRPr>
            </a:lvl2pPr>
            <a:lvl3pPr eaLnBrk="0" hangingPunct="0">
              <a:defRPr sz="2000">
                <a:solidFill>
                  <a:schemeClr val="tx1"/>
                </a:solidFill>
                <a:latin typeface="Univers LT 55" pitchFamily="2" charset="0"/>
                <a:cs typeface="Arial" charset="0"/>
              </a:defRPr>
            </a:lvl3pPr>
            <a:lvl4pPr eaLnBrk="0" hangingPunct="0">
              <a:defRPr sz="2000">
                <a:solidFill>
                  <a:schemeClr val="tx1"/>
                </a:solidFill>
                <a:latin typeface="Univers LT 55" pitchFamily="2" charset="0"/>
                <a:cs typeface="Arial" charset="0"/>
              </a:defRPr>
            </a:lvl4pPr>
            <a:lvl5pPr eaLnBrk="0" hangingPunct="0">
              <a:defRPr sz="2000">
                <a:solidFill>
                  <a:schemeClr val="tx1"/>
                </a:solidFill>
                <a:latin typeface="Univers LT 55" pitchFamily="2" charset="0"/>
                <a:cs typeface="Arial" charset="0"/>
              </a:defRPr>
            </a:lvl5pPr>
            <a:lvl6pPr marL="457200" eaLnBrk="0" fontAlgn="base" hangingPunct="0">
              <a:spcBef>
                <a:spcPct val="0"/>
              </a:spcBef>
              <a:spcAft>
                <a:spcPct val="0"/>
              </a:spcAft>
              <a:defRPr sz="2000">
                <a:solidFill>
                  <a:schemeClr val="tx1"/>
                </a:solidFill>
                <a:latin typeface="Univers LT 55" pitchFamily="2" charset="0"/>
                <a:cs typeface="Arial" charset="0"/>
              </a:defRPr>
            </a:lvl6pPr>
            <a:lvl7pPr marL="914400" eaLnBrk="0" fontAlgn="base" hangingPunct="0">
              <a:spcBef>
                <a:spcPct val="0"/>
              </a:spcBef>
              <a:spcAft>
                <a:spcPct val="0"/>
              </a:spcAft>
              <a:defRPr sz="2000">
                <a:solidFill>
                  <a:schemeClr val="tx1"/>
                </a:solidFill>
                <a:latin typeface="Univers LT 55" pitchFamily="2" charset="0"/>
                <a:cs typeface="Arial" charset="0"/>
              </a:defRPr>
            </a:lvl7pPr>
            <a:lvl8pPr marL="1371600" eaLnBrk="0" fontAlgn="base" hangingPunct="0">
              <a:spcBef>
                <a:spcPct val="0"/>
              </a:spcBef>
              <a:spcAft>
                <a:spcPct val="0"/>
              </a:spcAft>
              <a:defRPr sz="2000">
                <a:solidFill>
                  <a:schemeClr val="tx1"/>
                </a:solidFill>
                <a:latin typeface="Univers LT 55" pitchFamily="2" charset="0"/>
                <a:cs typeface="Arial" charset="0"/>
              </a:defRPr>
            </a:lvl8pPr>
            <a:lvl9pPr marL="1828800" eaLnBrk="0" fontAlgn="base" hangingPunct="0">
              <a:spcBef>
                <a:spcPct val="0"/>
              </a:spcBef>
              <a:spcAft>
                <a:spcPct val="0"/>
              </a:spcAft>
              <a:defRPr sz="2000">
                <a:solidFill>
                  <a:schemeClr val="tx1"/>
                </a:solidFill>
                <a:latin typeface="Univers LT 55" pitchFamily="2" charset="0"/>
                <a:cs typeface="Arial" charset="0"/>
              </a:defRPr>
            </a:lvl9pPr>
          </a:lstStyle>
          <a:p>
            <a:pPr defTabSz="1216871" eaLnBrk="1" fontAlgn="base" hangingPunct="1">
              <a:lnSpc>
                <a:spcPct val="90000"/>
              </a:lnSpc>
              <a:spcBef>
                <a:spcPct val="0"/>
              </a:spcBef>
              <a:spcAft>
                <a:spcPct val="10000"/>
              </a:spcAft>
              <a:defRPr/>
            </a:pPr>
            <a:r>
              <a:rPr lang="en-US" sz="700" dirty="0" smtClean="0">
                <a:solidFill>
                  <a:srgbClr val="808080"/>
                </a:solidFill>
                <a:latin typeface="Arial" charset="0"/>
              </a:rPr>
              <a:t>© 2014 Fiserv, Inc. or its affiliates.</a:t>
            </a:r>
          </a:p>
        </p:txBody>
      </p:sp>
    </p:spTree>
  </p:cSld>
  <p:clrMap bg1="dk1" tx1="lt1" bg2="dk2" tx2="lt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Lst>
  <p:timing>
    <p:tnLst>
      <p:par>
        <p:cTn id="1" dur="indefinite" restart="never" nodeType="tmRoot"/>
      </p:par>
    </p:tnLst>
  </p:timing>
  <p:hf hdr="0" ftr="0" dt="0"/>
  <p:txStyles>
    <p:titleStyle>
      <a:lvl1pPr algn="l" defTabSz="1216871" rtl="0" eaLnBrk="0" fontAlgn="base" hangingPunct="0">
        <a:lnSpc>
          <a:spcPct val="90000"/>
        </a:lnSpc>
        <a:spcBef>
          <a:spcPct val="15000"/>
        </a:spcBef>
        <a:spcAft>
          <a:spcPct val="0"/>
        </a:spcAft>
        <a:defRPr sz="3200">
          <a:solidFill>
            <a:schemeClr val="tx2"/>
          </a:solidFill>
          <a:latin typeface="Arial" pitchFamily="34" charset="0"/>
          <a:ea typeface="Arial" pitchFamily="29" charset="0"/>
          <a:cs typeface="Arial" pitchFamily="34" charset="0"/>
        </a:defRPr>
      </a:lvl1pPr>
      <a:lvl2pPr algn="l" defTabSz="1216871" rtl="0" eaLnBrk="0" fontAlgn="base" hangingPunct="0">
        <a:lnSpc>
          <a:spcPct val="90000"/>
        </a:lnSpc>
        <a:spcBef>
          <a:spcPct val="15000"/>
        </a:spcBef>
        <a:spcAft>
          <a:spcPct val="0"/>
        </a:spcAft>
        <a:defRPr sz="3200">
          <a:solidFill>
            <a:schemeClr val="tx2"/>
          </a:solidFill>
          <a:latin typeface="Arial" charset="0"/>
          <a:ea typeface="Arial" pitchFamily="29" charset="0"/>
          <a:cs typeface="Arial" charset="0"/>
        </a:defRPr>
      </a:lvl2pPr>
      <a:lvl3pPr algn="l" defTabSz="1216871" rtl="0" eaLnBrk="0" fontAlgn="base" hangingPunct="0">
        <a:lnSpc>
          <a:spcPct val="90000"/>
        </a:lnSpc>
        <a:spcBef>
          <a:spcPct val="15000"/>
        </a:spcBef>
        <a:spcAft>
          <a:spcPct val="0"/>
        </a:spcAft>
        <a:defRPr sz="3200">
          <a:solidFill>
            <a:schemeClr val="tx2"/>
          </a:solidFill>
          <a:latin typeface="Arial" charset="0"/>
          <a:ea typeface="Arial" pitchFamily="29" charset="0"/>
          <a:cs typeface="Arial" charset="0"/>
        </a:defRPr>
      </a:lvl3pPr>
      <a:lvl4pPr algn="l" defTabSz="1216871" rtl="0" eaLnBrk="0" fontAlgn="base" hangingPunct="0">
        <a:lnSpc>
          <a:spcPct val="90000"/>
        </a:lnSpc>
        <a:spcBef>
          <a:spcPct val="15000"/>
        </a:spcBef>
        <a:spcAft>
          <a:spcPct val="0"/>
        </a:spcAft>
        <a:defRPr sz="3200">
          <a:solidFill>
            <a:schemeClr val="tx2"/>
          </a:solidFill>
          <a:latin typeface="Arial" charset="0"/>
          <a:ea typeface="Arial" pitchFamily="29" charset="0"/>
          <a:cs typeface="Arial" charset="0"/>
        </a:defRPr>
      </a:lvl4pPr>
      <a:lvl5pPr algn="l" defTabSz="1216871" rtl="0" eaLnBrk="0" fontAlgn="base" hangingPunct="0">
        <a:lnSpc>
          <a:spcPct val="90000"/>
        </a:lnSpc>
        <a:spcBef>
          <a:spcPct val="15000"/>
        </a:spcBef>
        <a:spcAft>
          <a:spcPct val="0"/>
        </a:spcAft>
        <a:defRPr sz="3200">
          <a:solidFill>
            <a:schemeClr val="tx2"/>
          </a:solidFill>
          <a:latin typeface="Arial" charset="0"/>
          <a:ea typeface="Arial" pitchFamily="29" charset="0"/>
          <a:cs typeface="Arial" charset="0"/>
        </a:defRPr>
      </a:lvl5pPr>
      <a:lvl6pPr marL="426645" algn="l" defTabSz="1217718" rtl="0" eaLnBrk="0" fontAlgn="base" hangingPunct="0">
        <a:spcBef>
          <a:spcPct val="0"/>
        </a:spcBef>
        <a:spcAft>
          <a:spcPct val="0"/>
        </a:spcAft>
        <a:defRPr sz="3300">
          <a:solidFill>
            <a:srgbClr val="FF6600"/>
          </a:solidFill>
          <a:latin typeface="Calibri" pitchFamily="34" charset="0"/>
        </a:defRPr>
      </a:lvl6pPr>
      <a:lvl7pPr marL="853291" algn="l" defTabSz="1217718" rtl="0" eaLnBrk="0" fontAlgn="base" hangingPunct="0">
        <a:spcBef>
          <a:spcPct val="0"/>
        </a:spcBef>
        <a:spcAft>
          <a:spcPct val="0"/>
        </a:spcAft>
        <a:defRPr sz="3300">
          <a:solidFill>
            <a:srgbClr val="FF6600"/>
          </a:solidFill>
          <a:latin typeface="Calibri" pitchFamily="34" charset="0"/>
        </a:defRPr>
      </a:lvl7pPr>
      <a:lvl8pPr marL="1279936" algn="l" defTabSz="1217718" rtl="0" eaLnBrk="0" fontAlgn="base" hangingPunct="0">
        <a:spcBef>
          <a:spcPct val="0"/>
        </a:spcBef>
        <a:spcAft>
          <a:spcPct val="0"/>
        </a:spcAft>
        <a:defRPr sz="3300">
          <a:solidFill>
            <a:srgbClr val="FF6600"/>
          </a:solidFill>
          <a:latin typeface="Calibri" pitchFamily="34" charset="0"/>
        </a:defRPr>
      </a:lvl8pPr>
      <a:lvl9pPr marL="1706581" algn="l" defTabSz="1217718" rtl="0" eaLnBrk="0" fontAlgn="base" hangingPunct="0">
        <a:spcBef>
          <a:spcPct val="0"/>
        </a:spcBef>
        <a:spcAft>
          <a:spcPct val="0"/>
        </a:spcAft>
        <a:defRPr sz="3300">
          <a:solidFill>
            <a:srgbClr val="FF6600"/>
          </a:solidFill>
          <a:latin typeface="Calibri" pitchFamily="34" charset="0"/>
        </a:defRPr>
      </a:lvl9pPr>
    </p:titleStyle>
    <p:bodyStyle>
      <a:lvl1pPr marL="302631" indent="-302631" algn="l" defTabSz="1216871" rtl="0" eaLnBrk="0" fontAlgn="base" hangingPunct="0">
        <a:lnSpc>
          <a:spcPct val="90000"/>
        </a:lnSpc>
        <a:spcBef>
          <a:spcPct val="40000"/>
        </a:spcBef>
        <a:spcAft>
          <a:spcPct val="0"/>
        </a:spcAft>
        <a:buClr>
          <a:schemeClr val="tx1"/>
        </a:buClr>
        <a:buSzPct val="90000"/>
        <a:buFont typeface="Arial" charset="0"/>
        <a:buChar char="•"/>
        <a:defRPr sz="2700" b="1">
          <a:solidFill>
            <a:schemeClr val="tx1"/>
          </a:solidFill>
          <a:latin typeface="Arial" pitchFamily="34" charset="0"/>
          <a:ea typeface="Arial" pitchFamily="29" charset="0"/>
          <a:cs typeface="Arial" pitchFamily="34" charset="0"/>
        </a:defRPr>
      </a:lvl1pPr>
      <a:lvl2pPr marL="689913" indent="-234910" algn="l" defTabSz="1216871" rtl="0" eaLnBrk="0" fontAlgn="base" hangingPunct="0">
        <a:lnSpc>
          <a:spcPct val="90000"/>
        </a:lnSpc>
        <a:spcBef>
          <a:spcPct val="15000"/>
        </a:spcBef>
        <a:spcAft>
          <a:spcPct val="10000"/>
        </a:spcAft>
        <a:buClr>
          <a:schemeClr val="tx1"/>
        </a:buClr>
        <a:buSzPct val="90000"/>
        <a:buFont typeface="Arial" charset="0"/>
        <a:buChar char="•"/>
        <a:defRPr sz="2700">
          <a:solidFill>
            <a:schemeClr val="tx1"/>
          </a:solidFill>
          <a:latin typeface="Arial" pitchFamily="34" charset="0"/>
          <a:ea typeface="Arial" pitchFamily="29" charset="0"/>
          <a:cs typeface="Arial" pitchFamily="34" charset="0"/>
        </a:defRPr>
      </a:lvl2pPr>
      <a:lvl3pPr marL="1068730" indent="-226444" algn="l" defTabSz="1216871" rtl="0" eaLnBrk="0" fontAlgn="base" hangingPunct="0">
        <a:lnSpc>
          <a:spcPct val="90000"/>
        </a:lnSpc>
        <a:spcBef>
          <a:spcPct val="15000"/>
        </a:spcBef>
        <a:spcAft>
          <a:spcPct val="0"/>
        </a:spcAft>
        <a:buClr>
          <a:schemeClr val="tx1"/>
        </a:buClr>
        <a:buSzPct val="90000"/>
        <a:buFont typeface="Arial" charset="0"/>
        <a:buChar char="•"/>
        <a:defRPr>
          <a:solidFill>
            <a:schemeClr val="tx1"/>
          </a:solidFill>
          <a:latin typeface="Arial" pitchFamily="34" charset="0"/>
          <a:ea typeface="Arial" pitchFamily="29" charset="0"/>
          <a:cs typeface="Arial" pitchFamily="34" charset="0"/>
        </a:defRPr>
      </a:lvl3pPr>
      <a:lvl4pPr marL="1521618" indent="-226444" algn="l" defTabSz="1216871" rtl="0" eaLnBrk="0" fontAlgn="base" hangingPunct="0">
        <a:lnSpc>
          <a:spcPct val="90000"/>
        </a:lnSpc>
        <a:spcBef>
          <a:spcPct val="15000"/>
        </a:spcBef>
        <a:spcAft>
          <a:spcPct val="0"/>
        </a:spcAft>
        <a:buClr>
          <a:schemeClr val="tx1"/>
        </a:buClr>
        <a:buSzPct val="90000"/>
        <a:buFont typeface="Arial" charset="0"/>
        <a:buChar char="•"/>
        <a:defRPr sz="2100">
          <a:solidFill>
            <a:schemeClr val="tx1"/>
          </a:solidFill>
          <a:latin typeface="Arial" pitchFamily="34" charset="0"/>
          <a:ea typeface="Arial" pitchFamily="29" charset="0"/>
          <a:cs typeface="Arial" pitchFamily="34" charset="0"/>
        </a:defRPr>
      </a:lvl4pPr>
      <a:lvl5pPr marL="2740604" indent="-302631" algn="l" defTabSz="1216871" rtl="0" eaLnBrk="0" fontAlgn="base" hangingPunct="0">
        <a:lnSpc>
          <a:spcPct val="90000"/>
        </a:lnSpc>
        <a:spcBef>
          <a:spcPct val="15000"/>
        </a:spcBef>
        <a:spcAft>
          <a:spcPct val="5000"/>
        </a:spcAft>
        <a:buFont typeface="Arial" charset="0"/>
        <a:buChar char="»"/>
        <a:defRPr sz="1700">
          <a:solidFill>
            <a:schemeClr val="bg1"/>
          </a:solidFill>
          <a:latin typeface="+mn-lt"/>
          <a:ea typeface="Arial" pitchFamily="29" charset="0"/>
          <a:cs typeface="Arial" charset="0"/>
        </a:defRPr>
      </a:lvl5pPr>
      <a:lvl6pPr marL="3168731" indent="-303690" algn="l" defTabSz="1217718" rtl="0" eaLnBrk="0" fontAlgn="base" hangingPunct="0">
        <a:lnSpc>
          <a:spcPct val="90000"/>
        </a:lnSpc>
        <a:spcBef>
          <a:spcPct val="15000"/>
        </a:spcBef>
        <a:spcAft>
          <a:spcPct val="5000"/>
        </a:spcAft>
        <a:buFont typeface="Arial" pitchFamily="34" charset="0"/>
        <a:buChar char="»"/>
        <a:defRPr sz="1700">
          <a:solidFill>
            <a:schemeClr val="bg1"/>
          </a:solidFill>
          <a:latin typeface="+mn-lt"/>
        </a:defRPr>
      </a:lvl6pPr>
      <a:lvl7pPr marL="3595376" indent="-303690" algn="l" defTabSz="1217718" rtl="0" eaLnBrk="0" fontAlgn="base" hangingPunct="0">
        <a:lnSpc>
          <a:spcPct val="90000"/>
        </a:lnSpc>
        <a:spcBef>
          <a:spcPct val="15000"/>
        </a:spcBef>
        <a:spcAft>
          <a:spcPct val="5000"/>
        </a:spcAft>
        <a:buFont typeface="Arial" pitchFamily="34" charset="0"/>
        <a:buChar char="»"/>
        <a:defRPr sz="1700">
          <a:solidFill>
            <a:schemeClr val="bg1"/>
          </a:solidFill>
          <a:latin typeface="+mn-lt"/>
        </a:defRPr>
      </a:lvl7pPr>
      <a:lvl8pPr marL="4022021" indent="-303690" algn="l" defTabSz="1217718" rtl="0" eaLnBrk="0" fontAlgn="base" hangingPunct="0">
        <a:lnSpc>
          <a:spcPct val="90000"/>
        </a:lnSpc>
        <a:spcBef>
          <a:spcPct val="15000"/>
        </a:spcBef>
        <a:spcAft>
          <a:spcPct val="5000"/>
        </a:spcAft>
        <a:buFont typeface="Arial" pitchFamily="34" charset="0"/>
        <a:buChar char="»"/>
        <a:defRPr sz="1700">
          <a:solidFill>
            <a:schemeClr val="bg1"/>
          </a:solidFill>
          <a:latin typeface="+mn-lt"/>
        </a:defRPr>
      </a:lvl8pPr>
      <a:lvl9pPr marL="4448667" indent="-303690" algn="l" defTabSz="1217718" rtl="0" eaLnBrk="0" fontAlgn="base" hangingPunct="0">
        <a:lnSpc>
          <a:spcPct val="90000"/>
        </a:lnSpc>
        <a:spcBef>
          <a:spcPct val="15000"/>
        </a:spcBef>
        <a:spcAft>
          <a:spcPct val="5000"/>
        </a:spcAft>
        <a:buFont typeface="Arial" pitchFamily="34" charset="0"/>
        <a:buChar char="»"/>
        <a:defRPr sz="1700">
          <a:solidFill>
            <a:schemeClr val="bg1"/>
          </a:solidFill>
          <a:latin typeface="+mn-lt"/>
        </a:defRPr>
      </a:lvl9pPr>
    </p:bodyStyle>
    <p:otherStyle>
      <a:defPPr>
        <a:defRPr lang="en-US"/>
      </a:defPPr>
      <a:lvl1pPr marL="0" algn="l" defTabSz="853291" rtl="0" eaLnBrk="1" latinLnBrk="0" hangingPunct="1">
        <a:defRPr sz="1700" kern="1200">
          <a:solidFill>
            <a:schemeClr val="tx1"/>
          </a:solidFill>
          <a:latin typeface="+mn-lt"/>
          <a:ea typeface="+mn-ea"/>
          <a:cs typeface="+mn-cs"/>
        </a:defRPr>
      </a:lvl1pPr>
      <a:lvl2pPr marL="426645" algn="l" defTabSz="853291" rtl="0" eaLnBrk="1" latinLnBrk="0" hangingPunct="1">
        <a:defRPr sz="1700" kern="1200">
          <a:solidFill>
            <a:schemeClr val="tx1"/>
          </a:solidFill>
          <a:latin typeface="+mn-lt"/>
          <a:ea typeface="+mn-ea"/>
          <a:cs typeface="+mn-cs"/>
        </a:defRPr>
      </a:lvl2pPr>
      <a:lvl3pPr marL="853291" algn="l" defTabSz="853291" rtl="0" eaLnBrk="1" latinLnBrk="0" hangingPunct="1">
        <a:defRPr sz="1700" kern="1200">
          <a:solidFill>
            <a:schemeClr val="tx1"/>
          </a:solidFill>
          <a:latin typeface="+mn-lt"/>
          <a:ea typeface="+mn-ea"/>
          <a:cs typeface="+mn-cs"/>
        </a:defRPr>
      </a:lvl3pPr>
      <a:lvl4pPr marL="1279936" algn="l" defTabSz="853291" rtl="0" eaLnBrk="1" latinLnBrk="0" hangingPunct="1">
        <a:defRPr sz="1700" kern="1200">
          <a:solidFill>
            <a:schemeClr val="tx1"/>
          </a:solidFill>
          <a:latin typeface="+mn-lt"/>
          <a:ea typeface="+mn-ea"/>
          <a:cs typeface="+mn-cs"/>
        </a:defRPr>
      </a:lvl4pPr>
      <a:lvl5pPr marL="1706581" algn="l" defTabSz="853291" rtl="0" eaLnBrk="1" latinLnBrk="0" hangingPunct="1">
        <a:defRPr sz="1700" kern="1200">
          <a:solidFill>
            <a:schemeClr val="tx1"/>
          </a:solidFill>
          <a:latin typeface="+mn-lt"/>
          <a:ea typeface="+mn-ea"/>
          <a:cs typeface="+mn-cs"/>
        </a:defRPr>
      </a:lvl5pPr>
      <a:lvl6pPr marL="2133227" algn="l" defTabSz="853291" rtl="0" eaLnBrk="1" latinLnBrk="0" hangingPunct="1">
        <a:defRPr sz="1700" kern="1200">
          <a:solidFill>
            <a:schemeClr val="tx1"/>
          </a:solidFill>
          <a:latin typeface="+mn-lt"/>
          <a:ea typeface="+mn-ea"/>
          <a:cs typeface="+mn-cs"/>
        </a:defRPr>
      </a:lvl6pPr>
      <a:lvl7pPr marL="2559872" algn="l" defTabSz="853291" rtl="0" eaLnBrk="1" latinLnBrk="0" hangingPunct="1">
        <a:defRPr sz="1700" kern="1200">
          <a:solidFill>
            <a:schemeClr val="tx1"/>
          </a:solidFill>
          <a:latin typeface="+mn-lt"/>
          <a:ea typeface="+mn-ea"/>
          <a:cs typeface="+mn-cs"/>
        </a:defRPr>
      </a:lvl7pPr>
      <a:lvl8pPr marL="2986517" algn="l" defTabSz="853291" rtl="0" eaLnBrk="1" latinLnBrk="0" hangingPunct="1">
        <a:defRPr sz="1700" kern="1200">
          <a:solidFill>
            <a:schemeClr val="tx1"/>
          </a:solidFill>
          <a:latin typeface="+mn-lt"/>
          <a:ea typeface="+mn-ea"/>
          <a:cs typeface="+mn-cs"/>
        </a:defRPr>
      </a:lvl8pPr>
      <a:lvl9pPr marL="3413163" algn="l" defTabSz="853291"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Rectangle 1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2FEA922B-34CC-A746-ABF0-D1ED97CD7A6C}" type="datetime1">
              <a:rPr lang="en-US" smtClean="0">
                <a:solidFill>
                  <a:srgbClr val="58595B"/>
                </a:solidFill>
              </a:rPr>
              <a:pPr defTabSz="914400"/>
              <a:t>11/10/2016</a:t>
            </a:fld>
            <a:endParaRPr lang="en-US" dirty="0">
              <a:solidFill>
                <a:srgbClr val="58595B"/>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8595B"/>
                </a:solidFill>
              </a:rPr>
              <a:t>Confidential – Oracle Internal/Restricted/Highly Restricted</a:t>
            </a:r>
            <a:endParaRPr lang="en-US" dirty="0">
              <a:solidFill>
                <a:srgbClr val="58595B"/>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8595B"/>
                </a:solidFill>
              </a:rPr>
              <a:pPr defTabSz="914400"/>
              <a:t>‹#›</a:t>
            </a:fld>
            <a:endParaRPr lang="en-US" dirty="0">
              <a:solidFill>
                <a:srgbClr val="58595B"/>
              </a:solidFill>
            </a:endParaRPr>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6" name="Picture 15" descr="Oracle logo in white on red staging background"/>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413232636"/>
      </p:ext>
    </p:extLst>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 id="2147484106" r:id="rId12"/>
    <p:sldLayoutId id="2147484107" r:id="rId13"/>
    <p:sldLayoutId id="2147484108"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 id="2147484118" r:id="rId24"/>
    <p:sldLayoutId id="2147484119" r:id="rId25"/>
    <p:sldLayoutId id="2147484120" r:id="rId26"/>
    <p:sldLayoutId id="2147484121" r:id="rId27"/>
    <p:sldLayoutId id="2147484122" r:id="rId28"/>
    <p:sldLayoutId id="2147484123" r:id="rId29"/>
    <p:sldLayoutId id="2147484124" r:id="rId30"/>
    <p:sldLayoutId id="2147484125" r:id="rId31"/>
    <p:sldLayoutId id="2147484126" r:id="rId32"/>
    <p:sldLayoutId id="2147484127" r:id="rId33"/>
    <p:sldLayoutId id="2147484128" r:id="rId34"/>
    <p:sldLayoutId id="2147484129" r:id="rId35"/>
    <p:sldLayoutId id="2147484130" r:id="rId36"/>
    <p:sldLayoutId id="2147484131" r:id="rId37"/>
    <p:sldLayoutId id="2147484132" r:id="rId38"/>
    <p:sldLayoutId id="2147484133" r:id="rId39"/>
    <p:sldLayoutId id="2147484134" r:id="rId40"/>
    <p:sldLayoutId id="2147484135" r:id="rId41"/>
    <p:sldLayoutId id="2147484136" r:id="rId42"/>
    <p:sldLayoutId id="2147484137" r:id="rId43"/>
    <p:sldLayoutId id="2147484138" r:id="rId44"/>
    <p:sldLayoutId id="2147484139" r:id="rId45"/>
    <p:sldLayoutId id="2147484140" r:id="rId46"/>
    <p:sldLayoutId id="2147484141" r:id="rId47"/>
    <p:sldLayoutId id="2147484142" r:id="rId48"/>
    <p:sldLayoutId id="2147484143" r:id="rId49"/>
    <p:sldLayoutId id="2147484144"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Rectangle 1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2FEA922B-34CC-A746-ABF0-D1ED97CD7A6C}" type="datetime1">
              <a:rPr lang="en-US" smtClean="0">
                <a:solidFill>
                  <a:srgbClr val="58595B"/>
                </a:solidFill>
              </a:rPr>
              <a:pPr defTabSz="914400"/>
              <a:t>11/10/2016</a:t>
            </a:fld>
            <a:endParaRPr lang="en-US" dirty="0">
              <a:solidFill>
                <a:srgbClr val="58595B"/>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8595B"/>
                </a:solidFill>
              </a:rPr>
              <a:t>Confidential – Oracle Internal/Restricted/Highly Restricted</a:t>
            </a:r>
            <a:endParaRPr lang="en-US" dirty="0">
              <a:solidFill>
                <a:srgbClr val="58595B"/>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8595B"/>
                </a:solidFill>
              </a:rPr>
              <a:pPr defTabSz="914400"/>
              <a:t>‹#›</a:t>
            </a:fld>
            <a:endParaRPr lang="en-US" dirty="0">
              <a:solidFill>
                <a:srgbClr val="58595B"/>
              </a:solidFill>
            </a:endParaRPr>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6" name="Picture 15" descr="Oracle logo in white on red staging background"/>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3007384192"/>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 id="2147484166" r:id="rId21"/>
    <p:sldLayoutId id="2147484167" r:id="rId22"/>
    <p:sldLayoutId id="2147484168" r:id="rId23"/>
    <p:sldLayoutId id="2147484169" r:id="rId24"/>
    <p:sldLayoutId id="2147484170" r:id="rId25"/>
    <p:sldLayoutId id="2147484171" r:id="rId26"/>
    <p:sldLayoutId id="2147484172" r:id="rId27"/>
    <p:sldLayoutId id="2147484173" r:id="rId28"/>
    <p:sldLayoutId id="2147484174" r:id="rId29"/>
    <p:sldLayoutId id="2147484175" r:id="rId30"/>
    <p:sldLayoutId id="2147484176" r:id="rId31"/>
    <p:sldLayoutId id="2147484177" r:id="rId32"/>
    <p:sldLayoutId id="2147484178" r:id="rId33"/>
    <p:sldLayoutId id="2147484179" r:id="rId34"/>
    <p:sldLayoutId id="2147484180" r:id="rId35"/>
    <p:sldLayoutId id="2147484181" r:id="rId36"/>
    <p:sldLayoutId id="2147484182" r:id="rId37"/>
    <p:sldLayoutId id="2147484183" r:id="rId38"/>
    <p:sldLayoutId id="2147484184" r:id="rId39"/>
    <p:sldLayoutId id="2147484185" r:id="rId40"/>
    <p:sldLayoutId id="2147484186" r:id="rId41"/>
    <p:sldLayoutId id="2147484187" r:id="rId42"/>
    <p:sldLayoutId id="2147484188" r:id="rId43"/>
    <p:sldLayoutId id="2147484189" r:id="rId44"/>
    <p:sldLayoutId id="2147484190" r:id="rId45"/>
    <p:sldLayoutId id="2147484191" r:id="rId46"/>
    <p:sldLayoutId id="2147484192" r:id="rId47"/>
    <p:sldLayoutId id="2147484193" r:id="rId48"/>
    <p:sldLayoutId id="2147484194" r:id="rId49"/>
    <p:sldLayoutId id="2147484195"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Rectangle 1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2FEA922B-34CC-A746-ABF0-D1ED97CD7A6C}" type="datetime1">
              <a:rPr lang="en-US" smtClean="0">
                <a:solidFill>
                  <a:srgbClr val="58595B"/>
                </a:solidFill>
              </a:rPr>
              <a:pPr defTabSz="914400"/>
              <a:t>11/10/2016</a:t>
            </a:fld>
            <a:endParaRPr lang="en-US" dirty="0">
              <a:solidFill>
                <a:srgbClr val="58595B"/>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8595B"/>
                </a:solidFill>
              </a:rPr>
              <a:t>Confidential – Oracle Internal/Restricted/Highly Restricted</a:t>
            </a:r>
            <a:endParaRPr lang="en-US" dirty="0">
              <a:solidFill>
                <a:srgbClr val="58595B"/>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8595B"/>
                </a:solidFill>
              </a:rPr>
              <a:pPr defTabSz="914400"/>
              <a:t>‹#›</a:t>
            </a:fld>
            <a:endParaRPr lang="en-US" dirty="0">
              <a:solidFill>
                <a:srgbClr val="58595B"/>
              </a:solidFill>
            </a:endParaRPr>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6" name="Picture 15" descr="Oracle logo in white on red staging background"/>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2480329596"/>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 id="2147484210" r:id="rId14"/>
    <p:sldLayoutId id="2147484211" r:id="rId15"/>
    <p:sldLayoutId id="2147484212" r:id="rId16"/>
    <p:sldLayoutId id="2147484213" r:id="rId17"/>
    <p:sldLayoutId id="2147484214" r:id="rId18"/>
    <p:sldLayoutId id="2147484215" r:id="rId19"/>
    <p:sldLayoutId id="2147484216" r:id="rId20"/>
    <p:sldLayoutId id="2147484217" r:id="rId21"/>
    <p:sldLayoutId id="2147484218" r:id="rId22"/>
    <p:sldLayoutId id="2147484219" r:id="rId23"/>
    <p:sldLayoutId id="2147484220" r:id="rId24"/>
    <p:sldLayoutId id="2147484221" r:id="rId25"/>
    <p:sldLayoutId id="2147484222" r:id="rId26"/>
    <p:sldLayoutId id="2147484223" r:id="rId27"/>
    <p:sldLayoutId id="2147484224" r:id="rId28"/>
    <p:sldLayoutId id="2147484225" r:id="rId29"/>
    <p:sldLayoutId id="2147484226" r:id="rId30"/>
    <p:sldLayoutId id="2147484227" r:id="rId31"/>
    <p:sldLayoutId id="2147484228" r:id="rId32"/>
    <p:sldLayoutId id="2147484229" r:id="rId33"/>
    <p:sldLayoutId id="2147484230" r:id="rId34"/>
    <p:sldLayoutId id="2147484231" r:id="rId35"/>
    <p:sldLayoutId id="2147484232" r:id="rId36"/>
    <p:sldLayoutId id="2147484233" r:id="rId37"/>
    <p:sldLayoutId id="2147484234" r:id="rId38"/>
    <p:sldLayoutId id="2147484235" r:id="rId39"/>
    <p:sldLayoutId id="2147484236" r:id="rId40"/>
    <p:sldLayoutId id="2147484237" r:id="rId41"/>
    <p:sldLayoutId id="2147484238" r:id="rId42"/>
    <p:sldLayoutId id="2147484239" r:id="rId43"/>
    <p:sldLayoutId id="2147484240" r:id="rId44"/>
    <p:sldLayoutId id="2147484241" r:id="rId45"/>
    <p:sldLayoutId id="2147484242" r:id="rId46"/>
    <p:sldLayoutId id="2147484243" r:id="rId47"/>
    <p:sldLayoutId id="2147484244" r:id="rId48"/>
    <p:sldLayoutId id="2147484245" r:id="rId49"/>
    <p:sldLayoutId id="2147484246"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Rectangle 1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2FEA922B-34CC-A746-ABF0-D1ED97CD7A6C}" type="datetime1">
              <a:rPr lang="en-US" smtClean="0">
                <a:solidFill>
                  <a:srgbClr val="58595B"/>
                </a:solidFill>
              </a:rPr>
              <a:pPr defTabSz="914400"/>
              <a:t>11/10/2016</a:t>
            </a:fld>
            <a:endParaRPr lang="en-US" dirty="0">
              <a:solidFill>
                <a:srgbClr val="58595B"/>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8595B"/>
                </a:solidFill>
              </a:rPr>
              <a:t>Confidential – Oracle Internal/Restricted/Highly Restricted</a:t>
            </a:r>
            <a:endParaRPr lang="en-US" dirty="0">
              <a:solidFill>
                <a:srgbClr val="58595B"/>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8595B"/>
                </a:solidFill>
              </a:rPr>
              <a:pPr defTabSz="914400"/>
              <a:t>‹#›</a:t>
            </a:fld>
            <a:endParaRPr lang="en-US" dirty="0">
              <a:solidFill>
                <a:srgbClr val="58595B"/>
              </a:solidFill>
            </a:endParaRPr>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6" name="Picture 15" descr="Oracle logo in white on red staging background"/>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4185951769"/>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 id="2147484268" r:id="rId21"/>
    <p:sldLayoutId id="2147484269" r:id="rId22"/>
    <p:sldLayoutId id="2147484270" r:id="rId23"/>
    <p:sldLayoutId id="2147484271" r:id="rId24"/>
    <p:sldLayoutId id="2147484272" r:id="rId25"/>
    <p:sldLayoutId id="2147484273" r:id="rId26"/>
    <p:sldLayoutId id="2147484274" r:id="rId27"/>
    <p:sldLayoutId id="2147484275" r:id="rId28"/>
    <p:sldLayoutId id="2147484276" r:id="rId29"/>
    <p:sldLayoutId id="2147484277" r:id="rId30"/>
    <p:sldLayoutId id="2147484278" r:id="rId31"/>
    <p:sldLayoutId id="2147484279" r:id="rId32"/>
    <p:sldLayoutId id="2147484280" r:id="rId33"/>
    <p:sldLayoutId id="2147484281" r:id="rId34"/>
    <p:sldLayoutId id="2147484282" r:id="rId35"/>
    <p:sldLayoutId id="2147484283" r:id="rId36"/>
    <p:sldLayoutId id="2147484284" r:id="rId37"/>
    <p:sldLayoutId id="2147484285" r:id="rId38"/>
    <p:sldLayoutId id="2147484286" r:id="rId39"/>
    <p:sldLayoutId id="2147484287" r:id="rId40"/>
    <p:sldLayoutId id="2147484288" r:id="rId41"/>
    <p:sldLayoutId id="2147484289" r:id="rId42"/>
    <p:sldLayoutId id="2147484290" r:id="rId43"/>
    <p:sldLayoutId id="2147484291" r:id="rId44"/>
    <p:sldLayoutId id="2147484292" r:id="rId45"/>
    <p:sldLayoutId id="2147484293" r:id="rId46"/>
    <p:sldLayoutId id="2147484294" r:id="rId47"/>
    <p:sldLayoutId id="2147484295" r:id="rId48"/>
    <p:sldLayoutId id="2147484296" r:id="rId49"/>
    <p:sldLayoutId id="2147484297"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p:cNvGrpSpPr/>
          <p:nvPr userDrawn="1"/>
        </p:nvGrpSpPr>
        <p:grpSpPr>
          <a:xfrm>
            <a:off x="0" y="0"/>
            <a:ext cx="12189398" cy="6858000"/>
            <a:chOff x="0" y="0"/>
            <a:chExt cx="12189398" cy="6858000"/>
          </a:xfrm>
          <a:solidFill>
            <a:srgbClr val="D8E1E6"/>
          </a:solidFill>
        </p:grpSpPr>
        <p:sp>
          <p:nvSpPr>
            <p:cNvPr id="17" name="Rectangle 16"/>
            <p:cNvSpPr/>
            <p:nvPr/>
          </p:nvSpPr>
          <p:spPr bwMode="gray">
            <a:xfrm>
              <a:off x="0" y="0"/>
              <a:ext cx="19396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8" name="Rectangle 17"/>
            <p:cNvSpPr/>
            <p:nvPr/>
          </p:nvSpPr>
          <p:spPr bwMode="gray">
            <a:xfrm>
              <a:off x="11995151" y="0"/>
              <a:ext cx="193960"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9" name="Rectangle 18"/>
            <p:cNvSpPr/>
            <p:nvPr/>
          </p:nvSpPr>
          <p:spPr bwMode="gray">
            <a:xfrm>
              <a:off x="0" y="6400800"/>
              <a:ext cx="12189396" cy="4572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20" name="Rectangle 19"/>
            <p:cNvSpPr/>
            <p:nvPr/>
          </p:nvSpPr>
          <p:spPr bwMode="gray">
            <a:xfrm>
              <a:off x="0" y="0"/>
              <a:ext cx="12189398" cy="19202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2FEA922B-34CC-A746-ABF0-D1ED97CD7A6C}" type="datetime1">
              <a:rPr lang="en-US" smtClean="0">
                <a:solidFill>
                  <a:srgbClr val="58595B"/>
                </a:solidFill>
              </a:rPr>
              <a:pPr defTabSz="914400"/>
              <a:t>11/10/2016</a:t>
            </a:fld>
            <a:endParaRPr lang="en-US" dirty="0">
              <a:solidFill>
                <a:srgbClr val="58595B"/>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8595B"/>
                </a:solidFill>
              </a:rPr>
              <a:t>Confidential – Oracle Internal/Restricted/Highly Restricted</a:t>
            </a:r>
            <a:endParaRPr lang="en-US" dirty="0">
              <a:solidFill>
                <a:srgbClr val="58595B"/>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8595B"/>
                </a:solidFill>
              </a:rPr>
              <a:pPr defTabSz="914400"/>
              <a:t>‹#›</a:t>
            </a:fld>
            <a:endParaRPr lang="en-US" dirty="0">
              <a:solidFill>
                <a:srgbClr val="58595B"/>
              </a:solidFill>
            </a:endParaRPr>
          </a:p>
        </p:txBody>
      </p:sp>
      <p:sp>
        <p:nvSpPr>
          <p:cNvPr id="15" name="TextBox 14"/>
          <p:cNvSpPr txBox="1"/>
          <p:nvPr userDrawn="1"/>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8595B"/>
                </a:solidFill>
              </a:rPr>
              <a:t>Copyright © </a:t>
            </a:r>
            <a:r>
              <a:rPr lang="en-US" sz="850" dirty="0" smtClean="0">
                <a:solidFill>
                  <a:srgbClr val="58595B"/>
                </a:solidFill>
              </a:rPr>
              <a:t>2016,</a:t>
            </a:r>
            <a:r>
              <a:rPr sz="850" dirty="0" smtClean="0">
                <a:solidFill>
                  <a:srgbClr val="58595B"/>
                </a:solidFill>
              </a:rPr>
              <a:t> </a:t>
            </a:r>
            <a:r>
              <a:rPr sz="850" dirty="0">
                <a:solidFill>
                  <a:srgbClr val="58595B"/>
                </a:solidFill>
              </a:rPr>
              <a:t>Oracle and/or its affiliates. All rights reserved.  </a:t>
            </a:r>
            <a:r>
              <a:rPr sz="850" dirty="0" smtClean="0">
                <a:solidFill>
                  <a:srgbClr val="58595B"/>
                </a:solidFill>
              </a:rPr>
              <a:t>|</a:t>
            </a:r>
            <a:endParaRPr sz="850" dirty="0">
              <a:solidFill>
                <a:srgbClr val="58595B"/>
              </a:solidFill>
            </a:endParaRPr>
          </a:p>
        </p:txBody>
      </p:sp>
      <p:pic>
        <p:nvPicPr>
          <p:cNvPr id="16" name="Picture 15" descr="Oracle logo in white on red staging background"/>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606956567"/>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2" r:id="rId14"/>
    <p:sldLayoutId id="2147484313" r:id="rId15"/>
    <p:sldLayoutId id="2147484314" r:id="rId16"/>
    <p:sldLayoutId id="2147484315" r:id="rId17"/>
    <p:sldLayoutId id="2147484316" r:id="rId18"/>
    <p:sldLayoutId id="2147484317" r:id="rId19"/>
    <p:sldLayoutId id="2147484318" r:id="rId20"/>
    <p:sldLayoutId id="2147484319" r:id="rId21"/>
    <p:sldLayoutId id="2147484320" r:id="rId22"/>
    <p:sldLayoutId id="2147484321" r:id="rId23"/>
    <p:sldLayoutId id="2147484322" r:id="rId24"/>
    <p:sldLayoutId id="2147484323" r:id="rId25"/>
    <p:sldLayoutId id="2147484324" r:id="rId26"/>
    <p:sldLayoutId id="2147484325" r:id="rId27"/>
    <p:sldLayoutId id="2147484326" r:id="rId28"/>
    <p:sldLayoutId id="2147484327" r:id="rId29"/>
    <p:sldLayoutId id="2147484328" r:id="rId30"/>
    <p:sldLayoutId id="2147484329" r:id="rId31"/>
    <p:sldLayoutId id="2147484330" r:id="rId32"/>
    <p:sldLayoutId id="2147484331" r:id="rId33"/>
    <p:sldLayoutId id="2147484332" r:id="rId34"/>
    <p:sldLayoutId id="2147484333" r:id="rId35"/>
    <p:sldLayoutId id="2147484334" r:id="rId36"/>
    <p:sldLayoutId id="2147484335" r:id="rId37"/>
    <p:sldLayoutId id="2147484336" r:id="rId38"/>
    <p:sldLayoutId id="2147484337" r:id="rId39"/>
    <p:sldLayoutId id="2147484338" r:id="rId40"/>
    <p:sldLayoutId id="2147484339" r:id="rId41"/>
    <p:sldLayoutId id="2147484340" r:id="rId42"/>
    <p:sldLayoutId id="2147484341" r:id="rId43"/>
    <p:sldLayoutId id="2147484342" r:id="rId44"/>
    <p:sldLayoutId id="2147484343" r:id="rId45"/>
    <p:sldLayoutId id="2147484344" r:id="rId46"/>
    <p:sldLayoutId id="2147484345" r:id="rId47"/>
    <p:sldLayoutId id="2147484346" r:id="rId48"/>
    <p:sldLayoutId id="2147484347" r:id="rId49"/>
    <p:sldLayoutId id="2147484348"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0"/>
            <a:ext cx="12189398" cy="6858000"/>
            <a:chOff x="0" y="0"/>
            <a:chExt cx="12189398" cy="6858000"/>
          </a:xfrm>
        </p:grpSpPr>
        <p:sp>
          <p:nvSpPr>
            <p:cNvPr id="8" name="Rectangle 7"/>
            <p:cNvSpPr/>
            <p:nvPr/>
          </p:nvSpPr>
          <p:spPr bwMode="gray">
            <a:xfrm>
              <a:off x="0" y="0"/>
              <a:ext cx="193962"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11995151" y="0"/>
              <a:ext cx="19396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0"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0"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F58637A1-2757-41E8-AD98-43E9D0558D9A}" type="datetime1">
              <a:rPr lang="en-US" smtClean="0">
                <a:solidFill>
                  <a:srgbClr val="5F5F5F"/>
                </a:solidFill>
              </a:rPr>
              <a:pPr defTabSz="914400"/>
              <a:t>11/10/2016</a:t>
            </a:fld>
            <a:endParaRPr lang="en-US" dirty="0">
              <a:solidFill>
                <a:srgbClr val="5F5F5F"/>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F5F5F"/>
                </a:solidFill>
              </a:rPr>
              <a:t>Oracle Confidential – Internal/Restricted/Highly Restricted</a:t>
            </a:r>
            <a:endParaRPr lang="en-US" dirty="0">
              <a:solidFill>
                <a:srgbClr val="5F5F5F"/>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F5F5F"/>
                </a:solidFill>
              </a:rPr>
              <a:pPr defTabSz="914400"/>
              <a:t>‹#›</a:t>
            </a:fld>
            <a:endParaRPr lang="en-US" dirty="0">
              <a:solidFill>
                <a:srgbClr val="5F5F5F"/>
              </a:solidFill>
            </a:endParaRPr>
          </a:p>
        </p:txBody>
      </p:sp>
      <p:sp>
        <p:nvSpPr>
          <p:cNvPr id="15" name="TextBox 14"/>
          <p:cNvSpPr txBox="1"/>
          <p:nvPr/>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614115497"/>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 id="2147484360" r:id="rId11"/>
    <p:sldLayoutId id="2147484361" r:id="rId12"/>
    <p:sldLayoutId id="2147484362" r:id="rId13"/>
    <p:sldLayoutId id="2147484363" r:id="rId14"/>
    <p:sldLayoutId id="2147484364" r:id="rId15"/>
    <p:sldLayoutId id="2147484365" r:id="rId16"/>
    <p:sldLayoutId id="2147484366" r:id="rId17"/>
    <p:sldLayoutId id="2147484367" r:id="rId18"/>
    <p:sldLayoutId id="2147484368" r:id="rId19"/>
    <p:sldLayoutId id="2147484369" r:id="rId20"/>
    <p:sldLayoutId id="2147484370" r:id="rId21"/>
    <p:sldLayoutId id="2147484371" r:id="rId22"/>
    <p:sldLayoutId id="2147484372" r:id="rId23"/>
    <p:sldLayoutId id="2147484373" r:id="rId24"/>
    <p:sldLayoutId id="2147484374" r:id="rId25"/>
    <p:sldLayoutId id="2147484375" r:id="rId26"/>
    <p:sldLayoutId id="2147484376" r:id="rId27"/>
    <p:sldLayoutId id="2147484377" r:id="rId28"/>
    <p:sldLayoutId id="2147484378" r:id="rId29"/>
    <p:sldLayoutId id="2147484379" r:id="rId30"/>
    <p:sldLayoutId id="2147484380" r:id="rId31"/>
    <p:sldLayoutId id="2147484381" r:id="rId32"/>
    <p:sldLayoutId id="2147484382" r:id="rId33"/>
    <p:sldLayoutId id="2147484383" r:id="rId34"/>
    <p:sldLayoutId id="2147484384" r:id="rId35"/>
    <p:sldLayoutId id="2147484385" r:id="rId36"/>
    <p:sldLayoutId id="2147484386" r:id="rId37"/>
    <p:sldLayoutId id="2147484387" r:id="rId38"/>
    <p:sldLayoutId id="2147484388" r:id="rId39"/>
    <p:sldLayoutId id="2147484389" r:id="rId40"/>
    <p:sldLayoutId id="2147484390" r:id="rId41"/>
    <p:sldLayoutId id="2147484391"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0"/>
            <a:ext cx="12189398" cy="6858000"/>
            <a:chOff x="0" y="0"/>
            <a:chExt cx="12189398" cy="6858000"/>
          </a:xfrm>
        </p:grpSpPr>
        <p:sp>
          <p:nvSpPr>
            <p:cNvPr id="8" name="Rectangle 7"/>
            <p:cNvSpPr/>
            <p:nvPr/>
          </p:nvSpPr>
          <p:spPr bwMode="gray">
            <a:xfrm>
              <a:off x="0" y="0"/>
              <a:ext cx="193962"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9" name="Rectangle 8"/>
            <p:cNvSpPr/>
            <p:nvPr/>
          </p:nvSpPr>
          <p:spPr bwMode="gray">
            <a:xfrm>
              <a:off x="11995151" y="0"/>
              <a:ext cx="19396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0" name="Rectangle 9"/>
            <p:cNvSpPr/>
            <p:nvPr/>
          </p:nvSpPr>
          <p:spPr bwMode="gray">
            <a:xfrm>
              <a:off x="0" y="6400800"/>
              <a:ext cx="12189396" cy="4572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sp>
          <p:nvSpPr>
            <p:cNvPr id="11" name="Rectangle 10"/>
            <p:cNvSpPr/>
            <p:nvPr/>
          </p:nvSpPr>
          <p:spPr bwMode="gray">
            <a:xfrm>
              <a:off x="0" y="0"/>
              <a:ext cx="12189398" cy="1920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sz="1800" dirty="0">
                <a:solidFill>
                  <a:srgbClr val="FFFFFF"/>
                </a:solidFill>
              </a:endParaRPr>
            </a:p>
          </p:txBody>
        </p:sp>
      </p:grpSp>
      <p:sp>
        <p:nvSpPr>
          <p:cNvPr id="2" name="Title Placeholder 1"/>
          <p:cNvSpPr>
            <a:spLocks noGrp="1"/>
          </p:cNvSpPr>
          <p:nvPr>
            <p:ph type="title"/>
          </p:nvPr>
        </p:nvSpPr>
        <p:spPr>
          <a:xfrm>
            <a:off x="531812" y="406400"/>
            <a:ext cx="11125200" cy="889000"/>
          </a:xfrm>
          <a:prstGeom prst="rect">
            <a:avLst/>
          </a:prstGeom>
        </p:spPr>
        <p:txBody>
          <a:bodyPr vert="horz" lIns="0" tIns="0" rIns="0" bIns="0" rtlCol="0" anchor="b">
            <a:noAutofit/>
          </a:bodyPr>
          <a:lstStyle/>
          <a:p>
            <a:r>
              <a:rPr lang="en-US" smtClean="0"/>
              <a:t>Click to edit Master title style</a:t>
            </a:r>
            <a:endParaRPr dirty="0"/>
          </a:p>
        </p:txBody>
      </p:sp>
      <p:sp>
        <p:nvSpPr>
          <p:cNvPr id="3" name="Text Placeholder 2"/>
          <p:cNvSpPr>
            <a:spLocks noGrp="1"/>
          </p:cNvSpPr>
          <p:nvPr>
            <p:ph type="body" idx="1"/>
          </p:nvPr>
        </p:nvSpPr>
        <p:spPr>
          <a:xfrm>
            <a:off x="531151" y="1524001"/>
            <a:ext cx="11126522" cy="44196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4182130" y="6556248"/>
            <a:ext cx="1226398"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F58637A1-2757-41E8-AD98-43E9D0558D9A}" type="datetime1">
              <a:rPr lang="en-US" smtClean="0">
                <a:solidFill>
                  <a:srgbClr val="5F5F5F"/>
                </a:solidFill>
              </a:rPr>
              <a:pPr defTabSz="914400"/>
              <a:t>11/10/2016</a:t>
            </a:fld>
            <a:endParaRPr lang="en-US" dirty="0">
              <a:solidFill>
                <a:srgbClr val="5F5F5F"/>
              </a:solidFill>
            </a:endParaRPr>
          </a:p>
        </p:txBody>
      </p:sp>
      <p:sp>
        <p:nvSpPr>
          <p:cNvPr id="5" name="Footer Placeholder 4"/>
          <p:cNvSpPr>
            <a:spLocks noGrp="1"/>
          </p:cNvSpPr>
          <p:nvPr>
            <p:ph type="ftr" sz="quarter" idx="3"/>
          </p:nvPr>
        </p:nvSpPr>
        <p:spPr>
          <a:xfrm>
            <a:off x="8621423" y="6556248"/>
            <a:ext cx="2743200" cy="182880"/>
          </a:xfrm>
          <a:prstGeom prst="rect">
            <a:avLst/>
          </a:prstGeom>
        </p:spPr>
        <p:txBody>
          <a:bodyPr vert="horz" wrap="none" lIns="0" tIns="0" rIns="0" bIns="0" rtlCol="0" anchor="ctr" anchorCtr="0">
            <a:noAutofit/>
          </a:bodyPr>
          <a:lstStyle>
            <a:lvl1pPr algn="l">
              <a:defRPr sz="850">
                <a:solidFill>
                  <a:schemeClr val="tx1"/>
                </a:solidFill>
              </a:defRPr>
            </a:lvl1pPr>
          </a:lstStyle>
          <a:p>
            <a:pPr defTabSz="914400"/>
            <a:r>
              <a:rPr lang="en-US" smtClean="0">
                <a:solidFill>
                  <a:srgbClr val="5F5F5F"/>
                </a:solidFill>
              </a:rPr>
              <a:t>Oracle Confidential – Internal/Restricted/Highly Restricted</a:t>
            </a:r>
            <a:endParaRPr lang="en-US" dirty="0">
              <a:solidFill>
                <a:srgbClr val="5F5F5F"/>
              </a:solidFill>
            </a:endParaRPr>
          </a:p>
        </p:txBody>
      </p:sp>
      <p:sp>
        <p:nvSpPr>
          <p:cNvPr id="6" name="Slide Number Placeholder 5"/>
          <p:cNvSpPr>
            <a:spLocks noGrp="1"/>
          </p:cNvSpPr>
          <p:nvPr>
            <p:ph type="sldNum" sz="quarter" idx="4"/>
          </p:nvPr>
        </p:nvSpPr>
        <p:spPr>
          <a:xfrm>
            <a:off x="11276011" y="6556248"/>
            <a:ext cx="381661" cy="182880"/>
          </a:xfrm>
          <a:prstGeom prst="rect">
            <a:avLst/>
          </a:prstGeom>
        </p:spPr>
        <p:txBody>
          <a:bodyPr vert="horz" wrap="none" lIns="0" tIns="0" rIns="0" bIns="0" rtlCol="0" anchor="ctr" anchorCtr="0">
            <a:noAutofit/>
          </a:bodyPr>
          <a:lstStyle>
            <a:lvl1pPr algn="r">
              <a:defRPr sz="850">
                <a:solidFill>
                  <a:schemeClr val="tx1"/>
                </a:solidFill>
              </a:defRPr>
            </a:lvl1pPr>
          </a:lstStyle>
          <a:p>
            <a:pPr defTabSz="914400"/>
            <a:fld id="{C51EAA63-D034-42AE-91FA-B13B9518C7BE}" type="slidenum">
              <a:rPr lang="en-US" smtClean="0">
                <a:solidFill>
                  <a:srgbClr val="5F5F5F"/>
                </a:solidFill>
              </a:rPr>
              <a:pPr defTabSz="914400"/>
              <a:t>‹#›</a:t>
            </a:fld>
            <a:endParaRPr lang="en-US" dirty="0">
              <a:solidFill>
                <a:srgbClr val="5F5F5F"/>
              </a:solidFill>
            </a:endParaRPr>
          </a:p>
        </p:txBody>
      </p:sp>
      <p:sp>
        <p:nvSpPr>
          <p:cNvPr id="15" name="TextBox 14"/>
          <p:cNvSpPr txBox="1"/>
          <p:nvPr/>
        </p:nvSpPr>
        <p:spPr>
          <a:xfrm>
            <a:off x="5376672" y="6556248"/>
            <a:ext cx="3200400" cy="182880"/>
          </a:xfrm>
          <a:prstGeom prst="rect">
            <a:avLst/>
          </a:prstGeom>
          <a:noFill/>
        </p:spPr>
        <p:txBody>
          <a:bodyPr vert="horz" wrap="none" lIns="0" tIns="0" rIns="0" bIns="0" rtlCol="0" anchor="ctr" anchorCtr="0">
            <a:noAutofit/>
          </a:bodyPr>
          <a:lstStyle/>
          <a:p>
            <a:pPr algn="r" defTabSz="914400"/>
            <a:r>
              <a:rPr sz="850" dirty="0">
                <a:solidFill>
                  <a:srgbClr val="5F5F5F"/>
                </a:solidFill>
              </a:rPr>
              <a:t>Copyright © </a:t>
            </a:r>
            <a:r>
              <a:rPr sz="850" dirty="0" smtClean="0">
                <a:solidFill>
                  <a:srgbClr val="5F5F5F"/>
                </a:solidFill>
              </a:rPr>
              <a:t>201</a:t>
            </a:r>
            <a:r>
              <a:rPr lang="en-US" sz="850" dirty="0" smtClean="0">
                <a:solidFill>
                  <a:srgbClr val="5F5F5F"/>
                </a:solidFill>
              </a:rPr>
              <a:t>5,</a:t>
            </a:r>
            <a:r>
              <a:rPr sz="850" dirty="0" smtClean="0">
                <a:solidFill>
                  <a:srgbClr val="5F5F5F"/>
                </a:solidFill>
              </a:rPr>
              <a:t> </a:t>
            </a:r>
            <a:r>
              <a:rPr sz="850" dirty="0">
                <a:solidFill>
                  <a:srgbClr val="5F5F5F"/>
                </a:solidFill>
              </a:rPr>
              <a:t>Oracle and/or its affiliates. All rights reserved.  </a:t>
            </a:r>
            <a:r>
              <a:rPr sz="850" dirty="0" smtClean="0">
                <a:solidFill>
                  <a:srgbClr val="5F5F5F"/>
                </a:solidFill>
              </a:rPr>
              <a:t>|</a:t>
            </a:r>
            <a:endParaRPr sz="850" dirty="0">
              <a:solidFill>
                <a:srgbClr val="5F5F5F"/>
              </a:solidFill>
            </a:endParaRPr>
          </a:p>
        </p:txBody>
      </p:sp>
      <p:pic>
        <p:nvPicPr>
          <p:cNvPr id="16" name="Picture 15" descr="Oracle logo in white on red staging background" title="Oracle red badge logo"/>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30352" y="6263640"/>
            <a:ext cx="1625138" cy="594360"/>
          </a:xfrm>
          <a:prstGeom prst="rect">
            <a:avLst/>
          </a:prstGeom>
        </p:spPr>
      </p:pic>
    </p:spTree>
    <p:extLst>
      <p:ext uri="{BB962C8B-B14F-4D97-AF65-F5344CB8AC3E}">
        <p14:creationId xmlns:p14="http://schemas.microsoft.com/office/powerpoint/2010/main" val="1935489049"/>
      </p:ext>
    </p:extLst>
  </p:cSld>
  <p:clrMap bg1="lt1" tx1="dk1" bg2="lt2" tx2="dk2" accent1="accent1" accent2="accent2" accent3="accent3" accent4="accent4" accent5="accent5" accent6="accent6" hlink="hlink" folHlink="folHlink"/>
  <p:sldLayoutIdLst>
    <p:sldLayoutId id="2147484393" r:id="rId1"/>
    <p:sldLayoutId id="2147484394" r:id="rId2"/>
    <p:sldLayoutId id="2147484395" r:id="rId3"/>
    <p:sldLayoutId id="2147484396" r:id="rId4"/>
    <p:sldLayoutId id="2147484397" r:id="rId5"/>
    <p:sldLayoutId id="2147484398" r:id="rId6"/>
    <p:sldLayoutId id="2147484399" r:id="rId7"/>
    <p:sldLayoutId id="2147484400" r:id="rId8"/>
    <p:sldLayoutId id="2147484401" r:id="rId9"/>
    <p:sldLayoutId id="2147484402" r:id="rId10"/>
    <p:sldLayoutId id="2147484403" r:id="rId11"/>
    <p:sldLayoutId id="2147484404" r:id="rId12"/>
    <p:sldLayoutId id="2147484405" r:id="rId13"/>
    <p:sldLayoutId id="2147484406" r:id="rId14"/>
    <p:sldLayoutId id="2147484407" r:id="rId15"/>
    <p:sldLayoutId id="2147484408" r:id="rId16"/>
    <p:sldLayoutId id="2147484409" r:id="rId17"/>
    <p:sldLayoutId id="2147484410" r:id="rId18"/>
    <p:sldLayoutId id="2147484411" r:id="rId19"/>
    <p:sldLayoutId id="2147484412" r:id="rId20"/>
    <p:sldLayoutId id="2147484413" r:id="rId21"/>
    <p:sldLayoutId id="2147484414" r:id="rId22"/>
    <p:sldLayoutId id="2147484415" r:id="rId23"/>
    <p:sldLayoutId id="2147484416" r:id="rId24"/>
    <p:sldLayoutId id="2147484417" r:id="rId25"/>
    <p:sldLayoutId id="2147484418" r:id="rId26"/>
    <p:sldLayoutId id="2147484419" r:id="rId27"/>
    <p:sldLayoutId id="2147484420" r:id="rId28"/>
    <p:sldLayoutId id="2147484421" r:id="rId29"/>
    <p:sldLayoutId id="2147484422" r:id="rId30"/>
    <p:sldLayoutId id="2147484423" r:id="rId31"/>
    <p:sldLayoutId id="2147484424" r:id="rId32"/>
    <p:sldLayoutId id="2147484425" r:id="rId33"/>
    <p:sldLayoutId id="2147484426" r:id="rId34"/>
    <p:sldLayoutId id="2147484427" r:id="rId35"/>
    <p:sldLayoutId id="2147484428" r:id="rId36"/>
    <p:sldLayoutId id="2147484429" r:id="rId37"/>
    <p:sldLayoutId id="2147484430" r:id="rId38"/>
    <p:sldLayoutId id="2147484431" r:id="rId39"/>
    <p:sldLayoutId id="2147484432" r:id="rId40"/>
    <p:sldLayoutId id="2147484433" r:id="rId41"/>
    <p:sldLayoutId id="2147484434"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8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98.xml"/><Relationship Id="rId6"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xml"/><Relationship Id="rId1" Type="http://schemas.openxmlformats.org/officeDocument/2006/relationships/slideLayout" Target="../slideLayouts/slideLayout19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xml"/><Relationship Id="rId1" Type="http://schemas.openxmlformats.org/officeDocument/2006/relationships/slideLayout" Target="../slideLayouts/slideLayout159.xml"/><Relationship Id="rId5" Type="http://schemas.openxmlformats.org/officeDocument/2006/relationships/image" Target="../media/image81.png"/><Relationship Id="rId4" Type="http://schemas.openxmlformats.org/officeDocument/2006/relationships/image" Target="../media/image80.png"/></Relationships>
</file>

<file path=ppt/slides/_rels/slide21.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95.png"/><Relationship Id="rId3" Type="http://schemas.openxmlformats.org/officeDocument/2006/relationships/image" Target="../media/image80.png"/><Relationship Id="rId21" Type="http://schemas.openxmlformats.org/officeDocument/2006/relationships/image" Target="../media/image98.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94.png"/><Relationship Id="rId2" Type="http://schemas.openxmlformats.org/officeDocument/2006/relationships/notesSlide" Target="../notesSlides/notesSlide8.xml"/><Relationship Id="rId16" Type="http://schemas.openxmlformats.org/officeDocument/2006/relationships/image" Target="../media/image93.png"/><Relationship Id="rId20" Type="http://schemas.openxmlformats.org/officeDocument/2006/relationships/image" Target="../media/image97.png"/><Relationship Id="rId1" Type="http://schemas.openxmlformats.org/officeDocument/2006/relationships/slideLayout" Target="../slideLayouts/slideLayout159.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5" Type="http://schemas.openxmlformats.org/officeDocument/2006/relationships/image" Target="../media/image92.png"/><Relationship Id="rId23" Type="http://schemas.openxmlformats.org/officeDocument/2006/relationships/image" Target="../media/image81.png"/><Relationship Id="rId10" Type="http://schemas.openxmlformats.org/officeDocument/2006/relationships/image" Target="../media/image87.png"/><Relationship Id="rId19" Type="http://schemas.openxmlformats.org/officeDocument/2006/relationships/image" Target="../media/image96.png"/><Relationship Id="rId4" Type="http://schemas.openxmlformats.org/officeDocument/2006/relationships/image" Target="../media/image79.png"/><Relationship Id="rId9" Type="http://schemas.openxmlformats.org/officeDocument/2006/relationships/image" Target="../media/image86.png"/><Relationship Id="rId14" Type="http://schemas.openxmlformats.org/officeDocument/2006/relationships/image" Target="../media/image91.png"/><Relationship Id="rId22"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9.xml"/><Relationship Id="rId1" Type="http://schemas.openxmlformats.org/officeDocument/2006/relationships/slideLayout" Target="../slideLayouts/slideLayout335.xml"/><Relationship Id="rId6" Type="http://schemas.openxmlformats.org/officeDocument/2006/relationships/image" Target="../media/image56.png"/><Relationship Id="rId5" Type="http://schemas.openxmlformats.org/officeDocument/2006/relationships/image" Target="../media/image100.png"/><Relationship Id="rId4" Type="http://schemas.openxmlformats.org/officeDocument/2006/relationships/hyperlink" Target="http://www.oracle.com/us/corporate/customers/customersearch/zagreb-bank-1-adv-analytics-3014721.html"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25.xml.rels><?xml version="1.0" encoding="UTF-8" standalone="yes"?>
<Relationships xmlns="http://schemas.openxmlformats.org/package/2006/relationships"><Relationship Id="rId3" Type="http://schemas.openxmlformats.org/officeDocument/2006/relationships/image" Target="../media/image1.pdf"/><Relationship Id="rId2" Type="http://schemas.openxmlformats.org/officeDocument/2006/relationships/notesSlide" Target="../notesSlides/notesSlide11.xml"/><Relationship Id="rId1" Type="http://schemas.openxmlformats.org/officeDocument/2006/relationships/slideLayout" Target="../slideLayouts/slideLayout75.xml"/><Relationship Id="rId6" Type="http://schemas.openxmlformats.org/officeDocument/2006/relationships/image" Target="../media/image103.png"/><Relationship Id="rId5" Type="http://schemas.openxmlformats.org/officeDocument/2006/relationships/image" Target="../media/image4.pdf"/><Relationship Id="rId4" Type="http://schemas.openxmlformats.org/officeDocument/2006/relationships/image" Target="../media/image102.png"/></Relationships>
</file>

<file path=ppt/slides/_rels/slide26.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image" Target="../media/image107.png"/><Relationship Id="rId39" Type="http://schemas.openxmlformats.org/officeDocument/2006/relationships/image" Target="../media/image115.jpeg"/><Relationship Id="rId3" Type="http://schemas.openxmlformats.org/officeDocument/2006/relationships/tags" Target="../tags/tag11.xml"/><Relationship Id="rId21" Type="http://schemas.openxmlformats.org/officeDocument/2006/relationships/slideLayout" Target="../slideLayouts/slideLayout581.xml"/><Relationship Id="rId34" Type="http://schemas.openxmlformats.org/officeDocument/2006/relationships/image" Target="../media/image110.png"/><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image" Target="../media/image106.jpeg"/><Relationship Id="rId33" Type="http://schemas.openxmlformats.org/officeDocument/2006/relationships/image" Target="../media/image109.png"/><Relationship Id="rId38" Type="http://schemas.openxmlformats.org/officeDocument/2006/relationships/image" Target="../media/image114.png"/><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diagramQuickStyle" Target="../diagrams/quickStyle1.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105.png"/><Relationship Id="rId32" Type="http://schemas.openxmlformats.org/officeDocument/2006/relationships/image" Target="../media/image108.jpeg"/><Relationship Id="rId37" Type="http://schemas.openxmlformats.org/officeDocument/2006/relationships/image" Target="../media/image113.pn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image" Target="../media/image104.jpeg"/><Relationship Id="rId28" Type="http://schemas.openxmlformats.org/officeDocument/2006/relationships/diagramLayout" Target="../diagrams/layout1.xml"/><Relationship Id="rId36" Type="http://schemas.openxmlformats.org/officeDocument/2006/relationships/image" Target="../media/image112.png"/><Relationship Id="rId10" Type="http://schemas.openxmlformats.org/officeDocument/2006/relationships/tags" Target="../tags/tag18.xml"/><Relationship Id="rId19" Type="http://schemas.openxmlformats.org/officeDocument/2006/relationships/tags" Target="../tags/tag27.xml"/><Relationship Id="rId31" Type="http://schemas.microsoft.com/office/2007/relationships/diagramDrawing" Target="../diagrams/drawing1.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notesSlide" Target="../notesSlides/notesSlide12.xml"/><Relationship Id="rId27" Type="http://schemas.openxmlformats.org/officeDocument/2006/relationships/diagramData" Target="../diagrams/data1.xml"/><Relationship Id="rId30" Type="http://schemas.openxmlformats.org/officeDocument/2006/relationships/diagramColors" Target="../diagrams/colors1.xml"/><Relationship Id="rId35" Type="http://schemas.openxmlformats.org/officeDocument/2006/relationships/image" Target="../media/image111.png"/></Relationships>
</file>

<file path=ppt/slides/_rels/slide27.xml.rels><?xml version="1.0" encoding="UTF-8" standalone="yes"?>
<Relationships xmlns="http://schemas.openxmlformats.org/package/2006/relationships"><Relationship Id="rId3" Type="http://schemas.openxmlformats.org/officeDocument/2006/relationships/hyperlink" Target="http://www.computing.co.uk/ctg/news/2144534/betfair-boosts-revenue-oracle-analytics" TargetMode="External"/><Relationship Id="rId2" Type="http://schemas.openxmlformats.org/officeDocument/2006/relationships/image" Target="../media/image116.png"/><Relationship Id="rId1" Type="http://schemas.openxmlformats.org/officeDocument/2006/relationships/slideLayout" Target="../slideLayouts/slideLayout428.xml"/></Relationships>
</file>

<file path=ppt/slides/_rels/slide2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4.xml"/><Relationship Id="rId1" Type="http://schemas.openxmlformats.org/officeDocument/2006/relationships/slideLayout" Target="../slideLayouts/slideLayout39.xml"/><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5.xml"/><Relationship Id="rId1" Type="http://schemas.openxmlformats.org/officeDocument/2006/relationships/slideLayout" Target="../slideLayouts/slideLayout393.xml"/></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6.xml"/><Relationship Id="rId1" Type="http://schemas.openxmlformats.org/officeDocument/2006/relationships/slideLayout" Target="../slideLayouts/slideLayout420.xml"/><Relationship Id="rId4" Type="http://schemas.openxmlformats.org/officeDocument/2006/relationships/image" Target="../media/image121.jpeg"/></Relationships>
</file>

<file path=ppt/slides/_rels/slide32.xml.rels><?xml version="1.0" encoding="UTF-8" standalone="yes"?>
<Relationships xmlns="http://schemas.openxmlformats.org/package/2006/relationships"><Relationship Id="rId3" Type="http://schemas.openxmlformats.org/officeDocument/2006/relationships/image" Target="../media/image122.jpg"/><Relationship Id="rId2" Type="http://schemas.openxmlformats.org/officeDocument/2006/relationships/notesSlide" Target="../notesSlides/notesSlide17.xml"/><Relationship Id="rId1" Type="http://schemas.openxmlformats.org/officeDocument/2006/relationships/slideLayout" Target="../slideLayouts/slideLayout406.xml"/><Relationship Id="rId5" Type="http://schemas.openxmlformats.org/officeDocument/2006/relationships/image" Target="../media/image124.jpeg"/><Relationship Id="rId4" Type="http://schemas.openxmlformats.org/officeDocument/2006/relationships/image" Target="../media/image123.jpg"/></Relationships>
</file>

<file path=ppt/slides/_rels/slide33.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18.xml"/><Relationship Id="rId1" Type="http://schemas.openxmlformats.org/officeDocument/2006/relationships/slideLayout" Target="../slideLayouts/slideLayout355.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gif"/></Relationships>
</file>

<file path=ppt/slides/_rels/slide34.xml.rels><?xml version="1.0" encoding="UTF-8" standalone="yes"?>
<Relationships xmlns="http://schemas.openxmlformats.org/package/2006/relationships"><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19.xml"/><Relationship Id="rId1" Type="http://schemas.openxmlformats.org/officeDocument/2006/relationships/slideLayout" Target="../slideLayouts/slideLayout21.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3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607.xml"/><Relationship Id="rId7" Type="http://schemas.openxmlformats.org/officeDocument/2006/relationships/image" Target="../media/image136.png"/><Relationship Id="rId2" Type="http://schemas.openxmlformats.org/officeDocument/2006/relationships/tags" Target="../tags/tag30.xml"/><Relationship Id="rId1" Type="http://schemas.openxmlformats.org/officeDocument/2006/relationships/vmlDrawing" Target="../drawings/vmlDrawing1.vml"/><Relationship Id="rId6" Type="http://schemas.openxmlformats.org/officeDocument/2006/relationships/image" Target="../media/image135.emf"/><Relationship Id="rId5" Type="http://schemas.openxmlformats.org/officeDocument/2006/relationships/oleObject" Target="../embeddings/oleObject1.bin"/><Relationship Id="rId4" Type="http://schemas.openxmlformats.org/officeDocument/2006/relationships/notesSlide" Target="../notesSlides/notesSlide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51.xml"/></Relationships>
</file>

<file path=ppt/slides/_rels/slide37.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508.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98.xml"/><Relationship Id="rId1" Type="http://schemas.openxmlformats.org/officeDocument/2006/relationships/tags" Target="../tags/tag31.xml"/><Relationship Id="rId4" Type="http://schemas.openxmlformats.org/officeDocument/2006/relationships/slide" Target="slide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6.xml"/><Relationship Id="rId4" Type="http://schemas.openxmlformats.org/officeDocument/2006/relationships/image" Target="../media/image140.jpg"/></Relationships>
</file>

<file path=ppt/slides/_rels/slide41.xml.rels><?xml version="1.0" encoding="UTF-8" standalone="yes"?>
<Relationships xmlns="http://schemas.openxmlformats.org/package/2006/relationships"><Relationship Id="rId3" Type="http://schemas.openxmlformats.org/officeDocument/2006/relationships/image" Target="../media/image141.jpg"/><Relationship Id="rId2" Type="http://schemas.openxmlformats.org/officeDocument/2006/relationships/image" Target="../media/image139.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56.png"/><Relationship Id="rId18" Type="http://schemas.openxmlformats.org/officeDocument/2006/relationships/image" Target="../media/image155.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png"/><Relationship Id="rId17" Type="http://schemas.openxmlformats.org/officeDocument/2006/relationships/image" Target="../media/image98.png"/><Relationship Id="rId2" Type="http://schemas.openxmlformats.org/officeDocument/2006/relationships/notesSlide" Target="../notesSlides/notesSlide22.xml"/><Relationship Id="rId16" Type="http://schemas.openxmlformats.org/officeDocument/2006/relationships/image" Target="../media/image154.png"/><Relationship Id="rId20" Type="http://schemas.openxmlformats.org/officeDocument/2006/relationships/image" Target="../media/image157.tiff"/><Relationship Id="rId1" Type="http://schemas.openxmlformats.org/officeDocument/2006/relationships/slideLayout" Target="../slideLayouts/slideLayout249.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5" Type="http://schemas.openxmlformats.org/officeDocument/2006/relationships/image" Target="../media/image153.jpeg"/><Relationship Id="rId10" Type="http://schemas.openxmlformats.org/officeDocument/2006/relationships/image" Target="../media/image149.emf"/><Relationship Id="rId19" Type="http://schemas.openxmlformats.org/officeDocument/2006/relationships/image" Target="../media/image156.tiff"/><Relationship Id="rId4" Type="http://schemas.openxmlformats.org/officeDocument/2006/relationships/image" Target="../media/image143.jpeg"/><Relationship Id="rId9" Type="http://schemas.openxmlformats.org/officeDocument/2006/relationships/image" Target="../media/image148.png"/><Relationship Id="rId14" Type="http://schemas.openxmlformats.org/officeDocument/2006/relationships/image" Target="../media/image152.png"/></Relationships>
</file>

<file path=ppt/slides/_rels/slide43.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3.xml"/><Relationship Id="rId1" Type="http://schemas.openxmlformats.org/officeDocument/2006/relationships/slideLayout" Target="../slideLayouts/slideLayout20.xml"/><Relationship Id="rId5" Type="http://schemas.openxmlformats.org/officeDocument/2006/relationships/image" Target="../media/image159.png"/><Relationship Id="rId4" Type="http://schemas.openxmlformats.org/officeDocument/2006/relationships/image" Target="../media/image56.png"/></Relationships>
</file>

<file path=ppt/slides/_rels/slide44.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4.xml"/><Relationship Id="rId1" Type="http://schemas.openxmlformats.org/officeDocument/2006/relationships/slideLayout" Target="../slideLayouts/slideLayout39.xml"/><Relationship Id="rId4" Type="http://schemas.openxmlformats.org/officeDocument/2006/relationships/image" Target="../media/image161.png"/></Relationships>
</file>

<file path=ppt/slides/_rels/slide45.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72.png"/><Relationship Id="rId3" Type="http://schemas.openxmlformats.org/officeDocument/2006/relationships/image" Target="../media/image162.png"/><Relationship Id="rId7" Type="http://schemas.openxmlformats.org/officeDocument/2006/relationships/image" Target="../media/image166.png"/><Relationship Id="rId12" Type="http://schemas.openxmlformats.org/officeDocument/2006/relationships/image" Target="../media/image171.png"/><Relationship Id="rId2" Type="http://schemas.openxmlformats.org/officeDocument/2006/relationships/notesSlide" Target="../notesSlides/notesSlide25.xml"/><Relationship Id="rId1" Type="http://schemas.openxmlformats.org/officeDocument/2006/relationships/slideLayout" Target="../slideLayouts/slideLayout74.xml"/><Relationship Id="rId6" Type="http://schemas.openxmlformats.org/officeDocument/2006/relationships/image" Target="../media/image165.png"/><Relationship Id="rId11" Type="http://schemas.openxmlformats.org/officeDocument/2006/relationships/image" Target="../media/image170.jpeg"/><Relationship Id="rId5" Type="http://schemas.openxmlformats.org/officeDocument/2006/relationships/image" Target="../media/image164.wmf"/><Relationship Id="rId15" Type="http://schemas.openxmlformats.org/officeDocument/2006/relationships/image" Target="../media/image159.png"/><Relationship Id="rId10" Type="http://schemas.openxmlformats.org/officeDocument/2006/relationships/image" Target="../media/image169.png"/><Relationship Id="rId4" Type="http://schemas.openxmlformats.org/officeDocument/2006/relationships/image" Target="../media/image163.png"/><Relationship Id="rId9" Type="http://schemas.openxmlformats.org/officeDocument/2006/relationships/image" Target="../media/image168.png"/><Relationship Id="rId14" Type="http://schemas.openxmlformats.org/officeDocument/2006/relationships/image" Target="../media/image5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683.xml"/></Relationships>
</file>

<file path=ppt/slides/_rels/slide8.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Full slide 4-color photo can be inserted here"/>
          <p:cNvSpPr>
            <a:spLocks noGrp="1"/>
          </p:cNvSpPr>
          <p:nvPr>
            <p:ph type="ctrTitle"/>
          </p:nvPr>
        </p:nvSpPr>
        <p:spPr>
          <a:xfrm>
            <a:off x="531812" y="1676400"/>
            <a:ext cx="10591800" cy="1470025"/>
          </a:xfrm>
        </p:spPr>
        <p:txBody>
          <a:bodyPr/>
          <a:lstStyle/>
          <a:p>
            <a:r>
              <a:rPr lang="hr-HR" dirty="0" err="1" smtClean="0"/>
              <a:t>Machine</a:t>
            </a:r>
            <a:r>
              <a:rPr lang="hr-HR" dirty="0" smtClean="0"/>
              <a:t> </a:t>
            </a:r>
            <a:r>
              <a:rPr lang="hr-HR" dirty="0" err="1" smtClean="0"/>
              <a:t>Learning</a:t>
            </a:r>
            <a:r>
              <a:rPr lang="hr-HR" dirty="0" smtClean="0"/>
              <a:t/>
            </a:r>
            <a:br>
              <a:rPr lang="hr-HR" dirty="0" smtClean="0"/>
            </a:br>
            <a:endParaRPr lang="en-US" dirty="0"/>
          </a:p>
        </p:txBody>
      </p:sp>
      <p:sp>
        <p:nvSpPr>
          <p:cNvPr id="6" name="Text Placeholder 5"/>
          <p:cNvSpPr>
            <a:spLocks noGrp="1"/>
          </p:cNvSpPr>
          <p:nvPr>
            <p:ph type="body" sz="quarter" idx="13"/>
          </p:nvPr>
        </p:nvSpPr>
        <p:spPr>
          <a:xfrm>
            <a:off x="531812" y="4366074"/>
            <a:ext cx="10210799" cy="2514149"/>
          </a:xfrm>
        </p:spPr>
        <p:txBody>
          <a:bodyPr/>
          <a:lstStyle/>
          <a:p>
            <a:r>
              <a:rPr lang="hr-HR" dirty="0" smtClean="0"/>
              <a:t>Igor Rajić</a:t>
            </a:r>
          </a:p>
          <a:p>
            <a:r>
              <a:rPr lang="hr-HR" dirty="0" smtClean="0"/>
              <a:t>Business Development Manager </a:t>
            </a:r>
            <a:r>
              <a:rPr lang="hr-HR" dirty="0" err="1" smtClean="0"/>
              <a:t>Fusion</a:t>
            </a:r>
            <a:r>
              <a:rPr lang="hr-HR" dirty="0" smtClean="0"/>
              <a:t> </a:t>
            </a:r>
            <a:r>
              <a:rPr lang="hr-HR" dirty="0" err="1" smtClean="0"/>
              <a:t>Middleware</a:t>
            </a:r>
            <a:r>
              <a:rPr lang="hr-HR" dirty="0" smtClean="0"/>
              <a:t> &amp; Business </a:t>
            </a:r>
            <a:r>
              <a:rPr lang="hr-HR" dirty="0" err="1" smtClean="0"/>
              <a:t>Analytics</a:t>
            </a:r>
            <a:endParaRPr lang="hr-HR" dirty="0" smtClean="0"/>
          </a:p>
        </p:txBody>
      </p:sp>
      <p:sp>
        <p:nvSpPr>
          <p:cNvPr id="9" name="Subtitle 8"/>
          <p:cNvSpPr>
            <a:spLocks noGrp="1"/>
          </p:cNvSpPr>
          <p:nvPr>
            <p:ph type="subTitle" idx="1"/>
          </p:nvPr>
        </p:nvSpPr>
        <p:spPr>
          <a:xfrm>
            <a:off x="608012" y="3222622"/>
            <a:ext cx="10896600" cy="968378"/>
          </a:xfrm>
        </p:spPr>
        <p:txBody>
          <a:bodyPr/>
          <a:lstStyle/>
          <a:p>
            <a:pPr marL="0" lvl="1" algn="l"/>
            <a:r>
              <a:rPr lang="hr-HR" sz="2800" b="1" i="1" dirty="0" smtClean="0"/>
              <a:t>Oracle Hrvatska</a:t>
            </a:r>
            <a:endParaRPr lang="en-US" sz="2800" b="1" i="1" dirty="0" smtClean="0"/>
          </a:p>
        </p:txBody>
      </p:sp>
    </p:spTree>
    <p:extLst>
      <p:ext uri="{BB962C8B-B14F-4D97-AF65-F5344CB8AC3E}">
        <p14:creationId xmlns:p14="http://schemas.microsoft.com/office/powerpoint/2010/main" val="3367760557"/>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dicting house prices – model 2 quadratic</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13007" y="1524000"/>
            <a:ext cx="5762811" cy="4419600"/>
          </a:xfrm>
        </p:spPr>
      </p:pic>
    </p:spTree>
    <p:extLst>
      <p:ext uri="{BB962C8B-B14F-4D97-AF65-F5344CB8AC3E}">
        <p14:creationId xmlns:p14="http://schemas.microsoft.com/office/powerpoint/2010/main" val="95173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dicting house prices – model 3 high order polynomial</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41119" y="1524000"/>
            <a:ext cx="5706587" cy="4419600"/>
          </a:xfrm>
        </p:spPr>
      </p:pic>
      <p:sp>
        <p:nvSpPr>
          <p:cNvPr id="3" name="Rectangle 2"/>
          <p:cNvSpPr/>
          <p:nvPr/>
        </p:nvSpPr>
        <p:spPr>
          <a:xfrm>
            <a:off x="6780212" y="5867400"/>
            <a:ext cx="1981200" cy="2286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Tree>
    <p:extLst>
      <p:ext uri="{BB962C8B-B14F-4D97-AF65-F5344CB8AC3E}">
        <p14:creationId xmlns:p14="http://schemas.microsoft.com/office/powerpoint/2010/main" val="405757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r-HR" dirty="0" err="1"/>
              <a:t>Predicting</a:t>
            </a:r>
            <a:r>
              <a:rPr lang="hr-HR" dirty="0"/>
              <a:t> </a:t>
            </a:r>
            <a:r>
              <a:rPr lang="hr-HR" dirty="0" err="1"/>
              <a:t>house</a:t>
            </a:r>
            <a:r>
              <a:rPr lang="hr-HR" dirty="0"/>
              <a:t> </a:t>
            </a:r>
            <a:r>
              <a:rPr lang="hr-HR" dirty="0" err="1" smtClean="0"/>
              <a:t>prices</a:t>
            </a:r>
            <a:r>
              <a:rPr lang="hr-HR" dirty="0" smtClean="0"/>
              <a:t> - </a:t>
            </a:r>
            <a:r>
              <a:rPr lang="hr-HR" dirty="0" err="1" smtClean="0"/>
              <a:t>overfitting</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66437" y="1524000"/>
            <a:ext cx="5655951" cy="4419600"/>
          </a:xfrm>
        </p:spPr>
      </p:pic>
      <p:sp>
        <p:nvSpPr>
          <p:cNvPr id="7" name="Rectangle 6"/>
          <p:cNvSpPr/>
          <p:nvPr/>
        </p:nvSpPr>
        <p:spPr>
          <a:xfrm>
            <a:off x="6780212" y="5867400"/>
            <a:ext cx="1981200" cy="2286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Tree>
    <p:extLst>
      <p:ext uri="{BB962C8B-B14F-4D97-AF65-F5344CB8AC3E}">
        <p14:creationId xmlns:p14="http://schemas.microsoft.com/office/powerpoint/2010/main" val="2348271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ple features (input variables)</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03314" y="1600200"/>
            <a:ext cx="8382198" cy="4419600"/>
          </a:xfrm>
        </p:spPr>
      </p:pic>
      <p:sp>
        <p:nvSpPr>
          <p:cNvPr id="5" name="Rectangle 4"/>
          <p:cNvSpPr/>
          <p:nvPr/>
        </p:nvSpPr>
        <p:spPr>
          <a:xfrm>
            <a:off x="1903314" y="1600200"/>
            <a:ext cx="4038598" cy="6858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3" name="TextBox 2"/>
          <p:cNvSpPr txBox="1"/>
          <p:nvPr/>
        </p:nvSpPr>
        <p:spPr>
          <a:xfrm>
            <a:off x="8913812" y="3048000"/>
            <a:ext cx="2286000" cy="2514600"/>
          </a:xfrm>
          <a:prstGeom prst="rect">
            <a:avLst/>
          </a:prstGeom>
          <a:noFill/>
        </p:spPr>
        <p:txBody>
          <a:bodyPr wrap="none" lIns="0" tIns="0" rIns="0" bIns="0" rtlCol="0">
            <a:noAutofit/>
          </a:bodyPr>
          <a:lstStyle/>
          <a:p>
            <a:pPr>
              <a:lnSpc>
                <a:spcPct val="90000"/>
              </a:lnSpc>
            </a:pPr>
            <a:r>
              <a:rPr lang="en-US" dirty="0" smtClean="0"/>
              <a:t>Other possible features</a:t>
            </a:r>
          </a:p>
          <a:p>
            <a:pPr marL="342900" indent="-342900">
              <a:lnSpc>
                <a:spcPct val="90000"/>
              </a:lnSpc>
              <a:buFont typeface="Arial" panose="020B0604020202020204" pitchFamily="34" charset="0"/>
              <a:buChar char="•"/>
            </a:pPr>
            <a:r>
              <a:rPr lang="en-US" dirty="0" smtClean="0"/>
              <a:t># bedrooms</a:t>
            </a:r>
          </a:p>
          <a:p>
            <a:pPr marL="342900" indent="-342900">
              <a:lnSpc>
                <a:spcPct val="90000"/>
              </a:lnSpc>
              <a:buFont typeface="Arial" panose="020B0604020202020204" pitchFamily="34" charset="0"/>
              <a:buChar char="•"/>
            </a:pPr>
            <a:r>
              <a:rPr lang="en-US" dirty="0" smtClean="0"/>
              <a:t>Plot size</a:t>
            </a:r>
          </a:p>
          <a:p>
            <a:pPr marL="342900" indent="-342900">
              <a:lnSpc>
                <a:spcPct val="90000"/>
              </a:lnSpc>
              <a:buFont typeface="Arial" panose="020B0604020202020204" pitchFamily="34" charset="0"/>
              <a:buChar char="•"/>
            </a:pPr>
            <a:r>
              <a:rPr lang="en-US" dirty="0" smtClean="0"/>
              <a:t>Quality of neighborhood</a:t>
            </a:r>
          </a:p>
          <a:p>
            <a:pPr marL="342900" indent="-342900">
              <a:lnSpc>
                <a:spcPct val="90000"/>
              </a:lnSpc>
              <a:buFont typeface="Arial" panose="020B0604020202020204" pitchFamily="34" charset="0"/>
              <a:buChar char="•"/>
            </a:pPr>
            <a:r>
              <a:rPr lang="en-US" dirty="0" smtClean="0"/>
              <a:t>Year of construction</a:t>
            </a:r>
          </a:p>
          <a:p>
            <a:pPr marL="342900" indent="-342900">
              <a:lnSpc>
                <a:spcPct val="90000"/>
              </a:lnSpc>
              <a:buFont typeface="Arial" panose="020B0604020202020204" pitchFamily="34" charset="0"/>
              <a:buChar char="•"/>
            </a:pPr>
            <a:r>
              <a:rPr lang="en-US" dirty="0" smtClean="0"/>
              <a:t>…</a:t>
            </a:r>
            <a:endParaRPr lang="hr-HR" dirty="0" smtClean="0"/>
          </a:p>
          <a:p>
            <a:pPr marL="342900" indent="-342900">
              <a:lnSpc>
                <a:spcPct val="90000"/>
              </a:lnSpc>
              <a:buFont typeface="Arial" panose="020B0604020202020204" pitchFamily="34" charset="0"/>
              <a:buChar char="•"/>
            </a:pPr>
            <a:endParaRPr lang="hr-HR" dirty="0"/>
          </a:p>
          <a:p>
            <a:pPr marL="342900" indent="-342900">
              <a:lnSpc>
                <a:spcPct val="90000"/>
              </a:lnSpc>
              <a:buFont typeface="Arial" panose="020B0604020202020204" pitchFamily="34" charset="0"/>
              <a:buChar char="•"/>
            </a:pPr>
            <a:r>
              <a:rPr lang="hr-HR" dirty="0" err="1" smtClean="0"/>
              <a:t>Few</a:t>
            </a:r>
            <a:r>
              <a:rPr lang="hr-HR" dirty="0" smtClean="0"/>
              <a:t> 100s </a:t>
            </a:r>
            <a:r>
              <a:rPr lang="hr-HR" dirty="0" err="1" smtClean="0"/>
              <a:t>typical</a:t>
            </a:r>
            <a:endParaRPr lang="en-US" dirty="0" smtClean="0"/>
          </a:p>
          <a:p>
            <a:pPr marL="342900" indent="-342900">
              <a:lnSpc>
                <a:spcPct val="90000"/>
              </a:lnSpc>
              <a:buFont typeface="Arial" panose="020B0604020202020204" pitchFamily="34" charset="0"/>
              <a:buChar char="•"/>
            </a:pPr>
            <a:endParaRPr lang="en-US" dirty="0" smtClean="0"/>
          </a:p>
          <a:p>
            <a:pPr marL="342900" indent="-342900">
              <a:lnSpc>
                <a:spcPct val="90000"/>
              </a:lnSpc>
              <a:buFont typeface="Arial" panose="020B0604020202020204" pitchFamily="34" charset="0"/>
              <a:buChar char="•"/>
            </a:pPr>
            <a:endParaRPr lang="en-US" dirty="0" smtClean="0"/>
          </a:p>
          <a:p>
            <a:pPr marL="342900" indent="-342900">
              <a:lnSpc>
                <a:spcPct val="90000"/>
              </a:lnSpc>
              <a:buFont typeface="Arial" panose="020B0604020202020204" pitchFamily="34" charset="0"/>
              <a:buChar char="•"/>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smtClean="0"/>
          </a:p>
          <a:p>
            <a:pPr>
              <a:lnSpc>
                <a:spcPct val="90000"/>
              </a:lnSpc>
            </a:pPr>
            <a:endParaRPr lang="en-US" dirty="0"/>
          </a:p>
        </p:txBody>
      </p:sp>
    </p:spTree>
    <p:extLst>
      <p:ext uri="{BB962C8B-B14F-4D97-AF65-F5344CB8AC3E}">
        <p14:creationId xmlns:p14="http://schemas.microsoft.com/office/powerpoint/2010/main" val="90907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does complexity come from?</a:t>
            </a:r>
            <a:endParaRPr lang="en-US" dirty="0"/>
          </a:p>
        </p:txBody>
      </p:sp>
      <p:sp>
        <p:nvSpPr>
          <p:cNvPr id="3" name="Content Placeholder 2"/>
          <p:cNvSpPr>
            <a:spLocks noGrp="1"/>
          </p:cNvSpPr>
          <p:nvPr>
            <p:ph idx="1"/>
          </p:nvPr>
        </p:nvSpPr>
        <p:spPr>
          <a:xfrm>
            <a:off x="531153" y="1524000"/>
            <a:ext cx="6553859" cy="4571999"/>
          </a:xfrm>
        </p:spPr>
        <p:txBody>
          <a:bodyPr/>
          <a:lstStyle/>
          <a:p>
            <a:r>
              <a:rPr lang="en-US" dirty="0" smtClean="0"/>
              <a:t>Model choice</a:t>
            </a:r>
          </a:p>
          <a:p>
            <a:r>
              <a:rPr lang="en-US" dirty="0" smtClean="0"/>
              <a:t>Number of „features” (input variables) – F</a:t>
            </a:r>
          </a:p>
          <a:p>
            <a:pPr lvl="1"/>
            <a:r>
              <a:rPr lang="en-US" dirty="0" smtClean="0"/>
              <a:t>Text – every word is a feature</a:t>
            </a:r>
          </a:p>
          <a:p>
            <a:pPr lvl="1"/>
            <a:r>
              <a:rPr lang="en-US" dirty="0" smtClean="0"/>
              <a:t>Genetics –20.000 features</a:t>
            </a:r>
          </a:p>
          <a:p>
            <a:r>
              <a:rPr lang="en-US" dirty="0" smtClean="0"/>
              <a:t>Number of records of data - R</a:t>
            </a:r>
          </a:p>
          <a:p>
            <a:r>
              <a:rPr lang="en-US" dirty="0" smtClean="0"/>
              <a:t>In general it is important that R&gt;&gt;&gt;F</a:t>
            </a:r>
          </a:p>
          <a:p>
            <a:pPr lvl="1"/>
            <a:r>
              <a:rPr lang="en-US" dirty="0" smtClean="0"/>
              <a:t>Big Data</a:t>
            </a:r>
          </a:p>
          <a:p>
            <a:r>
              <a:rPr lang="en-US" dirty="0" smtClean="0"/>
              <a:t>High volume of data helps with avoiding overfitting via cross validation and other techniques</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6012" y="1555173"/>
            <a:ext cx="4251960" cy="2362200"/>
          </a:xfrm>
          <a:prstGeom prst="rect">
            <a:avLst/>
          </a:prstGeom>
        </p:spPr>
      </p:pic>
    </p:spTree>
    <p:extLst>
      <p:ext uri="{BB962C8B-B14F-4D97-AF65-F5344CB8AC3E}">
        <p14:creationId xmlns:p14="http://schemas.microsoft.com/office/powerpoint/2010/main" val="422989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lstStyle/>
          <a:p>
            <a:r>
              <a:rPr lang="en-US" dirty="0" smtClean="0"/>
              <a:t>More Data Variety—Better Predictive Models</a:t>
            </a:r>
            <a:endParaRPr lang="en-US" dirty="0"/>
          </a:p>
        </p:txBody>
      </p:sp>
      <p:sp>
        <p:nvSpPr>
          <p:cNvPr id="3" name="Content Placeholder 2"/>
          <p:cNvSpPr>
            <a:spLocks noGrp="1"/>
          </p:cNvSpPr>
          <p:nvPr>
            <p:ph idx="1"/>
          </p:nvPr>
        </p:nvSpPr>
        <p:spPr>
          <a:xfrm>
            <a:off x="531154" y="1143001"/>
            <a:ext cx="4420258" cy="4800601"/>
          </a:xfrm>
        </p:spPr>
        <p:txBody>
          <a:bodyPr/>
          <a:lstStyle/>
          <a:p>
            <a:r>
              <a:rPr lang="en-US" dirty="0" smtClean="0"/>
              <a:t>Increasing sources of relevant data can boost model accuracy</a:t>
            </a:r>
          </a:p>
          <a:p>
            <a:endParaRPr lang="en-US" dirty="0"/>
          </a:p>
        </p:txBody>
      </p:sp>
      <p:sp>
        <p:nvSpPr>
          <p:cNvPr id="13" name="Rectangle 12"/>
          <p:cNvSpPr/>
          <p:nvPr/>
        </p:nvSpPr>
        <p:spPr>
          <a:xfrm>
            <a:off x="5322042" y="1508915"/>
            <a:ext cx="6528866" cy="44060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914400"/>
            <a:endParaRPr lang="en-US" sz="1800">
              <a:solidFill>
                <a:srgbClr val="FFFFFF"/>
              </a:solidFill>
            </a:endParaRPr>
          </a:p>
        </p:txBody>
      </p:sp>
      <p:cxnSp>
        <p:nvCxnSpPr>
          <p:cNvPr id="15" name="Straight Connector 14"/>
          <p:cNvCxnSpPr/>
          <p:nvPr/>
        </p:nvCxnSpPr>
        <p:spPr>
          <a:xfrm flipV="1">
            <a:off x="5346178" y="1545132"/>
            <a:ext cx="6504730" cy="4357735"/>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9811390" y="2812620"/>
            <a:ext cx="1730687" cy="615553"/>
          </a:xfrm>
          <a:prstGeom prst="rect">
            <a:avLst/>
          </a:prstGeom>
          <a:noFill/>
        </p:spPr>
        <p:txBody>
          <a:bodyPr wrap="square" lIns="121877" tIns="60939" rIns="121877" bIns="60939" rtlCol="0">
            <a:spAutoFit/>
          </a:bodyPr>
          <a:lstStyle/>
          <a:p>
            <a:pPr defTabSz="914400"/>
            <a:r>
              <a:rPr lang="en-US" sz="1600" dirty="0" smtClean="0">
                <a:solidFill>
                  <a:srgbClr val="7F7F7F"/>
                </a:solidFill>
              </a:rPr>
              <a:t>Naïve Guess or Random</a:t>
            </a:r>
          </a:p>
        </p:txBody>
      </p:sp>
      <p:sp>
        <p:nvSpPr>
          <p:cNvPr id="18" name="TextBox 17"/>
          <p:cNvSpPr txBox="1"/>
          <p:nvPr/>
        </p:nvSpPr>
        <p:spPr>
          <a:xfrm>
            <a:off x="11182245" y="1207137"/>
            <a:ext cx="678990" cy="353921"/>
          </a:xfrm>
          <a:prstGeom prst="rect">
            <a:avLst/>
          </a:prstGeom>
          <a:noFill/>
        </p:spPr>
        <p:txBody>
          <a:bodyPr wrap="none" lIns="121877" tIns="60939" rIns="121877" bIns="60939" rtlCol="0">
            <a:spAutoFit/>
          </a:bodyPr>
          <a:lstStyle/>
          <a:p>
            <a:pPr defTabSz="914400"/>
            <a:r>
              <a:rPr lang="en-US" sz="1500" b="1" dirty="0" smtClean="0">
                <a:solidFill>
                  <a:srgbClr val="7F7F7F"/>
                </a:solidFill>
              </a:rPr>
              <a:t>100%</a:t>
            </a:r>
          </a:p>
        </p:txBody>
      </p:sp>
      <p:sp>
        <p:nvSpPr>
          <p:cNvPr id="19" name="TextBox 18"/>
          <p:cNvSpPr txBox="1"/>
          <p:nvPr/>
        </p:nvSpPr>
        <p:spPr>
          <a:xfrm>
            <a:off x="5255635" y="5896917"/>
            <a:ext cx="483423" cy="353921"/>
          </a:xfrm>
          <a:prstGeom prst="rect">
            <a:avLst/>
          </a:prstGeom>
          <a:noFill/>
        </p:spPr>
        <p:txBody>
          <a:bodyPr wrap="none" lIns="121877" tIns="60939" rIns="121877" bIns="60939" rtlCol="0">
            <a:spAutoFit/>
          </a:bodyPr>
          <a:lstStyle/>
          <a:p>
            <a:pPr defTabSz="914400"/>
            <a:r>
              <a:rPr lang="en-US" sz="1500" b="1" dirty="0" smtClean="0">
                <a:solidFill>
                  <a:srgbClr val="7F7F7F"/>
                </a:solidFill>
              </a:rPr>
              <a:t>0%</a:t>
            </a:r>
          </a:p>
        </p:txBody>
      </p:sp>
      <p:sp>
        <p:nvSpPr>
          <p:cNvPr id="20" name="TextBox 19"/>
          <p:cNvSpPr txBox="1"/>
          <p:nvPr/>
        </p:nvSpPr>
        <p:spPr>
          <a:xfrm>
            <a:off x="7506346" y="5818359"/>
            <a:ext cx="2324845" cy="446234"/>
          </a:xfrm>
          <a:prstGeom prst="rect">
            <a:avLst/>
          </a:prstGeom>
          <a:noFill/>
        </p:spPr>
        <p:txBody>
          <a:bodyPr wrap="none" lIns="121877" tIns="60939" rIns="121877" bIns="60939" rtlCol="0">
            <a:spAutoFit/>
          </a:bodyPr>
          <a:lstStyle/>
          <a:p>
            <a:pPr defTabSz="914400"/>
            <a:r>
              <a:rPr lang="hr-HR" sz="2100" b="1" i="1" dirty="0" err="1" smtClean="0">
                <a:solidFill>
                  <a:srgbClr val="7F7F7F"/>
                </a:solidFill>
              </a:rPr>
              <a:t>False</a:t>
            </a:r>
            <a:r>
              <a:rPr lang="hr-HR" sz="2100" b="1" i="1" dirty="0" smtClean="0">
                <a:solidFill>
                  <a:srgbClr val="7F7F7F"/>
                </a:solidFill>
              </a:rPr>
              <a:t> </a:t>
            </a:r>
            <a:r>
              <a:rPr lang="hr-HR" sz="2100" b="1" i="1" dirty="0" err="1" smtClean="0">
                <a:solidFill>
                  <a:srgbClr val="7F7F7F"/>
                </a:solidFill>
              </a:rPr>
              <a:t>Positive</a:t>
            </a:r>
            <a:r>
              <a:rPr lang="hr-HR" sz="2100" b="1" i="1" dirty="0" smtClean="0">
                <a:solidFill>
                  <a:srgbClr val="7F7F7F"/>
                </a:solidFill>
              </a:rPr>
              <a:t> Rate</a:t>
            </a:r>
            <a:endParaRPr lang="en-US" sz="2100" b="1" i="1" dirty="0" smtClean="0">
              <a:solidFill>
                <a:srgbClr val="7F7F7F"/>
              </a:solidFill>
            </a:endParaRPr>
          </a:p>
        </p:txBody>
      </p:sp>
      <p:sp>
        <p:nvSpPr>
          <p:cNvPr id="21" name="TextBox 20"/>
          <p:cNvSpPr txBox="1"/>
          <p:nvPr/>
        </p:nvSpPr>
        <p:spPr>
          <a:xfrm rot="16200000">
            <a:off x="4033014" y="3477184"/>
            <a:ext cx="2255787" cy="446234"/>
          </a:xfrm>
          <a:prstGeom prst="rect">
            <a:avLst/>
          </a:prstGeom>
          <a:noFill/>
        </p:spPr>
        <p:txBody>
          <a:bodyPr wrap="none" lIns="121877" tIns="60939" rIns="121877" bIns="60939" rtlCol="0">
            <a:spAutoFit/>
          </a:bodyPr>
          <a:lstStyle/>
          <a:p>
            <a:pPr defTabSz="914400"/>
            <a:r>
              <a:rPr lang="hr-HR" sz="2100" b="1" i="1" dirty="0" err="1" smtClean="0">
                <a:solidFill>
                  <a:srgbClr val="7F7F7F"/>
                </a:solidFill>
              </a:rPr>
              <a:t>True</a:t>
            </a:r>
            <a:r>
              <a:rPr lang="hr-HR" sz="2100" b="1" i="1" dirty="0" smtClean="0">
                <a:solidFill>
                  <a:srgbClr val="7F7F7F"/>
                </a:solidFill>
              </a:rPr>
              <a:t> </a:t>
            </a:r>
            <a:r>
              <a:rPr lang="hr-HR" sz="2100" b="1" i="1" dirty="0" err="1" smtClean="0">
                <a:solidFill>
                  <a:srgbClr val="7F7F7F"/>
                </a:solidFill>
              </a:rPr>
              <a:t>positive</a:t>
            </a:r>
            <a:r>
              <a:rPr lang="hr-HR" sz="2100" b="1" i="1" dirty="0" smtClean="0">
                <a:solidFill>
                  <a:srgbClr val="7F7F7F"/>
                </a:solidFill>
              </a:rPr>
              <a:t> Rate</a:t>
            </a:r>
            <a:endParaRPr lang="en-US" sz="2100" b="1" i="1" dirty="0" smtClean="0">
              <a:solidFill>
                <a:srgbClr val="7F7F7F"/>
              </a:solidFill>
            </a:endParaRPr>
          </a:p>
        </p:txBody>
      </p:sp>
      <p:cxnSp>
        <p:nvCxnSpPr>
          <p:cNvPr id="34" name="Straight Arrow Connector 33"/>
          <p:cNvCxnSpPr/>
          <p:nvPr/>
        </p:nvCxnSpPr>
        <p:spPr>
          <a:xfrm flipH="1" flipV="1">
            <a:off x="10438928" y="2583257"/>
            <a:ext cx="325840" cy="20521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4" name="Group 52"/>
          <p:cNvGrpSpPr/>
          <p:nvPr/>
        </p:nvGrpSpPr>
        <p:grpSpPr>
          <a:xfrm>
            <a:off x="5346176" y="1557202"/>
            <a:ext cx="6939183" cy="4321521"/>
            <a:chOff x="4010672" y="1167897"/>
            <a:chExt cx="5205743" cy="3241141"/>
          </a:xfrm>
        </p:grpSpPr>
        <p:sp>
          <p:nvSpPr>
            <p:cNvPr id="28" name="Freeform 27"/>
            <p:cNvSpPr/>
            <p:nvPr/>
          </p:nvSpPr>
          <p:spPr>
            <a:xfrm>
              <a:off x="4010672" y="1167897"/>
              <a:ext cx="4861711" cy="3241141"/>
            </a:xfrm>
            <a:custGeom>
              <a:avLst/>
              <a:gdLst>
                <a:gd name="connsiteX0" fmla="*/ 0 w 4771176"/>
                <a:gd name="connsiteY0" fmla="*/ 3124400 h 3124400"/>
                <a:gd name="connsiteX1" fmla="*/ 9054 w 4771176"/>
                <a:gd name="connsiteY1" fmla="*/ 3097239 h 3124400"/>
                <a:gd name="connsiteX2" fmla="*/ 18107 w 4771176"/>
                <a:gd name="connsiteY2" fmla="*/ 3061025 h 3124400"/>
                <a:gd name="connsiteX3" fmla="*/ 36214 w 4771176"/>
                <a:gd name="connsiteY3" fmla="*/ 3033865 h 3124400"/>
                <a:gd name="connsiteX4" fmla="*/ 63374 w 4771176"/>
                <a:gd name="connsiteY4" fmla="*/ 2961437 h 3124400"/>
                <a:gd name="connsiteX5" fmla="*/ 72428 w 4771176"/>
                <a:gd name="connsiteY5" fmla="*/ 2925223 h 3124400"/>
                <a:gd name="connsiteX6" fmla="*/ 81481 w 4771176"/>
                <a:gd name="connsiteY6" fmla="*/ 2898063 h 3124400"/>
                <a:gd name="connsiteX7" fmla="*/ 90535 w 4771176"/>
                <a:gd name="connsiteY7" fmla="*/ 2852796 h 3124400"/>
                <a:gd name="connsiteX8" fmla="*/ 108642 w 4771176"/>
                <a:gd name="connsiteY8" fmla="*/ 2807528 h 3124400"/>
                <a:gd name="connsiteX9" fmla="*/ 135802 w 4771176"/>
                <a:gd name="connsiteY9" fmla="*/ 2735101 h 3124400"/>
                <a:gd name="connsiteX10" fmla="*/ 144855 w 4771176"/>
                <a:gd name="connsiteY10" fmla="*/ 2707940 h 3124400"/>
                <a:gd name="connsiteX11" fmla="*/ 199176 w 4771176"/>
                <a:gd name="connsiteY11" fmla="*/ 2626459 h 3124400"/>
                <a:gd name="connsiteX12" fmla="*/ 217283 w 4771176"/>
                <a:gd name="connsiteY12" fmla="*/ 2599299 h 3124400"/>
                <a:gd name="connsiteX13" fmla="*/ 244444 w 4771176"/>
                <a:gd name="connsiteY13" fmla="*/ 2544978 h 3124400"/>
                <a:gd name="connsiteX14" fmla="*/ 262551 w 4771176"/>
                <a:gd name="connsiteY14" fmla="*/ 2490657 h 3124400"/>
                <a:gd name="connsiteX15" fmla="*/ 280657 w 4771176"/>
                <a:gd name="connsiteY15" fmla="*/ 2454443 h 3124400"/>
                <a:gd name="connsiteX16" fmla="*/ 298764 w 4771176"/>
                <a:gd name="connsiteY16" fmla="*/ 2409176 h 3124400"/>
                <a:gd name="connsiteX17" fmla="*/ 316871 w 4771176"/>
                <a:gd name="connsiteY17" fmla="*/ 2354855 h 3124400"/>
                <a:gd name="connsiteX18" fmla="*/ 334978 w 4771176"/>
                <a:gd name="connsiteY18" fmla="*/ 2327695 h 3124400"/>
                <a:gd name="connsiteX19" fmla="*/ 362139 w 4771176"/>
                <a:gd name="connsiteY19" fmla="*/ 2273374 h 3124400"/>
                <a:gd name="connsiteX20" fmla="*/ 371192 w 4771176"/>
                <a:gd name="connsiteY20" fmla="*/ 2246213 h 3124400"/>
                <a:gd name="connsiteX21" fmla="*/ 398353 w 4771176"/>
                <a:gd name="connsiteY21" fmla="*/ 2219053 h 3124400"/>
                <a:gd name="connsiteX22" fmla="*/ 488887 w 4771176"/>
                <a:gd name="connsiteY22" fmla="*/ 2164732 h 3124400"/>
                <a:gd name="connsiteX23" fmla="*/ 543208 w 4771176"/>
                <a:gd name="connsiteY23" fmla="*/ 2119465 h 3124400"/>
                <a:gd name="connsiteX24" fmla="*/ 588475 w 4771176"/>
                <a:gd name="connsiteY24" fmla="*/ 2092305 h 3124400"/>
                <a:gd name="connsiteX25" fmla="*/ 615636 w 4771176"/>
                <a:gd name="connsiteY25" fmla="*/ 2074198 h 3124400"/>
                <a:gd name="connsiteX26" fmla="*/ 642796 w 4771176"/>
                <a:gd name="connsiteY26" fmla="*/ 2047037 h 3124400"/>
                <a:gd name="connsiteX27" fmla="*/ 669956 w 4771176"/>
                <a:gd name="connsiteY27" fmla="*/ 2037984 h 3124400"/>
                <a:gd name="connsiteX28" fmla="*/ 733331 w 4771176"/>
                <a:gd name="connsiteY28" fmla="*/ 1983663 h 3124400"/>
                <a:gd name="connsiteX29" fmla="*/ 751438 w 4771176"/>
                <a:gd name="connsiteY29" fmla="*/ 1956503 h 3124400"/>
                <a:gd name="connsiteX30" fmla="*/ 778598 w 4771176"/>
                <a:gd name="connsiteY30" fmla="*/ 1929342 h 3124400"/>
                <a:gd name="connsiteX31" fmla="*/ 796705 w 4771176"/>
                <a:gd name="connsiteY31" fmla="*/ 1902182 h 3124400"/>
                <a:gd name="connsiteX32" fmla="*/ 823865 w 4771176"/>
                <a:gd name="connsiteY32" fmla="*/ 1884075 h 3124400"/>
                <a:gd name="connsiteX33" fmla="*/ 887240 w 4771176"/>
                <a:gd name="connsiteY33" fmla="*/ 1829754 h 3124400"/>
                <a:gd name="connsiteX34" fmla="*/ 914400 w 4771176"/>
                <a:gd name="connsiteY34" fmla="*/ 1820701 h 3124400"/>
                <a:gd name="connsiteX35" fmla="*/ 1004935 w 4771176"/>
                <a:gd name="connsiteY35" fmla="*/ 1757326 h 3124400"/>
                <a:gd name="connsiteX36" fmla="*/ 1032095 w 4771176"/>
                <a:gd name="connsiteY36" fmla="*/ 1739219 h 3124400"/>
                <a:gd name="connsiteX37" fmla="*/ 1059255 w 4771176"/>
                <a:gd name="connsiteY37" fmla="*/ 1721112 h 3124400"/>
                <a:gd name="connsiteX38" fmla="*/ 1113576 w 4771176"/>
                <a:gd name="connsiteY38" fmla="*/ 1703006 h 3124400"/>
                <a:gd name="connsiteX39" fmla="*/ 1140737 w 4771176"/>
                <a:gd name="connsiteY39" fmla="*/ 1693952 h 3124400"/>
                <a:gd name="connsiteX40" fmla="*/ 1167897 w 4771176"/>
                <a:gd name="connsiteY40" fmla="*/ 1675845 h 3124400"/>
                <a:gd name="connsiteX41" fmla="*/ 1240325 w 4771176"/>
                <a:gd name="connsiteY41" fmla="*/ 1657738 h 3124400"/>
                <a:gd name="connsiteX42" fmla="*/ 1367073 w 4771176"/>
                <a:gd name="connsiteY42" fmla="*/ 1630578 h 3124400"/>
                <a:gd name="connsiteX43" fmla="*/ 1421394 w 4771176"/>
                <a:gd name="connsiteY43" fmla="*/ 1603417 h 3124400"/>
                <a:gd name="connsiteX44" fmla="*/ 1484768 w 4771176"/>
                <a:gd name="connsiteY44" fmla="*/ 1576257 h 3124400"/>
                <a:gd name="connsiteX45" fmla="*/ 1566250 w 4771176"/>
                <a:gd name="connsiteY45" fmla="*/ 1530990 h 3124400"/>
                <a:gd name="connsiteX46" fmla="*/ 1593410 w 4771176"/>
                <a:gd name="connsiteY46" fmla="*/ 1503829 h 3124400"/>
                <a:gd name="connsiteX47" fmla="*/ 1611517 w 4771176"/>
                <a:gd name="connsiteY47" fmla="*/ 1476669 h 3124400"/>
                <a:gd name="connsiteX48" fmla="*/ 1674891 w 4771176"/>
                <a:gd name="connsiteY48" fmla="*/ 1440455 h 3124400"/>
                <a:gd name="connsiteX49" fmla="*/ 1756372 w 4771176"/>
                <a:gd name="connsiteY49" fmla="*/ 1386134 h 3124400"/>
                <a:gd name="connsiteX50" fmla="*/ 1783533 w 4771176"/>
                <a:gd name="connsiteY50" fmla="*/ 1368027 h 3124400"/>
                <a:gd name="connsiteX51" fmla="*/ 1819747 w 4771176"/>
                <a:gd name="connsiteY51" fmla="*/ 1349920 h 3124400"/>
                <a:gd name="connsiteX52" fmla="*/ 1883121 w 4771176"/>
                <a:gd name="connsiteY52" fmla="*/ 1304653 h 3124400"/>
                <a:gd name="connsiteX53" fmla="*/ 1910281 w 4771176"/>
                <a:gd name="connsiteY53" fmla="*/ 1286546 h 3124400"/>
                <a:gd name="connsiteX54" fmla="*/ 1937442 w 4771176"/>
                <a:gd name="connsiteY54" fmla="*/ 1277493 h 3124400"/>
                <a:gd name="connsiteX55" fmla="*/ 1991762 w 4771176"/>
                <a:gd name="connsiteY55" fmla="*/ 1232225 h 3124400"/>
                <a:gd name="connsiteX56" fmla="*/ 2046083 w 4771176"/>
                <a:gd name="connsiteY56" fmla="*/ 1186958 h 3124400"/>
                <a:gd name="connsiteX57" fmla="*/ 2109457 w 4771176"/>
                <a:gd name="connsiteY57" fmla="*/ 1168851 h 3124400"/>
                <a:gd name="connsiteX58" fmla="*/ 2190939 w 4771176"/>
                <a:gd name="connsiteY58" fmla="*/ 1132637 h 3124400"/>
                <a:gd name="connsiteX59" fmla="*/ 2227153 w 4771176"/>
                <a:gd name="connsiteY59" fmla="*/ 1114530 h 3124400"/>
                <a:gd name="connsiteX60" fmla="*/ 2254313 w 4771176"/>
                <a:gd name="connsiteY60" fmla="*/ 1096423 h 3124400"/>
                <a:gd name="connsiteX61" fmla="*/ 2317687 w 4771176"/>
                <a:gd name="connsiteY61" fmla="*/ 1078316 h 3124400"/>
                <a:gd name="connsiteX62" fmla="*/ 2372008 w 4771176"/>
                <a:gd name="connsiteY62" fmla="*/ 1042103 h 3124400"/>
                <a:gd name="connsiteX63" fmla="*/ 2426329 w 4771176"/>
                <a:gd name="connsiteY63" fmla="*/ 1014942 h 3124400"/>
                <a:gd name="connsiteX64" fmla="*/ 2453489 w 4771176"/>
                <a:gd name="connsiteY64" fmla="*/ 1005889 h 3124400"/>
                <a:gd name="connsiteX65" fmla="*/ 2507810 w 4771176"/>
                <a:gd name="connsiteY65" fmla="*/ 969675 h 3124400"/>
                <a:gd name="connsiteX66" fmla="*/ 2534970 w 4771176"/>
                <a:gd name="connsiteY66" fmla="*/ 951568 h 3124400"/>
                <a:gd name="connsiteX67" fmla="*/ 2562131 w 4771176"/>
                <a:gd name="connsiteY67" fmla="*/ 924408 h 3124400"/>
                <a:gd name="connsiteX68" fmla="*/ 2589291 w 4771176"/>
                <a:gd name="connsiteY68" fmla="*/ 915354 h 3124400"/>
                <a:gd name="connsiteX69" fmla="*/ 2643612 w 4771176"/>
                <a:gd name="connsiteY69" fmla="*/ 888194 h 3124400"/>
                <a:gd name="connsiteX70" fmla="*/ 2716040 w 4771176"/>
                <a:gd name="connsiteY70" fmla="*/ 833873 h 3124400"/>
                <a:gd name="connsiteX71" fmla="*/ 2743200 w 4771176"/>
                <a:gd name="connsiteY71" fmla="*/ 815766 h 3124400"/>
                <a:gd name="connsiteX72" fmla="*/ 2833735 w 4771176"/>
                <a:gd name="connsiteY72" fmla="*/ 788606 h 3124400"/>
                <a:gd name="connsiteX73" fmla="*/ 2888055 w 4771176"/>
                <a:gd name="connsiteY73" fmla="*/ 770499 h 3124400"/>
                <a:gd name="connsiteX74" fmla="*/ 3041964 w 4771176"/>
                <a:gd name="connsiteY74" fmla="*/ 752392 h 3124400"/>
                <a:gd name="connsiteX75" fmla="*/ 3096285 w 4771176"/>
                <a:gd name="connsiteY75" fmla="*/ 743338 h 3124400"/>
                <a:gd name="connsiteX76" fmla="*/ 3168713 w 4771176"/>
                <a:gd name="connsiteY76" fmla="*/ 707124 h 3124400"/>
                <a:gd name="connsiteX77" fmla="*/ 3195873 w 4771176"/>
                <a:gd name="connsiteY77" fmla="*/ 698071 h 3124400"/>
                <a:gd name="connsiteX78" fmla="*/ 3223034 w 4771176"/>
                <a:gd name="connsiteY78" fmla="*/ 679964 h 3124400"/>
                <a:gd name="connsiteX79" fmla="*/ 3250194 w 4771176"/>
                <a:gd name="connsiteY79" fmla="*/ 670911 h 3124400"/>
                <a:gd name="connsiteX80" fmla="*/ 3295461 w 4771176"/>
                <a:gd name="connsiteY80" fmla="*/ 652804 h 3124400"/>
                <a:gd name="connsiteX81" fmla="*/ 3385996 w 4771176"/>
                <a:gd name="connsiteY81" fmla="*/ 562269 h 3124400"/>
                <a:gd name="connsiteX82" fmla="*/ 3413156 w 4771176"/>
                <a:gd name="connsiteY82" fmla="*/ 535109 h 3124400"/>
                <a:gd name="connsiteX83" fmla="*/ 3467477 w 4771176"/>
                <a:gd name="connsiteY83" fmla="*/ 498895 h 3124400"/>
                <a:gd name="connsiteX84" fmla="*/ 3539905 w 4771176"/>
                <a:gd name="connsiteY84" fmla="*/ 471734 h 3124400"/>
                <a:gd name="connsiteX85" fmla="*/ 3594226 w 4771176"/>
                <a:gd name="connsiteY85" fmla="*/ 453627 h 3124400"/>
                <a:gd name="connsiteX86" fmla="*/ 3621386 w 4771176"/>
                <a:gd name="connsiteY86" fmla="*/ 435520 h 3124400"/>
                <a:gd name="connsiteX87" fmla="*/ 3648547 w 4771176"/>
                <a:gd name="connsiteY87" fmla="*/ 426467 h 3124400"/>
                <a:gd name="connsiteX88" fmla="*/ 3730028 w 4771176"/>
                <a:gd name="connsiteY88" fmla="*/ 408360 h 3124400"/>
                <a:gd name="connsiteX89" fmla="*/ 3766242 w 4771176"/>
                <a:gd name="connsiteY89" fmla="*/ 390253 h 3124400"/>
                <a:gd name="connsiteX90" fmla="*/ 3838669 w 4771176"/>
                <a:gd name="connsiteY90" fmla="*/ 372146 h 3124400"/>
                <a:gd name="connsiteX91" fmla="*/ 3902044 w 4771176"/>
                <a:gd name="connsiteY91" fmla="*/ 335932 h 3124400"/>
                <a:gd name="connsiteX92" fmla="*/ 3938257 w 4771176"/>
                <a:gd name="connsiteY92" fmla="*/ 326879 h 3124400"/>
                <a:gd name="connsiteX93" fmla="*/ 3974471 w 4771176"/>
                <a:gd name="connsiteY93" fmla="*/ 308772 h 3124400"/>
                <a:gd name="connsiteX94" fmla="*/ 4019739 w 4771176"/>
                <a:gd name="connsiteY94" fmla="*/ 299718 h 3124400"/>
                <a:gd name="connsiteX95" fmla="*/ 4055953 w 4771176"/>
                <a:gd name="connsiteY95" fmla="*/ 290665 h 3124400"/>
                <a:gd name="connsiteX96" fmla="*/ 4155541 w 4771176"/>
                <a:gd name="connsiteY96" fmla="*/ 245398 h 3124400"/>
                <a:gd name="connsiteX97" fmla="*/ 4218915 w 4771176"/>
                <a:gd name="connsiteY97" fmla="*/ 200130 h 3124400"/>
                <a:gd name="connsiteX98" fmla="*/ 4246075 w 4771176"/>
                <a:gd name="connsiteY98" fmla="*/ 182023 h 3124400"/>
                <a:gd name="connsiteX99" fmla="*/ 4282289 w 4771176"/>
                <a:gd name="connsiteY99" fmla="*/ 172970 h 3124400"/>
                <a:gd name="connsiteX100" fmla="*/ 4336610 w 4771176"/>
                <a:gd name="connsiteY100" fmla="*/ 145810 h 3124400"/>
                <a:gd name="connsiteX101" fmla="*/ 4363770 w 4771176"/>
                <a:gd name="connsiteY101" fmla="*/ 127703 h 3124400"/>
                <a:gd name="connsiteX102" fmla="*/ 4418091 w 4771176"/>
                <a:gd name="connsiteY102" fmla="*/ 118649 h 3124400"/>
                <a:gd name="connsiteX103" fmla="*/ 4445252 w 4771176"/>
                <a:gd name="connsiteY103" fmla="*/ 100542 h 3124400"/>
                <a:gd name="connsiteX104" fmla="*/ 4499572 w 4771176"/>
                <a:gd name="connsiteY104" fmla="*/ 82435 h 3124400"/>
                <a:gd name="connsiteX105" fmla="*/ 4526733 w 4771176"/>
                <a:gd name="connsiteY105" fmla="*/ 64328 h 3124400"/>
                <a:gd name="connsiteX106" fmla="*/ 4581054 w 4771176"/>
                <a:gd name="connsiteY106" fmla="*/ 46221 h 3124400"/>
                <a:gd name="connsiteX107" fmla="*/ 4644428 w 4771176"/>
                <a:gd name="connsiteY107" fmla="*/ 28114 h 3124400"/>
                <a:gd name="connsiteX108" fmla="*/ 4698749 w 4771176"/>
                <a:gd name="connsiteY108" fmla="*/ 19061 h 3124400"/>
                <a:gd name="connsiteX109" fmla="*/ 4734962 w 4771176"/>
                <a:gd name="connsiteY109" fmla="*/ 10008 h 3124400"/>
                <a:gd name="connsiteX110" fmla="*/ 4771176 w 4771176"/>
                <a:gd name="connsiteY110" fmla="*/ 954 h 31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4771176" h="3124400">
                  <a:moveTo>
                    <a:pt x="0" y="3124400"/>
                  </a:moveTo>
                  <a:cubicBezTo>
                    <a:pt x="3018" y="3115346"/>
                    <a:pt x="6432" y="3106415"/>
                    <a:pt x="9054" y="3097239"/>
                  </a:cubicBezTo>
                  <a:cubicBezTo>
                    <a:pt x="12472" y="3085275"/>
                    <a:pt x="13206" y="3072462"/>
                    <a:pt x="18107" y="3061025"/>
                  </a:cubicBezTo>
                  <a:cubicBezTo>
                    <a:pt x="22393" y="3051024"/>
                    <a:pt x="31348" y="3043597"/>
                    <a:pt x="36214" y="3033865"/>
                  </a:cubicBezTo>
                  <a:cubicBezTo>
                    <a:pt x="42596" y="3021101"/>
                    <a:pt x="58149" y="2979725"/>
                    <a:pt x="63374" y="2961437"/>
                  </a:cubicBezTo>
                  <a:cubicBezTo>
                    <a:pt x="66792" y="2949473"/>
                    <a:pt x="69010" y="2937187"/>
                    <a:pt x="72428" y="2925223"/>
                  </a:cubicBezTo>
                  <a:cubicBezTo>
                    <a:pt x="75050" y="2916047"/>
                    <a:pt x="79166" y="2907321"/>
                    <a:pt x="81481" y="2898063"/>
                  </a:cubicBezTo>
                  <a:cubicBezTo>
                    <a:pt x="85213" y="2883135"/>
                    <a:pt x="86113" y="2867535"/>
                    <a:pt x="90535" y="2852796"/>
                  </a:cubicBezTo>
                  <a:cubicBezTo>
                    <a:pt x="95205" y="2837230"/>
                    <a:pt x="102606" y="2822617"/>
                    <a:pt x="108642" y="2807528"/>
                  </a:cubicBezTo>
                  <a:cubicBezTo>
                    <a:pt x="126109" y="2720189"/>
                    <a:pt x="104719" y="2797269"/>
                    <a:pt x="135802" y="2735101"/>
                  </a:cubicBezTo>
                  <a:cubicBezTo>
                    <a:pt x="140070" y="2726565"/>
                    <a:pt x="140220" y="2716282"/>
                    <a:pt x="144855" y="2707940"/>
                  </a:cubicBezTo>
                  <a:cubicBezTo>
                    <a:pt x="144859" y="2707933"/>
                    <a:pt x="190120" y="2640043"/>
                    <a:pt x="199176" y="2626459"/>
                  </a:cubicBezTo>
                  <a:cubicBezTo>
                    <a:pt x="205212" y="2617406"/>
                    <a:pt x="213842" y="2609621"/>
                    <a:pt x="217283" y="2599299"/>
                  </a:cubicBezTo>
                  <a:cubicBezTo>
                    <a:pt x="229778" y="2561816"/>
                    <a:pt x="221043" y="2580079"/>
                    <a:pt x="244444" y="2544978"/>
                  </a:cubicBezTo>
                  <a:cubicBezTo>
                    <a:pt x="250480" y="2526871"/>
                    <a:pt x="255463" y="2508378"/>
                    <a:pt x="262551" y="2490657"/>
                  </a:cubicBezTo>
                  <a:cubicBezTo>
                    <a:pt x="267563" y="2478126"/>
                    <a:pt x="275176" y="2466776"/>
                    <a:pt x="280657" y="2454443"/>
                  </a:cubicBezTo>
                  <a:cubicBezTo>
                    <a:pt x="287257" y="2439592"/>
                    <a:pt x="293210" y="2424449"/>
                    <a:pt x="298764" y="2409176"/>
                  </a:cubicBezTo>
                  <a:cubicBezTo>
                    <a:pt x="305287" y="2391239"/>
                    <a:pt x="306284" y="2370736"/>
                    <a:pt x="316871" y="2354855"/>
                  </a:cubicBezTo>
                  <a:cubicBezTo>
                    <a:pt x="322907" y="2345802"/>
                    <a:pt x="330112" y="2337427"/>
                    <a:pt x="334978" y="2327695"/>
                  </a:cubicBezTo>
                  <a:cubicBezTo>
                    <a:pt x="372461" y="2252730"/>
                    <a:pt x="310248" y="2351209"/>
                    <a:pt x="362139" y="2273374"/>
                  </a:cubicBezTo>
                  <a:cubicBezTo>
                    <a:pt x="365157" y="2264320"/>
                    <a:pt x="365898" y="2254154"/>
                    <a:pt x="371192" y="2246213"/>
                  </a:cubicBezTo>
                  <a:cubicBezTo>
                    <a:pt x="378294" y="2235560"/>
                    <a:pt x="388246" y="2226914"/>
                    <a:pt x="398353" y="2219053"/>
                  </a:cubicBezTo>
                  <a:cubicBezTo>
                    <a:pt x="459686" y="2171350"/>
                    <a:pt x="435824" y="2195054"/>
                    <a:pt x="488887" y="2164732"/>
                  </a:cubicBezTo>
                  <a:cubicBezTo>
                    <a:pt x="548005" y="2130950"/>
                    <a:pt x="483286" y="2164406"/>
                    <a:pt x="543208" y="2119465"/>
                  </a:cubicBezTo>
                  <a:cubicBezTo>
                    <a:pt x="557285" y="2108907"/>
                    <a:pt x="573553" y="2101631"/>
                    <a:pt x="588475" y="2092305"/>
                  </a:cubicBezTo>
                  <a:cubicBezTo>
                    <a:pt x="597702" y="2086538"/>
                    <a:pt x="607277" y="2081164"/>
                    <a:pt x="615636" y="2074198"/>
                  </a:cubicBezTo>
                  <a:cubicBezTo>
                    <a:pt x="625472" y="2066001"/>
                    <a:pt x="632143" y="2054139"/>
                    <a:pt x="642796" y="2047037"/>
                  </a:cubicBezTo>
                  <a:cubicBezTo>
                    <a:pt x="650736" y="2041743"/>
                    <a:pt x="660903" y="2041002"/>
                    <a:pt x="669956" y="2037984"/>
                  </a:cubicBezTo>
                  <a:cubicBezTo>
                    <a:pt x="701993" y="2016626"/>
                    <a:pt x="704058" y="2017815"/>
                    <a:pt x="733331" y="1983663"/>
                  </a:cubicBezTo>
                  <a:cubicBezTo>
                    <a:pt x="740412" y="1975402"/>
                    <a:pt x="744472" y="1964862"/>
                    <a:pt x="751438" y="1956503"/>
                  </a:cubicBezTo>
                  <a:cubicBezTo>
                    <a:pt x="759635" y="1946667"/>
                    <a:pt x="770401" y="1939178"/>
                    <a:pt x="778598" y="1929342"/>
                  </a:cubicBezTo>
                  <a:cubicBezTo>
                    <a:pt x="785564" y="1920983"/>
                    <a:pt x="789011" y="1909876"/>
                    <a:pt x="796705" y="1902182"/>
                  </a:cubicBezTo>
                  <a:cubicBezTo>
                    <a:pt x="804399" y="1894488"/>
                    <a:pt x="815506" y="1891041"/>
                    <a:pt x="823865" y="1884075"/>
                  </a:cubicBezTo>
                  <a:cubicBezTo>
                    <a:pt x="858891" y="1854887"/>
                    <a:pt x="844088" y="1854412"/>
                    <a:pt x="887240" y="1829754"/>
                  </a:cubicBezTo>
                  <a:cubicBezTo>
                    <a:pt x="895526" y="1825019"/>
                    <a:pt x="905347" y="1823719"/>
                    <a:pt x="914400" y="1820701"/>
                  </a:cubicBezTo>
                  <a:cubicBezTo>
                    <a:pt x="968026" y="1780481"/>
                    <a:pt x="938056" y="1801912"/>
                    <a:pt x="1004935" y="1757326"/>
                  </a:cubicBezTo>
                  <a:lnTo>
                    <a:pt x="1032095" y="1739219"/>
                  </a:lnTo>
                  <a:cubicBezTo>
                    <a:pt x="1041148" y="1733183"/>
                    <a:pt x="1048932" y="1724553"/>
                    <a:pt x="1059255" y="1721112"/>
                  </a:cubicBezTo>
                  <a:lnTo>
                    <a:pt x="1113576" y="1703006"/>
                  </a:lnTo>
                  <a:cubicBezTo>
                    <a:pt x="1122630" y="1699988"/>
                    <a:pt x="1132796" y="1699246"/>
                    <a:pt x="1140737" y="1693952"/>
                  </a:cubicBezTo>
                  <a:cubicBezTo>
                    <a:pt x="1149790" y="1687916"/>
                    <a:pt x="1157671" y="1679563"/>
                    <a:pt x="1167897" y="1675845"/>
                  </a:cubicBezTo>
                  <a:cubicBezTo>
                    <a:pt x="1191284" y="1667340"/>
                    <a:pt x="1216716" y="1665608"/>
                    <a:pt x="1240325" y="1657738"/>
                  </a:cubicBezTo>
                  <a:cubicBezTo>
                    <a:pt x="1317728" y="1631937"/>
                    <a:pt x="1275707" y="1641998"/>
                    <a:pt x="1367073" y="1630578"/>
                  </a:cubicBezTo>
                  <a:cubicBezTo>
                    <a:pt x="1435351" y="1607818"/>
                    <a:pt x="1351184" y="1638521"/>
                    <a:pt x="1421394" y="1603417"/>
                  </a:cubicBezTo>
                  <a:cubicBezTo>
                    <a:pt x="1496325" y="1565952"/>
                    <a:pt x="1390570" y="1632776"/>
                    <a:pt x="1484768" y="1576257"/>
                  </a:cubicBezTo>
                  <a:cubicBezTo>
                    <a:pt x="1562592" y="1529562"/>
                    <a:pt x="1511619" y="1549199"/>
                    <a:pt x="1566250" y="1530990"/>
                  </a:cubicBezTo>
                  <a:cubicBezTo>
                    <a:pt x="1575303" y="1521936"/>
                    <a:pt x="1585213" y="1513665"/>
                    <a:pt x="1593410" y="1503829"/>
                  </a:cubicBezTo>
                  <a:cubicBezTo>
                    <a:pt x="1600376" y="1495470"/>
                    <a:pt x="1603823" y="1484363"/>
                    <a:pt x="1611517" y="1476669"/>
                  </a:cubicBezTo>
                  <a:cubicBezTo>
                    <a:pt x="1627177" y="1461009"/>
                    <a:pt x="1657138" y="1451107"/>
                    <a:pt x="1674891" y="1440455"/>
                  </a:cubicBezTo>
                  <a:cubicBezTo>
                    <a:pt x="1674908" y="1440445"/>
                    <a:pt x="1742784" y="1395193"/>
                    <a:pt x="1756372" y="1386134"/>
                  </a:cubicBezTo>
                  <a:cubicBezTo>
                    <a:pt x="1765426" y="1380098"/>
                    <a:pt x="1773801" y="1372893"/>
                    <a:pt x="1783533" y="1368027"/>
                  </a:cubicBezTo>
                  <a:cubicBezTo>
                    <a:pt x="1795604" y="1361991"/>
                    <a:pt x="1808029" y="1356616"/>
                    <a:pt x="1819747" y="1349920"/>
                  </a:cubicBezTo>
                  <a:cubicBezTo>
                    <a:pt x="1841077" y="1337731"/>
                    <a:pt x="1863697" y="1318527"/>
                    <a:pt x="1883121" y="1304653"/>
                  </a:cubicBezTo>
                  <a:cubicBezTo>
                    <a:pt x="1891975" y="1298329"/>
                    <a:pt x="1900549" y="1291412"/>
                    <a:pt x="1910281" y="1286546"/>
                  </a:cubicBezTo>
                  <a:cubicBezTo>
                    <a:pt x="1918817" y="1282278"/>
                    <a:pt x="1928388" y="1280511"/>
                    <a:pt x="1937442" y="1277493"/>
                  </a:cubicBezTo>
                  <a:cubicBezTo>
                    <a:pt x="2016773" y="1198159"/>
                    <a:pt x="1916151" y="1295233"/>
                    <a:pt x="1991762" y="1232225"/>
                  </a:cubicBezTo>
                  <a:cubicBezTo>
                    <a:pt x="2021791" y="1207201"/>
                    <a:pt x="2012371" y="1203814"/>
                    <a:pt x="2046083" y="1186958"/>
                  </a:cubicBezTo>
                  <a:cubicBezTo>
                    <a:pt x="2059066" y="1180467"/>
                    <a:pt x="2097861" y="1171750"/>
                    <a:pt x="2109457" y="1168851"/>
                  </a:cubicBezTo>
                  <a:cubicBezTo>
                    <a:pt x="2189355" y="1115587"/>
                    <a:pt x="2061647" y="1197283"/>
                    <a:pt x="2190939" y="1132637"/>
                  </a:cubicBezTo>
                  <a:cubicBezTo>
                    <a:pt x="2203010" y="1126601"/>
                    <a:pt x="2215435" y="1121226"/>
                    <a:pt x="2227153" y="1114530"/>
                  </a:cubicBezTo>
                  <a:cubicBezTo>
                    <a:pt x="2236600" y="1109132"/>
                    <a:pt x="2244312" y="1100709"/>
                    <a:pt x="2254313" y="1096423"/>
                  </a:cubicBezTo>
                  <a:cubicBezTo>
                    <a:pt x="2274839" y="1087626"/>
                    <a:pt x="2297856" y="1089333"/>
                    <a:pt x="2317687" y="1078316"/>
                  </a:cubicBezTo>
                  <a:cubicBezTo>
                    <a:pt x="2336710" y="1067748"/>
                    <a:pt x="2351363" y="1048985"/>
                    <a:pt x="2372008" y="1042103"/>
                  </a:cubicBezTo>
                  <a:cubicBezTo>
                    <a:pt x="2440282" y="1019343"/>
                    <a:pt x="2356120" y="1050046"/>
                    <a:pt x="2426329" y="1014942"/>
                  </a:cubicBezTo>
                  <a:cubicBezTo>
                    <a:pt x="2434865" y="1010674"/>
                    <a:pt x="2444436" y="1008907"/>
                    <a:pt x="2453489" y="1005889"/>
                  </a:cubicBezTo>
                  <a:lnTo>
                    <a:pt x="2507810" y="969675"/>
                  </a:lnTo>
                  <a:cubicBezTo>
                    <a:pt x="2516863" y="963639"/>
                    <a:pt x="2527276" y="959262"/>
                    <a:pt x="2534970" y="951568"/>
                  </a:cubicBezTo>
                  <a:cubicBezTo>
                    <a:pt x="2544024" y="942515"/>
                    <a:pt x="2551478" y="931510"/>
                    <a:pt x="2562131" y="924408"/>
                  </a:cubicBezTo>
                  <a:cubicBezTo>
                    <a:pt x="2570071" y="919114"/>
                    <a:pt x="2580755" y="919622"/>
                    <a:pt x="2589291" y="915354"/>
                  </a:cubicBezTo>
                  <a:cubicBezTo>
                    <a:pt x="2659485" y="880257"/>
                    <a:pt x="2575352" y="910946"/>
                    <a:pt x="2643612" y="888194"/>
                  </a:cubicBezTo>
                  <a:cubicBezTo>
                    <a:pt x="2667755" y="870087"/>
                    <a:pt x="2690930" y="850613"/>
                    <a:pt x="2716040" y="833873"/>
                  </a:cubicBezTo>
                  <a:cubicBezTo>
                    <a:pt x="2725093" y="827837"/>
                    <a:pt x="2733257" y="820185"/>
                    <a:pt x="2743200" y="815766"/>
                  </a:cubicBezTo>
                  <a:cubicBezTo>
                    <a:pt x="2787527" y="796065"/>
                    <a:pt x="2793215" y="800762"/>
                    <a:pt x="2833735" y="788606"/>
                  </a:cubicBezTo>
                  <a:cubicBezTo>
                    <a:pt x="2852016" y="783122"/>
                    <a:pt x="2869086" y="772607"/>
                    <a:pt x="2888055" y="770499"/>
                  </a:cubicBezTo>
                  <a:lnTo>
                    <a:pt x="3041964" y="752392"/>
                  </a:lnTo>
                  <a:cubicBezTo>
                    <a:pt x="3060136" y="749796"/>
                    <a:pt x="3078365" y="747320"/>
                    <a:pt x="3096285" y="743338"/>
                  </a:cubicBezTo>
                  <a:cubicBezTo>
                    <a:pt x="3133039" y="735171"/>
                    <a:pt x="3128357" y="727302"/>
                    <a:pt x="3168713" y="707124"/>
                  </a:cubicBezTo>
                  <a:cubicBezTo>
                    <a:pt x="3177249" y="702856"/>
                    <a:pt x="3186820" y="701089"/>
                    <a:pt x="3195873" y="698071"/>
                  </a:cubicBezTo>
                  <a:cubicBezTo>
                    <a:pt x="3204927" y="692035"/>
                    <a:pt x="3213302" y="684830"/>
                    <a:pt x="3223034" y="679964"/>
                  </a:cubicBezTo>
                  <a:cubicBezTo>
                    <a:pt x="3231570" y="675696"/>
                    <a:pt x="3241259" y="674262"/>
                    <a:pt x="3250194" y="670911"/>
                  </a:cubicBezTo>
                  <a:cubicBezTo>
                    <a:pt x="3265411" y="665205"/>
                    <a:pt x="3280372" y="658840"/>
                    <a:pt x="3295461" y="652804"/>
                  </a:cubicBezTo>
                  <a:lnTo>
                    <a:pt x="3385996" y="562269"/>
                  </a:lnTo>
                  <a:cubicBezTo>
                    <a:pt x="3395049" y="553216"/>
                    <a:pt x="3402503" y="542211"/>
                    <a:pt x="3413156" y="535109"/>
                  </a:cubicBezTo>
                  <a:cubicBezTo>
                    <a:pt x="3431263" y="523038"/>
                    <a:pt x="3446365" y="504173"/>
                    <a:pt x="3467477" y="498895"/>
                  </a:cubicBezTo>
                  <a:cubicBezTo>
                    <a:pt x="3545886" y="479292"/>
                    <a:pt x="3460997" y="503297"/>
                    <a:pt x="3539905" y="471734"/>
                  </a:cubicBezTo>
                  <a:cubicBezTo>
                    <a:pt x="3557626" y="464645"/>
                    <a:pt x="3578345" y="464214"/>
                    <a:pt x="3594226" y="453627"/>
                  </a:cubicBezTo>
                  <a:cubicBezTo>
                    <a:pt x="3603279" y="447591"/>
                    <a:pt x="3611654" y="440386"/>
                    <a:pt x="3621386" y="435520"/>
                  </a:cubicBezTo>
                  <a:cubicBezTo>
                    <a:pt x="3629922" y="431252"/>
                    <a:pt x="3639371" y="429089"/>
                    <a:pt x="3648547" y="426467"/>
                  </a:cubicBezTo>
                  <a:cubicBezTo>
                    <a:pt x="3678394" y="417939"/>
                    <a:pt x="3698894" y="414586"/>
                    <a:pt x="3730028" y="408360"/>
                  </a:cubicBezTo>
                  <a:cubicBezTo>
                    <a:pt x="3742099" y="402324"/>
                    <a:pt x="3753438" y="394521"/>
                    <a:pt x="3766242" y="390253"/>
                  </a:cubicBezTo>
                  <a:cubicBezTo>
                    <a:pt x="3797244" y="379919"/>
                    <a:pt x="3811561" y="385700"/>
                    <a:pt x="3838669" y="372146"/>
                  </a:cubicBezTo>
                  <a:cubicBezTo>
                    <a:pt x="3891195" y="345883"/>
                    <a:pt x="3838565" y="359737"/>
                    <a:pt x="3902044" y="335932"/>
                  </a:cubicBezTo>
                  <a:cubicBezTo>
                    <a:pt x="3913694" y="331563"/>
                    <a:pt x="3926186" y="329897"/>
                    <a:pt x="3938257" y="326879"/>
                  </a:cubicBezTo>
                  <a:cubicBezTo>
                    <a:pt x="3950328" y="320843"/>
                    <a:pt x="3961667" y="313040"/>
                    <a:pt x="3974471" y="308772"/>
                  </a:cubicBezTo>
                  <a:cubicBezTo>
                    <a:pt x="3989069" y="303906"/>
                    <a:pt x="4004717" y="303056"/>
                    <a:pt x="4019739" y="299718"/>
                  </a:cubicBezTo>
                  <a:cubicBezTo>
                    <a:pt x="4031886" y="297019"/>
                    <a:pt x="4043882" y="293683"/>
                    <a:pt x="4055953" y="290665"/>
                  </a:cubicBezTo>
                  <a:cubicBezTo>
                    <a:pt x="4136916" y="250183"/>
                    <a:pt x="4102773" y="262986"/>
                    <a:pt x="4155541" y="245398"/>
                  </a:cubicBezTo>
                  <a:cubicBezTo>
                    <a:pt x="4199781" y="201157"/>
                    <a:pt x="4163305" y="231907"/>
                    <a:pt x="4218915" y="200130"/>
                  </a:cubicBezTo>
                  <a:cubicBezTo>
                    <a:pt x="4228362" y="194732"/>
                    <a:pt x="4236074" y="186309"/>
                    <a:pt x="4246075" y="182023"/>
                  </a:cubicBezTo>
                  <a:cubicBezTo>
                    <a:pt x="4257512" y="177122"/>
                    <a:pt x="4270218" y="175988"/>
                    <a:pt x="4282289" y="172970"/>
                  </a:cubicBezTo>
                  <a:cubicBezTo>
                    <a:pt x="4360135" y="121074"/>
                    <a:pt x="4261639" y="183296"/>
                    <a:pt x="4336610" y="145810"/>
                  </a:cubicBezTo>
                  <a:cubicBezTo>
                    <a:pt x="4346342" y="140944"/>
                    <a:pt x="4353448" y="131144"/>
                    <a:pt x="4363770" y="127703"/>
                  </a:cubicBezTo>
                  <a:cubicBezTo>
                    <a:pt x="4381185" y="121898"/>
                    <a:pt x="4399984" y="121667"/>
                    <a:pt x="4418091" y="118649"/>
                  </a:cubicBezTo>
                  <a:cubicBezTo>
                    <a:pt x="4427145" y="112613"/>
                    <a:pt x="4435309" y="104961"/>
                    <a:pt x="4445252" y="100542"/>
                  </a:cubicBezTo>
                  <a:cubicBezTo>
                    <a:pt x="4462693" y="92790"/>
                    <a:pt x="4483691" y="93022"/>
                    <a:pt x="4499572" y="82435"/>
                  </a:cubicBezTo>
                  <a:cubicBezTo>
                    <a:pt x="4508626" y="76399"/>
                    <a:pt x="4516790" y="68747"/>
                    <a:pt x="4526733" y="64328"/>
                  </a:cubicBezTo>
                  <a:cubicBezTo>
                    <a:pt x="4544174" y="56576"/>
                    <a:pt x="4562947" y="52257"/>
                    <a:pt x="4581054" y="46221"/>
                  </a:cubicBezTo>
                  <a:cubicBezTo>
                    <a:pt x="4606934" y="37594"/>
                    <a:pt x="4616016" y="33796"/>
                    <a:pt x="4644428" y="28114"/>
                  </a:cubicBezTo>
                  <a:cubicBezTo>
                    <a:pt x="4662428" y="24514"/>
                    <a:pt x="4680749" y="22661"/>
                    <a:pt x="4698749" y="19061"/>
                  </a:cubicBezTo>
                  <a:cubicBezTo>
                    <a:pt x="4710950" y="16621"/>
                    <a:pt x="4722998" y="13426"/>
                    <a:pt x="4734962" y="10008"/>
                  </a:cubicBezTo>
                  <a:cubicBezTo>
                    <a:pt x="4769991" y="0"/>
                    <a:pt x="4750997" y="954"/>
                    <a:pt x="4771176" y="954"/>
                  </a:cubicBezTo>
                </a:path>
              </a:pathLst>
            </a:custGeom>
            <a:ln w="28575">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sz="1800">
                <a:solidFill>
                  <a:srgbClr val="5F5F5F"/>
                </a:solidFill>
              </a:endParaRPr>
            </a:p>
          </p:txBody>
        </p:sp>
        <p:sp>
          <p:nvSpPr>
            <p:cNvPr id="35" name="TextBox 34"/>
            <p:cNvSpPr txBox="1"/>
            <p:nvPr/>
          </p:nvSpPr>
          <p:spPr>
            <a:xfrm>
              <a:off x="7313686" y="2605892"/>
              <a:ext cx="1902729" cy="253916"/>
            </a:xfrm>
            <a:prstGeom prst="rect">
              <a:avLst/>
            </a:prstGeom>
            <a:noFill/>
          </p:spPr>
          <p:txBody>
            <a:bodyPr wrap="square" rtlCol="0">
              <a:spAutoFit/>
            </a:bodyPr>
            <a:lstStyle/>
            <a:p>
              <a:pPr defTabSz="914400"/>
              <a:r>
                <a:rPr lang="en-US" sz="1600" dirty="0" smtClean="0">
                  <a:solidFill>
                    <a:srgbClr val="92D050"/>
                  </a:solidFill>
                </a:rPr>
                <a:t>Model with 20 variables</a:t>
              </a:r>
            </a:p>
          </p:txBody>
        </p:sp>
        <p:cxnSp>
          <p:nvCxnSpPr>
            <p:cNvPr id="36" name="Straight Arrow Connector 35"/>
            <p:cNvCxnSpPr/>
            <p:nvPr/>
          </p:nvCxnSpPr>
          <p:spPr>
            <a:xfrm flipH="1" flipV="1">
              <a:off x="6399279" y="2289019"/>
              <a:ext cx="1033604" cy="354593"/>
            </a:xfrm>
            <a:prstGeom prst="straightConnector1">
              <a:avLst/>
            </a:prstGeom>
            <a:ln>
              <a:solidFill>
                <a:srgbClr val="92D050"/>
              </a:solidFill>
              <a:tailEnd type="arrow"/>
            </a:ln>
          </p:spPr>
          <p:style>
            <a:lnRef idx="1">
              <a:schemeClr val="accent1"/>
            </a:lnRef>
            <a:fillRef idx="0">
              <a:schemeClr val="accent1"/>
            </a:fillRef>
            <a:effectRef idx="0">
              <a:schemeClr val="accent1"/>
            </a:effectRef>
            <a:fontRef idx="minor">
              <a:schemeClr val="tx1"/>
            </a:fontRef>
          </p:style>
        </p:cxnSp>
      </p:grpSp>
      <p:grpSp>
        <p:nvGrpSpPr>
          <p:cNvPr id="14" name="Group 53"/>
          <p:cNvGrpSpPr/>
          <p:nvPr/>
        </p:nvGrpSpPr>
        <p:grpSpPr>
          <a:xfrm>
            <a:off x="5358242" y="1508913"/>
            <a:ext cx="6480592" cy="4418091"/>
            <a:chOff x="4019728" y="1131683"/>
            <a:chExt cx="4861710" cy="3313568"/>
          </a:xfrm>
        </p:grpSpPr>
        <p:sp>
          <p:nvSpPr>
            <p:cNvPr id="30" name="Freeform 29"/>
            <p:cNvSpPr/>
            <p:nvPr/>
          </p:nvSpPr>
          <p:spPr>
            <a:xfrm>
              <a:off x="4019728" y="1131683"/>
              <a:ext cx="4861710" cy="3313568"/>
            </a:xfrm>
            <a:custGeom>
              <a:avLst/>
              <a:gdLst>
                <a:gd name="connsiteX0" fmla="*/ 0 w 4852657"/>
                <a:gd name="connsiteY0" fmla="*/ 3250195 h 3250195"/>
                <a:gd name="connsiteX1" fmla="*/ 9053 w 4852657"/>
                <a:gd name="connsiteY1" fmla="*/ 3114393 h 3250195"/>
                <a:gd name="connsiteX2" fmla="*/ 27160 w 4852657"/>
                <a:gd name="connsiteY2" fmla="*/ 3060072 h 3250195"/>
                <a:gd name="connsiteX3" fmla="*/ 63374 w 4852657"/>
                <a:gd name="connsiteY3" fmla="*/ 2951430 h 3250195"/>
                <a:gd name="connsiteX4" fmla="*/ 81481 w 4852657"/>
                <a:gd name="connsiteY4" fmla="*/ 2897109 h 3250195"/>
                <a:gd name="connsiteX5" fmla="*/ 99588 w 4852657"/>
                <a:gd name="connsiteY5" fmla="*/ 2806575 h 3250195"/>
                <a:gd name="connsiteX6" fmla="*/ 144855 w 4852657"/>
                <a:gd name="connsiteY6" fmla="*/ 2670773 h 3250195"/>
                <a:gd name="connsiteX7" fmla="*/ 153909 w 4852657"/>
                <a:gd name="connsiteY7" fmla="*/ 2643612 h 3250195"/>
                <a:gd name="connsiteX8" fmla="*/ 162962 w 4852657"/>
                <a:gd name="connsiteY8" fmla="*/ 2607399 h 3250195"/>
                <a:gd name="connsiteX9" fmla="*/ 181069 w 4852657"/>
                <a:gd name="connsiteY9" fmla="*/ 2580238 h 3250195"/>
                <a:gd name="connsiteX10" fmla="*/ 199176 w 4852657"/>
                <a:gd name="connsiteY10" fmla="*/ 2525917 h 3250195"/>
                <a:gd name="connsiteX11" fmla="*/ 217283 w 4852657"/>
                <a:gd name="connsiteY11" fmla="*/ 2489703 h 3250195"/>
                <a:gd name="connsiteX12" fmla="*/ 226337 w 4852657"/>
                <a:gd name="connsiteY12" fmla="*/ 2462543 h 3250195"/>
                <a:gd name="connsiteX13" fmla="*/ 244444 w 4852657"/>
                <a:gd name="connsiteY13" fmla="*/ 2435383 h 3250195"/>
                <a:gd name="connsiteX14" fmla="*/ 271604 w 4852657"/>
                <a:gd name="connsiteY14" fmla="*/ 2381062 h 3250195"/>
                <a:gd name="connsiteX15" fmla="*/ 280657 w 4852657"/>
                <a:gd name="connsiteY15" fmla="*/ 2353901 h 3250195"/>
                <a:gd name="connsiteX16" fmla="*/ 298764 w 4852657"/>
                <a:gd name="connsiteY16" fmla="*/ 2326741 h 3250195"/>
                <a:gd name="connsiteX17" fmla="*/ 316871 w 4852657"/>
                <a:gd name="connsiteY17" fmla="*/ 2272420 h 3250195"/>
                <a:gd name="connsiteX18" fmla="*/ 344032 w 4852657"/>
                <a:gd name="connsiteY18" fmla="*/ 2190939 h 3250195"/>
                <a:gd name="connsiteX19" fmla="*/ 362139 w 4852657"/>
                <a:gd name="connsiteY19" fmla="*/ 2136618 h 3250195"/>
                <a:gd name="connsiteX20" fmla="*/ 380246 w 4852657"/>
                <a:gd name="connsiteY20" fmla="*/ 2109458 h 3250195"/>
                <a:gd name="connsiteX21" fmla="*/ 425513 w 4852657"/>
                <a:gd name="connsiteY21" fmla="*/ 2027977 h 3250195"/>
                <a:gd name="connsiteX22" fmla="*/ 443620 w 4852657"/>
                <a:gd name="connsiteY22" fmla="*/ 1991763 h 3250195"/>
                <a:gd name="connsiteX23" fmla="*/ 479834 w 4852657"/>
                <a:gd name="connsiteY23" fmla="*/ 1937442 h 3250195"/>
                <a:gd name="connsiteX24" fmla="*/ 497941 w 4852657"/>
                <a:gd name="connsiteY24" fmla="*/ 1901228 h 3250195"/>
                <a:gd name="connsiteX25" fmla="*/ 525101 w 4852657"/>
                <a:gd name="connsiteY25" fmla="*/ 1874068 h 3250195"/>
                <a:gd name="connsiteX26" fmla="*/ 588475 w 4852657"/>
                <a:gd name="connsiteY26" fmla="*/ 1792587 h 3250195"/>
                <a:gd name="connsiteX27" fmla="*/ 615636 w 4852657"/>
                <a:gd name="connsiteY27" fmla="*/ 1774480 h 3250195"/>
                <a:gd name="connsiteX28" fmla="*/ 660903 w 4852657"/>
                <a:gd name="connsiteY28" fmla="*/ 1729212 h 3250195"/>
                <a:gd name="connsiteX29" fmla="*/ 688063 w 4852657"/>
                <a:gd name="connsiteY29" fmla="*/ 1702052 h 3250195"/>
                <a:gd name="connsiteX30" fmla="*/ 751438 w 4852657"/>
                <a:gd name="connsiteY30" fmla="*/ 1674892 h 3250195"/>
                <a:gd name="connsiteX31" fmla="*/ 778598 w 4852657"/>
                <a:gd name="connsiteY31" fmla="*/ 1647731 h 3250195"/>
                <a:gd name="connsiteX32" fmla="*/ 832919 w 4852657"/>
                <a:gd name="connsiteY32" fmla="*/ 1620571 h 3250195"/>
                <a:gd name="connsiteX33" fmla="*/ 860079 w 4852657"/>
                <a:gd name="connsiteY33" fmla="*/ 1593410 h 3250195"/>
                <a:gd name="connsiteX34" fmla="*/ 914400 w 4852657"/>
                <a:gd name="connsiteY34" fmla="*/ 1566250 h 3250195"/>
                <a:gd name="connsiteX35" fmla="*/ 959667 w 4852657"/>
                <a:gd name="connsiteY35" fmla="*/ 1530036 h 3250195"/>
                <a:gd name="connsiteX36" fmla="*/ 1041148 w 4852657"/>
                <a:gd name="connsiteY36" fmla="*/ 1475715 h 3250195"/>
                <a:gd name="connsiteX37" fmla="*/ 1068309 w 4852657"/>
                <a:gd name="connsiteY37" fmla="*/ 1457608 h 3250195"/>
                <a:gd name="connsiteX38" fmla="*/ 1095469 w 4852657"/>
                <a:gd name="connsiteY38" fmla="*/ 1448555 h 3250195"/>
                <a:gd name="connsiteX39" fmla="*/ 1149790 w 4852657"/>
                <a:gd name="connsiteY39" fmla="*/ 1403288 h 3250195"/>
                <a:gd name="connsiteX40" fmla="*/ 1204111 w 4852657"/>
                <a:gd name="connsiteY40" fmla="*/ 1385181 h 3250195"/>
                <a:gd name="connsiteX41" fmla="*/ 1267485 w 4852657"/>
                <a:gd name="connsiteY41" fmla="*/ 1358020 h 3250195"/>
                <a:gd name="connsiteX42" fmla="*/ 1330859 w 4852657"/>
                <a:gd name="connsiteY42" fmla="*/ 1321806 h 3250195"/>
                <a:gd name="connsiteX43" fmla="*/ 1358020 w 4852657"/>
                <a:gd name="connsiteY43" fmla="*/ 1312753 h 3250195"/>
                <a:gd name="connsiteX44" fmla="*/ 1385180 w 4852657"/>
                <a:gd name="connsiteY44" fmla="*/ 1294646 h 3250195"/>
                <a:gd name="connsiteX45" fmla="*/ 1448554 w 4852657"/>
                <a:gd name="connsiteY45" fmla="*/ 1276539 h 3250195"/>
                <a:gd name="connsiteX46" fmla="*/ 1511929 w 4852657"/>
                <a:gd name="connsiteY46" fmla="*/ 1240325 h 3250195"/>
                <a:gd name="connsiteX47" fmla="*/ 1539089 w 4852657"/>
                <a:gd name="connsiteY47" fmla="*/ 1231272 h 3250195"/>
                <a:gd name="connsiteX48" fmla="*/ 1593410 w 4852657"/>
                <a:gd name="connsiteY48" fmla="*/ 1204111 h 3250195"/>
                <a:gd name="connsiteX49" fmla="*/ 1620570 w 4852657"/>
                <a:gd name="connsiteY49" fmla="*/ 1186004 h 3250195"/>
                <a:gd name="connsiteX50" fmla="*/ 1692998 w 4852657"/>
                <a:gd name="connsiteY50" fmla="*/ 1167898 h 3250195"/>
                <a:gd name="connsiteX51" fmla="*/ 1729212 w 4852657"/>
                <a:gd name="connsiteY51" fmla="*/ 1149791 h 3250195"/>
                <a:gd name="connsiteX52" fmla="*/ 1792586 w 4852657"/>
                <a:gd name="connsiteY52" fmla="*/ 1131684 h 3250195"/>
                <a:gd name="connsiteX53" fmla="*/ 1828800 w 4852657"/>
                <a:gd name="connsiteY53" fmla="*/ 1113577 h 3250195"/>
                <a:gd name="connsiteX54" fmla="*/ 1855960 w 4852657"/>
                <a:gd name="connsiteY54" fmla="*/ 1104523 h 3250195"/>
                <a:gd name="connsiteX55" fmla="*/ 1910281 w 4852657"/>
                <a:gd name="connsiteY55" fmla="*/ 1077363 h 3250195"/>
                <a:gd name="connsiteX56" fmla="*/ 2000816 w 4852657"/>
                <a:gd name="connsiteY56" fmla="*/ 1013989 h 3250195"/>
                <a:gd name="connsiteX57" fmla="*/ 2046083 w 4852657"/>
                <a:gd name="connsiteY57" fmla="*/ 977775 h 3250195"/>
                <a:gd name="connsiteX58" fmla="*/ 2100404 w 4852657"/>
                <a:gd name="connsiteY58" fmla="*/ 932507 h 3250195"/>
                <a:gd name="connsiteX59" fmla="*/ 2154725 w 4852657"/>
                <a:gd name="connsiteY59" fmla="*/ 878187 h 3250195"/>
                <a:gd name="connsiteX60" fmla="*/ 2209046 w 4852657"/>
                <a:gd name="connsiteY60" fmla="*/ 860080 h 3250195"/>
                <a:gd name="connsiteX61" fmla="*/ 2326741 w 4852657"/>
                <a:gd name="connsiteY61" fmla="*/ 841973 h 3250195"/>
                <a:gd name="connsiteX62" fmla="*/ 2417275 w 4852657"/>
                <a:gd name="connsiteY62" fmla="*/ 814812 h 3250195"/>
                <a:gd name="connsiteX63" fmla="*/ 2444436 w 4852657"/>
                <a:gd name="connsiteY63" fmla="*/ 805759 h 3250195"/>
                <a:gd name="connsiteX64" fmla="*/ 2507810 w 4852657"/>
                <a:gd name="connsiteY64" fmla="*/ 760492 h 3250195"/>
                <a:gd name="connsiteX65" fmla="*/ 2534970 w 4852657"/>
                <a:gd name="connsiteY65" fmla="*/ 733331 h 3250195"/>
                <a:gd name="connsiteX66" fmla="*/ 2571184 w 4852657"/>
                <a:gd name="connsiteY66" fmla="*/ 706171 h 3250195"/>
                <a:gd name="connsiteX67" fmla="*/ 2679826 w 4852657"/>
                <a:gd name="connsiteY67" fmla="*/ 651850 h 3250195"/>
                <a:gd name="connsiteX68" fmla="*/ 2833735 w 4852657"/>
                <a:gd name="connsiteY68" fmla="*/ 633743 h 3250195"/>
                <a:gd name="connsiteX69" fmla="*/ 2860895 w 4852657"/>
                <a:gd name="connsiteY69" fmla="*/ 624690 h 3250195"/>
                <a:gd name="connsiteX70" fmla="*/ 2960483 w 4852657"/>
                <a:gd name="connsiteY70" fmla="*/ 606583 h 3250195"/>
                <a:gd name="connsiteX71" fmla="*/ 2987644 w 4852657"/>
                <a:gd name="connsiteY71" fmla="*/ 579422 h 3250195"/>
                <a:gd name="connsiteX72" fmla="*/ 3014804 w 4852657"/>
                <a:gd name="connsiteY72" fmla="*/ 570369 h 3250195"/>
                <a:gd name="connsiteX73" fmla="*/ 3060071 w 4852657"/>
                <a:gd name="connsiteY73" fmla="*/ 534155 h 3250195"/>
                <a:gd name="connsiteX74" fmla="*/ 3087232 w 4852657"/>
                <a:gd name="connsiteY74" fmla="*/ 516048 h 3250195"/>
                <a:gd name="connsiteX75" fmla="*/ 3141552 w 4852657"/>
                <a:gd name="connsiteY75" fmla="*/ 470781 h 3250195"/>
                <a:gd name="connsiteX76" fmla="*/ 3195873 w 4852657"/>
                <a:gd name="connsiteY76" fmla="*/ 452674 h 3250195"/>
                <a:gd name="connsiteX77" fmla="*/ 3494638 w 4852657"/>
                <a:gd name="connsiteY77" fmla="*/ 461727 h 3250195"/>
                <a:gd name="connsiteX78" fmla="*/ 3693814 w 4852657"/>
                <a:gd name="connsiteY78" fmla="*/ 452674 h 3250195"/>
                <a:gd name="connsiteX79" fmla="*/ 3748135 w 4852657"/>
                <a:gd name="connsiteY79" fmla="*/ 434567 h 3250195"/>
                <a:gd name="connsiteX80" fmla="*/ 3775295 w 4852657"/>
                <a:gd name="connsiteY80" fmla="*/ 416460 h 3250195"/>
                <a:gd name="connsiteX81" fmla="*/ 3811509 w 4852657"/>
                <a:gd name="connsiteY81" fmla="*/ 407406 h 3250195"/>
                <a:gd name="connsiteX82" fmla="*/ 3838669 w 4852657"/>
                <a:gd name="connsiteY82" fmla="*/ 398353 h 3250195"/>
                <a:gd name="connsiteX83" fmla="*/ 3902044 w 4852657"/>
                <a:gd name="connsiteY83" fmla="*/ 362139 h 3250195"/>
                <a:gd name="connsiteX84" fmla="*/ 3965418 w 4852657"/>
                <a:gd name="connsiteY84" fmla="*/ 344032 h 3250195"/>
                <a:gd name="connsiteX85" fmla="*/ 3992578 w 4852657"/>
                <a:gd name="connsiteY85" fmla="*/ 334979 h 3250195"/>
                <a:gd name="connsiteX86" fmla="*/ 4065006 w 4852657"/>
                <a:gd name="connsiteY86" fmla="*/ 316872 h 3250195"/>
                <a:gd name="connsiteX87" fmla="*/ 4119327 w 4852657"/>
                <a:gd name="connsiteY87" fmla="*/ 298765 h 3250195"/>
                <a:gd name="connsiteX88" fmla="*/ 4173648 w 4852657"/>
                <a:gd name="connsiteY88" fmla="*/ 271604 h 3250195"/>
                <a:gd name="connsiteX89" fmla="*/ 4246075 w 4852657"/>
                <a:gd name="connsiteY89" fmla="*/ 235391 h 3250195"/>
                <a:gd name="connsiteX90" fmla="*/ 4273236 w 4852657"/>
                <a:gd name="connsiteY90" fmla="*/ 226337 h 3250195"/>
                <a:gd name="connsiteX91" fmla="*/ 4381877 w 4852657"/>
                <a:gd name="connsiteY91" fmla="*/ 172016 h 3250195"/>
                <a:gd name="connsiteX92" fmla="*/ 4544840 w 4852657"/>
                <a:gd name="connsiteY92" fmla="*/ 153909 h 3250195"/>
                <a:gd name="connsiteX93" fmla="*/ 4599160 w 4852657"/>
                <a:gd name="connsiteY93" fmla="*/ 135802 h 3250195"/>
                <a:gd name="connsiteX94" fmla="*/ 4617267 w 4852657"/>
                <a:gd name="connsiteY94" fmla="*/ 108642 h 3250195"/>
                <a:gd name="connsiteX95" fmla="*/ 4671588 w 4852657"/>
                <a:gd name="connsiteY95" fmla="*/ 90535 h 3250195"/>
                <a:gd name="connsiteX96" fmla="*/ 4753069 w 4852657"/>
                <a:gd name="connsiteY96" fmla="*/ 36214 h 3250195"/>
                <a:gd name="connsiteX97" fmla="*/ 4780230 w 4852657"/>
                <a:gd name="connsiteY97" fmla="*/ 18107 h 3250195"/>
                <a:gd name="connsiteX98" fmla="*/ 4852657 w 4852657"/>
                <a:gd name="connsiteY98" fmla="*/ 0 h 325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852657" h="3250195">
                  <a:moveTo>
                    <a:pt x="0" y="3250195"/>
                  </a:moveTo>
                  <a:cubicBezTo>
                    <a:pt x="3018" y="3204928"/>
                    <a:pt x="2637" y="3159305"/>
                    <a:pt x="9053" y="3114393"/>
                  </a:cubicBezTo>
                  <a:cubicBezTo>
                    <a:pt x="11752" y="3095498"/>
                    <a:pt x="21124" y="3078179"/>
                    <a:pt x="27160" y="3060072"/>
                  </a:cubicBezTo>
                  <a:lnTo>
                    <a:pt x="63374" y="2951430"/>
                  </a:lnTo>
                  <a:cubicBezTo>
                    <a:pt x="63378" y="2951417"/>
                    <a:pt x="81478" y="2897122"/>
                    <a:pt x="81481" y="2897109"/>
                  </a:cubicBezTo>
                  <a:cubicBezTo>
                    <a:pt x="87517" y="2866931"/>
                    <a:pt x="89856" y="2835771"/>
                    <a:pt x="99588" y="2806575"/>
                  </a:cubicBezTo>
                  <a:lnTo>
                    <a:pt x="144855" y="2670773"/>
                  </a:lnTo>
                  <a:cubicBezTo>
                    <a:pt x="147873" y="2661719"/>
                    <a:pt x="151594" y="2652871"/>
                    <a:pt x="153909" y="2643612"/>
                  </a:cubicBezTo>
                  <a:cubicBezTo>
                    <a:pt x="156927" y="2631541"/>
                    <a:pt x="158061" y="2618835"/>
                    <a:pt x="162962" y="2607399"/>
                  </a:cubicBezTo>
                  <a:cubicBezTo>
                    <a:pt x="167248" y="2597398"/>
                    <a:pt x="176650" y="2590181"/>
                    <a:pt x="181069" y="2580238"/>
                  </a:cubicBezTo>
                  <a:cubicBezTo>
                    <a:pt x="188821" y="2562797"/>
                    <a:pt x="190640" y="2542988"/>
                    <a:pt x="199176" y="2525917"/>
                  </a:cubicBezTo>
                  <a:cubicBezTo>
                    <a:pt x="205212" y="2513846"/>
                    <a:pt x="211966" y="2502108"/>
                    <a:pt x="217283" y="2489703"/>
                  </a:cubicBezTo>
                  <a:cubicBezTo>
                    <a:pt x="221042" y="2480932"/>
                    <a:pt x="222069" y="2471079"/>
                    <a:pt x="226337" y="2462543"/>
                  </a:cubicBezTo>
                  <a:cubicBezTo>
                    <a:pt x="231203" y="2452811"/>
                    <a:pt x="238408" y="2444436"/>
                    <a:pt x="244444" y="2435383"/>
                  </a:cubicBezTo>
                  <a:cubicBezTo>
                    <a:pt x="267199" y="2367112"/>
                    <a:pt x="236504" y="2451264"/>
                    <a:pt x="271604" y="2381062"/>
                  </a:cubicBezTo>
                  <a:cubicBezTo>
                    <a:pt x="275872" y="2372526"/>
                    <a:pt x="276389" y="2362437"/>
                    <a:pt x="280657" y="2353901"/>
                  </a:cubicBezTo>
                  <a:cubicBezTo>
                    <a:pt x="285523" y="2344169"/>
                    <a:pt x="294345" y="2336684"/>
                    <a:pt x="298764" y="2326741"/>
                  </a:cubicBezTo>
                  <a:cubicBezTo>
                    <a:pt x="306516" y="2309300"/>
                    <a:pt x="310835" y="2290527"/>
                    <a:pt x="316871" y="2272420"/>
                  </a:cubicBezTo>
                  <a:lnTo>
                    <a:pt x="344032" y="2190939"/>
                  </a:lnTo>
                  <a:cubicBezTo>
                    <a:pt x="344033" y="2190935"/>
                    <a:pt x="362137" y="2136621"/>
                    <a:pt x="362139" y="2136618"/>
                  </a:cubicBezTo>
                  <a:lnTo>
                    <a:pt x="380246" y="2109458"/>
                  </a:lnTo>
                  <a:cubicBezTo>
                    <a:pt x="405280" y="2034352"/>
                    <a:pt x="363254" y="2152495"/>
                    <a:pt x="425513" y="2027977"/>
                  </a:cubicBezTo>
                  <a:cubicBezTo>
                    <a:pt x="431549" y="2015906"/>
                    <a:pt x="436676" y="2003336"/>
                    <a:pt x="443620" y="1991763"/>
                  </a:cubicBezTo>
                  <a:cubicBezTo>
                    <a:pt x="454816" y="1973102"/>
                    <a:pt x="470102" y="1956906"/>
                    <a:pt x="479834" y="1937442"/>
                  </a:cubicBezTo>
                  <a:cubicBezTo>
                    <a:pt x="485870" y="1925371"/>
                    <a:pt x="490097" y="1912210"/>
                    <a:pt x="497941" y="1901228"/>
                  </a:cubicBezTo>
                  <a:cubicBezTo>
                    <a:pt x="505383" y="1890809"/>
                    <a:pt x="517241" y="1884174"/>
                    <a:pt x="525101" y="1874068"/>
                  </a:cubicBezTo>
                  <a:cubicBezTo>
                    <a:pt x="562290" y="1826254"/>
                    <a:pt x="549532" y="1825039"/>
                    <a:pt x="588475" y="1792587"/>
                  </a:cubicBezTo>
                  <a:cubicBezTo>
                    <a:pt x="596834" y="1785621"/>
                    <a:pt x="606582" y="1780516"/>
                    <a:pt x="615636" y="1774480"/>
                  </a:cubicBezTo>
                  <a:cubicBezTo>
                    <a:pt x="648832" y="1724686"/>
                    <a:pt x="615637" y="1766934"/>
                    <a:pt x="660903" y="1729212"/>
                  </a:cubicBezTo>
                  <a:cubicBezTo>
                    <a:pt x="670739" y="1721015"/>
                    <a:pt x="677644" y="1709494"/>
                    <a:pt x="688063" y="1702052"/>
                  </a:cubicBezTo>
                  <a:cubicBezTo>
                    <a:pt x="707643" y="1688066"/>
                    <a:pt x="729271" y="1682280"/>
                    <a:pt x="751438" y="1674892"/>
                  </a:cubicBezTo>
                  <a:cubicBezTo>
                    <a:pt x="760491" y="1665838"/>
                    <a:pt x="767945" y="1654833"/>
                    <a:pt x="778598" y="1647731"/>
                  </a:cubicBezTo>
                  <a:cubicBezTo>
                    <a:pt x="860264" y="1593286"/>
                    <a:pt x="747440" y="1691805"/>
                    <a:pt x="832919" y="1620571"/>
                  </a:cubicBezTo>
                  <a:cubicBezTo>
                    <a:pt x="842755" y="1612374"/>
                    <a:pt x="850243" y="1601607"/>
                    <a:pt x="860079" y="1593410"/>
                  </a:cubicBezTo>
                  <a:cubicBezTo>
                    <a:pt x="883479" y="1573910"/>
                    <a:pt x="887180" y="1575323"/>
                    <a:pt x="914400" y="1566250"/>
                  </a:cubicBezTo>
                  <a:cubicBezTo>
                    <a:pt x="947856" y="1516067"/>
                    <a:pt x="913365" y="1555759"/>
                    <a:pt x="959667" y="1530036"/>
                  </a:cubicBezTo>
                  <a:cubicBezTo>
                    <a:pt x="959677" y="1530030"/>
                    <a:pt x="1027563" y="1484772"/>
                    <a:pt x="1041148" y="1475715"/>
                  </a:cubicBezTo>
                  <a:cubicBezTo>
                    <a:pt x="1050202" y="1469679"/>
                    <a:pt x="1057986" y="1461049"/>
                    <a:pt x="1068309" y="1457608"/>
                  </a:cubicBezTo>
                  <a:lnTo>
                    <a:pt x="1095469" y="1448555"/>
                  </a:lnTo>
                  <a:cubicBezTo>
                    <a:pt x="1112524" y="1431501"/>
                    <a:pt x="1127104" y="1413371"/>
                    <a:pt x="1149790" y="1403288"/>
                  </a:cubicBezTo>
                  <a:cubicBezTo>
                    <a:pt x="1167231" y="1395536"/>
                    <a:pt x="1187040" y="1393717"/>
                    <a:pt x="1204111" y="1385181"/>
                  </a:cubicBezTo>
                  <a:cubicBezTo>
                    <a:pt x="1324219" y="1325127"/>
                    <a:pt x="1174236" y="1397985"/>
                    <a:pt x="1267485" y="1358020"/>
                  </a:cubicBezTo>
                  <a:cubicBezTo>
                    <a:pt x="1378631" y="1310385"/>
                    <a:pt x="1239904" y="1367283"/>
                    <a:pt x="1330859" y="1321806"/>
                  </a:cubicBezTo>
                  <a:cubicBezTo>
                    <a:pt x="1339395" y="1317538"/>
                    <a:pt x="1348966" y="1315771"/>
                    <a:pt x="1358020" y="1312753"/>
                  </a:cubicBezTo>
                  <a:cubicBezTo>
                    <a:pt x="1367073" y="1306717"/>
                    <a:pt x="1375448" y="1299512"/>
                    <a:pt x="1385180" y="1294646"/>
                  </a:cubicBezTo>
                  <a:cubicBezTo>
                    <a:pt x="1398163" y="1288155"/>
                    <a:pt x="1436958" y="1279438"/>
                    <a:pt x="1448554" y="1276539"/>
                  </a:cubicBezTo>
                  <a:cubicBezTo>
                    <a:pt x="1475830" y="1258355"/>
                    <a:pt x="1479768" y="1254108"/>
                    <a:pt x="1511929" y="1240325"/>
                  </a:cubicBezTo>
                  <a:cubicBezTo>
                    <a:pt x="1520700" y="1236566"/>
                    <a:pt x="1530036" y="1234290"/>
                    <a:pt x="1539089" y="1231272"/>
                  </a:cubicBezTo>
                  <a:cubicBezTo>
                    <a:pt x="1616924" y="1179381"/>
                    <a:pt x="1518445" y="1241594"/>
                    <a:pt x="1593410" y="1204111"/>
                  </a:cubicBezTo>
                  <a:cubicBezTo>
                    <a:pt x="1603142" y="1199245"/>
                    <a:pt x="1610344" y="1189722"/>
                    <a:pt x="1620570" y="1186004"/>
                  </a:cubicBezTo>
                  <a:cubicBezTo>
                    <a:pt x="1643957" y="1177500"/>
                    <a:pt x="1692998" y="1167898"/>
                    <a:pt x="1692998" y="1167898"/>
                  </a:cubicBezTo>
                  <a:cubicBezTo>
                    <a:pt x="1705069" y="1161862"/>
                    <a:pt x="1716807" y="1155108"/>
                    <a:pt x="1729212" y="1149791"/>
                  </a:cubicBezTo>
                  <a:cubicBezTo>
                    <a:pt x="1747401" y="1141995"/>
                    <a:pt x="1774201" y="1136280"/>
                    <a:pt x="1792586" y="1131684"/>
                  </a:cubicBezTo>
                  <a:cubicBezTo>
                    <a:pt x="1804657" y="1125648"/>
                    <a:pt x="1816395" y="1118894"/>
                    <a:pt x="1828800" y="1113577"/>
                  </a:cubicBezTo>
                  <a:cubicBezTo>
                    <a:pt x="1837571" y="1109818"/>
                    <a:pt x="1847424" y="1108791"/>
                    <a:pt x="1855960" y="1104523"/>
                  </a:cubicBezTo>
                  <a:cubicBezTo>
                    <a:pt x="1926154" y="1069426"/>
                    <a:pt x="1842021" y="1100115"/>
                    <a:pt x="1910281" y="1077363"/>
                  </a:cubicBezTo>
                  <a:cubicBezTo>
                    <a:pt x="1977157" y="1032779"/>
                    <a:pt x="1947192" y="1054206"/>
                    <a:pt x="2000816" y="1013989"/>
                  </a:cubicBezTo>
                  <a:cubicBezTo>
                    <a:pt x="2056269" y="930808"/>
                    <a:pt x="1980490" y="1032436"/>
                    <a:pt x="2046083" y="977775"/>
                  </a:cubicBezTo>
                  <a:cubicBezTo>
                    <a:pt x="2111858" y="922963"/>
                    <a:pt x="2038129" y="953267"/>
                    <a:pt x="2100404" y="932507"/>
                  </a:cubicBezTo>
                  <a:cubicBezTo>
                    <a:pt x="2118511" y="914400"/>
                    <a:pt x="2130432" y="886285"/>
                    <a:pt x="2154725" y="878187"/>
                  </a:cubicBezTo>
                  <a:cubicBezTo>
                    <a:pt x="2172832" y="872151"/>
                    <a:pt x="2190107" y="862448"/>
                    <a:pt x="2209046" y="860080"/>
                  </a:cubicBezTo>
                  <a:cubicBezTo>
                    <a:pt x="2271742" y="852242"/>
                    <a:pt x="2273427" y="853821"/>
                    <a:pt x="2326741" y="841973"/>
                  </a:cubicBezTo>
                  <a:cubicBezTo>
                    <a:pt x="2367781" y="832853"/>
                    <a:pt x="2372150" y="829853"/>
                    <a:pt x="2417275" y="814812"/>
                  </a:cubicBezTo>
                  <a:lnTo>
                    <a:pt x="2444436" y="805759"/>
                  </a:lnTo>
                  <a:cubicBezTo>
                    <a:pt x="2564953" y="685239"/>
                    <a:pt x="2421098" y="818300"/>
                    <a:pt x="2507810" y="760492"/>
                  </a:cubicBezTo>
                  <a:cubicBezTo>
                    <a:pt x="2518463" y="753390"/>
                    <a:pt x="2525249" y="741663"/>
                    <a:pt x="2534970" y="733331"/>
                  </a:cubicBezTo>
                  <a:cubicBezTo>
                    <a:pt x="2546426" y="723511"/>
                    <a:pt x="2558823" y="714824"/>
                    <a:pt x="2571184" y="706171"/>
                  </a:cubicBezTo>
                  <a:cubicBezTo>
                    <a:pt x="2604246" y="683028"/>
                    <a:pt x="2637434" y="656089"/>
                    <a:pt x="2679826" y="651850"/>
                  </a:cubicBezTo>
                  <a:cubicBezTo>
                    <a:pt x="2791594" y="640674"/>
                    <a:pt x="2740336" y="647086"/>
                    <a:pt x="2833735" y="633743"/>
                  </a:cubicBezTo>
                  <a:cubicBezTo>
                    <a:pt x="2842788" y="630725"/>
                    <a:pt x="2851637" y="627005"/>
                    <a:pt x="2860895" y="624690"/>
                  </a:cubicBezTo>
                  <a:cubicBezTo>
                    <a:pt x="2886215" y="618360"/>
                    <a:pt x="2936252" y="610621"/>
                    <a:pt x="2960483" y="606583"/>
                  </a:cubicBezTo>
                  <a:cubicBezTo>
                    <a:pt x="2969537" y="597529"/>
                    <a:pt x="2976991" y="586524"/>
                    <a:pt x="2987644" y="579422"/>
                  </a:cubicBezTo>
                  <a:cubicBezTo>
                    <a:pt x="2995584" y="574128"/>
                    <a:pt x="3007352" y="576331"/>
                    <a:pt x="3014804" y="570369"/>
                  </a:cubicBezTo>
                  <a:cubicBezTo>
                    <a:pt x="3073304" y="523568"/>
                    <a:pt x="2991805" y="556910"/>
                    <a:pt x="3060071" y="534155"/>
                  </a:cubicBezTo>
                  <a:cubicBezTo>
                    <a:pt x="3069125" y="528119"/>
                    <a:pt x="3078873" y="523014"/>
                    <a:pt x="3087232" y="516048"/>
                  </a:cubicBezTo>
                  <a:cubicBezTo>
                    <a:pt x="3111597" y="495744"/>
                    <a:pt x="3112653" y="483625"/>
                    <a:pt x="3141552" y="470781"/>
                  </a:cubicBezTo>
                  <a:cubicBezTo>
                    <a:pt x="3158993" y="463029"/>
                    <a:pt x="3195873" y="452674"/>
                    <a:pt x="3195873" y="452674"/>
                  </a:cubicBezTo>
                  <a:cubicBezTo>
                    <a:pt x="3295461" y="455692"/>
                    <a:pt x="3395004" y="461727"/>
                    <a:pt x="3494638" y="461727"/>
                  </a:cubicBezTo>
                  <a:cubicBezTo>
                    <a:pt x="3561099" y="461727"/>
                    <a:pt x="3627732" y="459754"/>
                    <a:pt x="3693814" y="452674"/>
                  </a:cubicBezTo>
                  <a:cubicBezTo>
                    <a:pt x="3712792" y="450641"/>
                    <a:pt x="3748135" y="434567"/>
                    <a:pt x="3748135" y="434567"/>
                  </a:cubicBezTo>
                  <a:cubicBezTo>
                    <a:pt x="3757188" y="428531"/>
                    <a:pt x="3765294" y="420746"/>
                    <a:pt x="3775295" y="416460"/>
                  </a:cubicBezTo>
                  <a:cubicBezTo>
                    <a:pt x="3786732" y="411558"/>
                    <a:pt x="3799545" y="410824"/>
                    <a:pt x="3811509" y="407406"/>
                  </a:cubicBezTo>
                  <a:cubicBezTo>
                    <a:pt x="3820685" y="404784"/>
                    <a:pt x="3829898" y="402112"/>
                    <a:pt x="3838669" y="398353"/>
                  </a:cubicBezTo>
                  <a:cubicBezTo>
                    <a:pt x="3949775" y="350737"/>
                    <a:pt x="3811120" y="407600"/>
                    <a:pt x="3902044" y="362139"/>
                  </a:cubicBezTo>
                  <a:cubicBezTo>
                    <a:pt x="3916511" y="354905"/>
                    <a:pt x="3951887" y="347898"/>
                    <a:pt x="3965418" y="344032"/>
                  </a:cubicBezTo>
                  <a:cubicBezTo>
                    <a:pt x="3974594" y="341410"/>
                    <a:pt x="3983371" y="337490"/>
                    <a:pt x="3992578" y="334979"/>
                  </a:cubicBezTo>
                  <a:cubicBezTo>
                    <a:pt x="4016587" y="328431"/>
                    <a:pt x="4041397" y="324742"/>
                    <a:pt x="4065006" y="316872"/>
                  </a:cubicBezTo>
                  <a:lnTo>
                    <a:pt x="4119327" y="298765"/>
                  </a:lnTo>
                  <a:cubicBezTo>
                    <a:pt x="4178843" y="259087"/>
                    <a:pt x="4114750" y="298376"/>
                    <a:pt x="4173648" y="271604"/>
                  </a:cubicBezTo>
                  <a:cubicBezTo>
                    <a:pt x="4198221" y="260435"/>
                    <a:pt x="4220468" y="243927"/>
                    <a:pt x="4246075" y="235391"/>
                  </a:cubicBezTo>
                  <a:cubicBezTo>
                    <a:pt x="4255129" y="232373"/>
                    <a:pt x="4264894" y="230972"/>
                    <a:pt x="4273236" y="226337"/>
                  </a:cubicBezTo>
                  <a:cubicBezTo>
                    <a:pt x="4322888" y="198752"/>
                    <a:pt x="4324934" y="180150"/>
                    <a:pt x="4381877" y="172016"/>
                  </a:cubicBezTo>
                  <a:cubicBezTo>
                    <a:pt x="4478249" y="158249"/>
                    <a:pt x="4424000" y="164895"/>
                    <a:pt x="4544840" y="153909"/>
                  </a:cubicBezTo>
                  <a:cubicBezTo>
                    <a:pt x="4562947" y="147873"/>
                    <a:pt x="4588573" y="151683"/>
                    <a:pt x="4599160" y="135802"/>
                  </a:cubicBezTo>
                  <a:cubicBezTo>
                    <a:pt x="4605196" y="126749"/>
                    <a:pt x="4608040" y="114409"/>
                    <a:pt x="4617267" y="108642"/>
                  </a:cubicBezTo>
                  <a:cubicBezTo>
                    <a:pt x="4633452" y="98526"/>
                    <a:pt x="4655707" y="101122"/>
                    <a:pt x="4671588" y="90535"/>
                  </a:cubicBezTo>
                  <a:lnTo>
                    <a:pt x="4753069" y="36214"/>
                  </a:lnTo>
                  <a:cubicBezTo>
                    <a:pt x="4762123" y="30178"/>
                    <a:pt x="4769674" y="20746"/>
                    <a:pt x="4780230" y="18107"/>
                  </a:cubicBezTo>
                  <a:lnTo>
                    <a:pt x="4852657" y="0"/>
                  </a:lnTo>
                </a:path>
              </a:pathLst>
            </a:custGeom>
            <a:ln w="2857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sz="1800">
                <a:solidFill>
                  <a:srgbClr val="5F5F5F"/>
                </a:solidFill>
              </a:endParaRPr>
            </a:p>
          </p:txBody>
        </p:sp>
        <p:sp>
          <p:nvSpPr>
            <p:cNvPr id="38" name="TextBox 37"/>
            <p:cNvSpPr txBox="1"/>
            <p:nvPr/>
          </p:nvSpPr>
          <p:spPr>
            <a:xfrm>
              <a:off x="6922878" y="2975576"/>
              <a:ext cx="1902729" cy="253915"/>
            </a:xfrm>
            <a:prstGeom prst="rect">
              <a:avLst/>
            </a:prstGeom>
            <a:noFill/>
          </p:spPr>
          <p:txBody>
            <a:bodyPr wrap="square" rtlCol="0">
              <a:spAutoFit/>
            </a:bodyPr>
            <a:lstStyle/>
            <a:p>
              <a:pPr defTabSz="914400"/>
              <a:r>
                <a:rPr lang="en-US" sz="1600" dirty="0" smtClean="0">
                  <a:solidFill>
                    <a:srgbClr val="0070C0"/>
                  </a:solidFill>
                </a:rPr>
                <a:t>Model with 75 variables</a:t>
              </a:r>
            </a:p>
          </p:txBody>
        </p:sp>
        <p:cxnSp>
          <p:nvCxnSpPr>
            <p:cNvPr id="39" name="Straight Arrow Connector 38"/>
            <p:cNvCxnSpPr>
              <a:stCxn id="38" idx="1"/>
            </p:cNvCxnSpPr>
            <p:nvPr/>
          </p:nvCxnSpPr>
          <p:spPr>
            <a:xfrm flipH="1" flipV="1">
              <a:off x="5465264" y="2459529"/>
              <a:ext cx="1457614" cy="643004"/>
            </a:xfrm>
            <a:prstGeom prst="straightConnector1">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grpSp>
      <p:grpSp>
        <p:nvGrpSpPr>
          <p:cNvPr id="16" name="Group 54"/>
          <p:cNvGrpSpPr/>
          <p:nvPr/>
        </p:nvGrpSpPr>
        <p:grpSpPr>
          <a:xfrm>
            <a:off x="5322035" y="1590417"/>
            <a:ext cx="6468526" cy="4336587"/>
            <a:chOff x="3992566" y="1192811"/>
            <a:chExt cx="4852658" cy="3252440"/>
          </a:xfrm>
        </p:grpSpPr>
        <p:sp>
          <p:nvSpPr>
            <p:cNvPr id="31" name="Freeform 30"/>
            <p:cNvSpPr/>
            <p:nvPr/>
          </p:nvSpPr>
          <p:spPr>
            <a:xfrm>
              <a:off x="3992566" y="1192811"/>
              <a:ext cx="4852658" cy="3252440"/>
            </a:xfrm>
            <a:custGeom>
              <a:avLst/>
              <a:gdLst>
                <a:gd name="connsiteX0" fmla="*/ 0 w 4852658"/>
                <a:gd name="connsiteY0" fmla="*/ 3252440 h 3252440"/>
                <a:gd name="connsiteX1" fmla="*/ 18107 w 4852658"/>
                <a:gd name="connsiteY1" fmla="*/ 3189066 h 3252440"/>
                <a:gd name="connsiteX2" fmla="*/ 27161 w 4852658"/>
                <a:gd name="connsiteY2" fmla="*/ 3134745 h 3252440"/>
                <a:gd name="connsiteX3" fmla="*/ 45267 w 4852658"/>
                <a:gd name="connsiteY3" fmla="*/ 3080425 h 3252440"/>
                <a:gd name="connsiteX4" fmla="*/ 54321 w 4852658"/>
                <a:gd name="connsiteY4" fmla="*/ 3053264 h 3252440"/>
                <a:gd name="connsiteX5" fmla="*/ 54321 w 4852658"/>
                <a:gd name="connsiteY5" fmla="*/ 2718286 h 3252440"/>
                <a:gd name="connsiteX6" fmla="*/ 63374 w 4852658"/>
                <a:gd name="connsiteY6" fmla="*/ 2682072 h 3252440"/>
                <a:gd name="connsiteX7" fmla="*/ 72428 w 4852658"/>
                <a:gd name="connsiteY7" fmla="*/ 2627751 h 3252440"/>
                <a:gd name="connsiteX8" fmla="*/ 81481 w 4852658"/>
                <a:gd name="connsiteY8" fmla="*/ 2600591 h 3252440"/>
                <a:gd name="connsiteX9" fmla="*/ 90535 w 4852658"/>
                <a:gd name="connsiteY9" fmla="*/ 2546270 h 3252440"/>
                <a:gd name="connsiteX10" fmla="*/ 126749 w 4852658"/>
                <a:gd name="connsiteY10" fmla="*/ 2464789 h 3252440"/>
                <a:gd name="connsiteX11" fmla="*/ 144856 w 4852658"/>
                <a:gd name="connsiteY11" fmla="*/ 2410468 h 3252440"/>
                <a:gd name="connsiteX12" fmla="*/ 162962 w 4852658"/>
                <a:gd name="connsiteY12" fmla="*/ 2338040 h 3252440"/>
                <a:gd name="connsiteX13" fmla="*/ 181069 w 4852658"/>
                <a:gd name="connsiteY13" fmla="*/ 2274666 h 3252440"/>
                <a:gd name="connsiteX14" fmla="*/ 190123 w 4852658"/>
                <a:gd name="connsiteY14" fmla="*/ 2211292 h 3252440"/>
                <a:gd name="connsiteX15" fmla="*/ 199176 w 4852658"/>
                <a:gd name="connsiteY15" fmla="*/ 2166025 h 3252440"/>
                <a:gd name="connsiteX16" fmla="*/ 217283 w 4852658"/>
                <a:gd name="connsiteY16" fmla="*/ 1994009 h 3252440"/>
                <a:gd name="connsiteX17" fmla="*/ 226337 w 4852658"/>
                <a:gd name="connsiteY17" fmla="*/ 1867260 h 3252440"/>
                <a:gd name="connsiteX18" fmla="*/ 244444 w 4852658"/>
                <a:gd name="connsiteY18" fmla="*/ 1794833 h 3252440"/>
                <a:gd name="connsiteX19" fmla="*/ 262551 w 4852658"/>
                <a:gd name="connsiteY19" fmla="*/ 1668084 h 3252440"/>
                <a:gd name="connsiteX20" fmla="*/ 289711 w 4852658"/>
                <a:gd name="connsiteY20" fmla="*/ 1559442 h 3252440"/>
                <a:gd name="connsiteX21" fmla="*/ 307818 w 4852658"/>
                <a:gd name="connsiteY21" fmla="*/ 1532282 h 3252440"/>
                <a:gd name="connsiteX22" fmla="*/ 334978 w 4852658"/>
                <a:gd name="connsiteY22" fmla="*/ 1468908 h 3252440"/>
                <a:gd name="connsiteX23" fmla="*/ 371192 w 4852658"/>
                <a:gd name="connsiteY23" fmla="*/ 1414587 h 3252440"/>
                <a:gd name="connsiteX24" fmla="*/ 407406 w 4852658"/>
                <a:gd name="connsiteY24" fmla="*/ 1360266 h 3252440"/>
                <a:gd name="connsiteX25" fmla="*/ 416460 w 4852658"/>
                <a:gd name="connsiteY25" fmla="*/ 1333106 h 3252440"/>
                <a:gd name="connsiteX26" fmla="*/ 470780 w 4852658"/>
                <a:gd name="connsiteY26" fmla="*/ 1251625 h 3252440"/>
                <a:gd name="connsiteX27" fmla="*/ 506994 w 4852658"/>
                <a:gd name="connsiteY27" fmla="*/ 1197304 h 3252440"/>
                <a:gd name="connsiteX28" fmla="*/ 525101 w 4852658"/>
                <a:gd name="connsiteY28" fmla="*/ 1170143 h 3252440"/>
                <a:gd name="connsiteX29" fmla="*/ 579422 w 4852658"/>
                <a:gd name="connsiteY29" fmla="*/ 1115823 h 3252440"/>
                <a:gd name="connsiteX30" fmla="*/ 606582 w 4852658"/>
                <a:gd name="connsiteY30" fmla="*/ 1097716 h 3252440"/>
                <a:gd name="connsiteX31" fmla="*/ 633743 w 4852658"/>
                <a:gd name="connsiteY31" fmla="*/ 1070555 h 3252440"/>
                <a:gd name="connsiteX32" fmla="*/ 651850 w 4852658"/>
                <a:gd name="connsiteY32" fmla="*/ 1043395 h 3252440"/>
                <a:gd name="connsiteX33" fmla="*/ 724277 w 4852658"/>
                <a:gd name="connsiteY33" fmla="*/ 1007181 h 3252440"/>
                <a:gd name="connsiteX34" fmla="*/ 760491 w 4852658"/>
                <a:gd name="connsiteY34" fmla="*/ 980021 h 3252440"/>
                <a:gd name="connsiteX35" fmla="*/ 832919 w 4852658"/>
                <a:gd name="connsiteY35" fmla="*/ 952860 h 3252440"/>
                <a:gd name="connsiteX36" fmla="*/ 896293 w 4852658"/>
                <a:gd name="connsiteY36" fmla="*/ 907593 h 3252440"/>
                <a:gd name="connsiteX37" fmla="*/ 923454 w 4852658"/>
                <a:gd name="connsiteY37" fmla="*/ 898539 h 3252440"/>
                <a:gd name="connsiteX38" fmla="*/ 977774 w 4852658"/>
                <a:gd name="connsiteY38" fmla="*/ 862326 h 3252440"/>
                <a:gd name="connsiteX39" fmla="*/ 1013988 w 4852658"/>
                <a:gd name="connsiteY39" fmla="*/ 844219 h 3252440"/>
                <a:gd name="connsiteX40" fmla="*/ 1068309 w 4852658"/>
                <a:gd name="connsiteY40" fmla="*/ 826112 h 3252440"/>
                <a:gd name="connsiteX41" fmla="*/ 1104523 w 4852658"/>
                <a:gd name="connsiteY41" fmla="*/ 808005 h 3252440"/>
                <a:gd name="connsiteX42" fmla="*/ 1167897 w 4852658"/>
                <a:gd name="connsiteY42" fmla="*/ 771791 h 3252440"/>
                <a:gd name="connsiteX43" fmla="*/ 1240325 w 4852658"/>
                <a:gd name="connsiteY43" fmla="*/ 753684 h 3252440"/>
                <a:gd name="connsiteX44" fmla="*/ 1267485 w 4852658"/>
                <a:gd name="connsiteY44" fmla="*/ 735577 h 3252440"/>
                <a:gd name="connsiteX45" fmla="*/ 1339913 w 4852658"/>
                <a:gd name="connsiteY45" fmla="*/ 717470 h 3252440"/>
                <a:gd name="connsiteX46" fmla="*/ 1367073 w 4852658"/>
                <a:gd name="connsiteY46" fmla="*/ 699363 h 3252440"/>
                <a:gd name="connsiteX47" fmla="*/ 1421394 w 4852658"/>
                <a:gd name="connsiteY47" fmla="*/ 681256 h 3252440"/>
                <a:gd name="connsiteX48" fmla="*/ 1475715 w 4852658"/>
                <a:gd name="connsiteY48" fmla="*/ 654096 h 3252440"/>
                <a:gd name="connsiteX49" fmla="*/ 1575303 w 4852658"/>
                <a:gd name="connsiteY49" fmla="*/ 617882 h 3252440"/>
                <a:gd name="connsiteX50" fmla="*/ 1638677 w 4852658"/>
                <a:gd name="connsiteY50" fmla="*/ 599775 h 3252440"/>
                <a:gd name="connsiteX51" fmla="*/ 1720159 w 4852658"/>
                <a:gd name="connsiteY51" fmla="*/ 590722 h 3252440"/>
                <a:gd name="connsiteX52" fmla="*/ 1792586 w 4852658"/>
                <a:gd name="connsiteY52" fmla="*/ 572615 h 3252440"/>
                <a:gd name="connsiteX53" fmla="*/ 1964602 w 4852658"/>
                <a:gd name="connsiteY53" fmla="*/ 554508 h 3252440"/>
                <a:gd name="connsiteX54" fmla="*/ 2000816 w 4852658"/>
                <a:gd name="connsiteY54" fmla="*/ 545454 h 3252440"/>
                <a:gd name="connsiteX55" fmla="*/ 2073244 w 4852658"/>
                <a:gd name="connsiteY55" fmla="*/ 536401 h 3252440"/>
                <a:gd name="connsiteX56" fmla="*/ 2127564 w 4852658"/>
                <a:gd name="connsiteY56" fmla="*/ 518294 h 3252440"/>
                <a:gd name="connsiteX57" fmla="*/ 2199992 w 4852658"/>
                <a:gd name="connsiteY57" fmla="*/ 500187 h 3252440"/>
                <a:gd name="connsiteX58" fmla="*/ 2236206 w 4852658"/>
                <a:gd name="connsiteY58" fmla="*/ 491134 h 3252440"/>
                <a:gd name="connsiteX59" fmla="*/ 2272420 w 4852658"/>
                <a:gd name="connsiteY59" fmla="*/ 473027 h 3252440"/>
                <a:gd name="connsiteX60" fmla="*/ 2299580 w 4852658"/>
                <a:gd name="connsiteY60" fmla="*/ 463973 h 3252440"/>
                <a:gd name="connsiteX61" fmla="*/ 2326741 w 4852658"/>
                <a:gd name="connsiteY61" fmla="*/ 445866 h 3252440"/>
                <a:gd name="connsiteX62" fmla="*/ 2372008 w 4852658"/>
                <a:gd name="connsiteY62" fmla="*/ 436813 h 3252440"/>
                <a:gd name="connsiteX63" fmla="*/ 2399168 w 4852658"/>
                <a:gd name="connsiteY63" fmla="*/ 418706 h 3252440"/>
                <a:gd name="connsiteX64" fmla="*/ 2435382 w 4852658"/>
                <a:gd name="connsiteY64" fmla="*/ 409652 h 3252440"/>
                <a:gd name="connsiteX65" fmla="*/ 2507810 w 4852658"/>
                <a:gd name="connsiteY65" fmla="*/ 391545 h 3252440"/>
                <a:gd name="connsiteX66" fmla="*/ 2544024 w 4852658"/>
                <a:gd name="connsiteY66" fmla="*/ 382492 h 3252440"/>
                <a:gd name="connsiteX67" fmla="*/ 2688879 w 4852658"/>
                <a:gd name="connsiteY67" fmla="*/ 364385 h 3252440"/>
                <a:gd name="connsiteX68" fmla="*/ 2716040 w 4852658"/>
                <a:gd name="connsiteY68" fmla="*/ 355332 h 3252440"/>
                <a:gd name="connsiteX69" fmla="*/ 2888056 w 4852658"/>
                <a:gd name="connsiteY69" fmla="*/ 337225 h 3252440"/>
                <a:gd name="connsiteX70" fmla="*/ 2933323 w 4852658"/>
                <a:gd name="connsiteY70" fmla="*/ 328171 h 3252440"/>
                <a:gd name="connsiteX71" fmla="*/ 2969537 w 4852658"/>
                <a:gd name="connsiteY71" fmla="*/ 319118 h 3252440"/>
                <a:gd name="connsiteX72" fmla="*/ 3032911 w 4852658"/>
                <a:gd name="connsiteY72" fmla="*/ 310064 h 3252440"/>
                <a:gd name="connsiteX73" fmla="*/ 3105339 w 4852658"/>
                <a:gd name="connsiteY73" fmla="*/ 291957 h 3252440"/>
                <a:gd name="connsiteX74" fmla="*/ 3177766 w 4852658"/>
                <a:gd name="connsiteY74" fmla="*/ 273850 h 3252440"/>
                <a:gd name="connsiteX75" fmla="*/ 3277355 w 4852658"/>
                <a:gd name="connsiteY75" fmla="*/ 264797 h 3252440"/>
                <a:gd name="connsiteX76" fmla="*/ 3404103 w 4852658"/>
                <a:gd name="connsiteY76" fmla="*/ 237637 h 3252440"/>
                <a:gd name="connsiteX77" fmla="*/ 3449370 w 4852658"/>
                <a:gd name="connsiteY77" fmla="*/ 228583 h 3252440"/>
                <a:gd name="connsiteX78" fmla="*/ 3576119 w 4852658"/>
                <a:gd name="connsiteY78" fmla="*/ 210476 h 3252440"/>
                <a:gd name="connsiteX79" fmla="*/ 3612333 w 4852658"/>
                <a:gd name="connsiteY79" fmla="*/ 201423 h 3252440"/>
                <a:gd name="connsiteX80" fmla="*/ 3793402 w 4852658"/>
                <a:gd name="connsiteY80" fmla="*/ 183316 h 3252440"/>
                <a:gd name="connsiteX81" fmla="*/ 3847723 w 4852658"/>
                <a:gd name="connsiteY81" fmla="*/ 165209 h 3252440"/>
                <a:gd name="connsiteX82" fmla="*/ 3892990 w 4852658"/>
                <a:gd name="connsiteY82" fmla="*/ 156155 h 3252440"/>
                <a:gd name="connsiteX83" fmla="*/ 3965418 w 4852658"/>
                <a:gd name="connsiteY83" fmla="*/ 147102 h 3252440"/>
                <a:gd name="connsiteX84" fmla="*/ 4028792 w 4852658"/>
                <a:gd name="connsiteY84" fmla="*/ 138048 h 3252440"/>
                <a:gd name="connsiteX85" fmla="*/ 4092166 w 4852658"/>
                <a:gd name="connsiteY85" fmla="*/ 119941 h 3252440"/>
                <a:gd name="connsiteX86" fmla="*/ 4119327 w 4852658"/>
                <a:gd name="connsiteY86" fmla="*/ 110888 h 3252440"/>
                <a:gd name="connsiteX87" fmla="*/ 4255129 w 4852658"/>
                <a:gd name="connsiteY87" fmla="*/ 92781 h 3252440"/>
                <a:gd name="connsiteX88" fmla="*/ 4418091 w 4852658"/>
                <a:gd name="connsiteY88" fmla="*/ 74674 h 3252440"/>
                <a:gd name="connsiteX89" fmla="*/ 4572000 w 4852658"/>
                <a:gd name="connsiteY89" fmla="*/ 56567 h 3252440"/>
                <a:gd name="connsiteX90" fmla="*/ 4662535 w 4852658"/>
                <a:gd name="connsiteY90" fmla="*/ 29407 h 3252440"/>
                <a:gd name="connsiteX91" fmla="*/ 4698749 w 4852658"/>
                <a:gd name="connsiteY91" fmla="*/ 20353 h 3252440"/>
                <a:gd name="connsiteX92" fmla="*/ 4725909 w 4852658"/>
                <a:gd name="connsiteY92" fmla="*/ 11300 h 3252440"/>
                <a:gd name="connsiteX93" fmla="*/ 4852658 w 4852658"/>
                <a:gd name="connsiteY93" fmla="*/ 2246 h 325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852658" h="3252440">
                  <a:moveTo>
                    <a:pt x="0" y="3252440"/>
                  </a:moveTo>
                  <a:cubicBezTo>
                    <a:pt x="8631" y="3226548"/>
                    <a:pt x="12421" y="3217494"/>
                    <a:pt x="18107" y="3189066"/>
                  </a:cubicBezTo>
                  <a:cubicBezTo>
                    <a:pt x="21707" y="3171066"/>
                    <a:pt x="22709" y="3152554"/>
                    <a:pt x="27161" y="3134745"/>
                  </a:cubicBezTo>
                  <a:cubicBezTo>
                    <a:pt x="31790" y="3116229"/>
                    <a:pt x="39232" y="3098532"/>
                    <a:pt x="45267" y="3080425"/>
                  </a:cubicBezTo>
                  <a:lnTo>
                    <a:pt x="54321" y="3053264"/>
                  </a:lnTo>
                  <a:cubicBezTo>
                    <a:pt x="40999" y="2893416"/>
                    <a:pt x="39652" y="2930986"/>
                    <a:pt x="54321" y="2718286"/>
                  </a:cubicBezTo>
                  <a:cubicBezTo>
                    <a:pt x="55177" y="2705873"/>
                    <a:pt x="60934" y="2694273"/>
                    <a:pt x="63374" y="2682072"/>
                  </a:cubicBezTo>
                  <a:cubicBezTo>
                    <a:pt x="66974" y="2664072"/>
                    <a:pt x="68446" y="2645671"/>
                    <a:pt x="72428" y="2627751"/>
                  </a:cubicBezTo>
                  <a:cubicBezTo>
                    <a:pt x="74498" y="2618435"/>
                    <a:pt x="79411" y="2609907"/>
                    <a:pt x="81481" y="2600591"/>
                  </a:cubicBezTo>
                  <a:cubicBezTo>
                    <a:pt x="85463" y="2582671"/>
                    <a:pt x="86083" y="2564079"/>
                    <a:pt x="90535" y="2546270"/>
                  </a:cubicBezTo>
                  <a:cubicBezTo>
                    <a:pt x="103464" y="2494554"/>
                    <a:pt x="102968" y="2500460"/>
                    <a:pt x="126749" y="2464789"/>
                  </a:cubicBezTo>
                  <a:cubicBezTo>
                    <a:pt x="132785" y="2446682"/>
                    <a:pt x="141113" y="2429184"/>
                    <a:pt x="144856" y="2410468"/>
                  </a:cubicBezTo>
                  <a:cubicBezTo>
                    <a:pt x="163256" y="2318462"/>
                    <a:pt x="144407" y="2402983"/>
                    <a:pt x="162962" y="2338040"/>
                  </a:cubicBezTo>
                  <a:cubicBezTo>
                    <a:pt x="185698" y="2258464"/>
                    <a:pt x="159363" y="2339789"/>
                    <a:pt x="181069" y="2274666"/>
                  </a:cubicBezTo>
                  <a:cubicBezTo>
                    <a:pt x="184087" y="2253541"/>
                    <a:pt x="186615" y="2232341"/>
                    <a:pt x="190123" y="2211292"/>
                  </a:cubicBezTo>
                  <a:cubicBezTo>
                    <a:pt x="192653" y="2196114"/>
                    <a:pt x="196836" y="2181234"/>
                    <a:pt x="199176" y="2166025"/>
                  </a:cubicBezTo>
                  <a:cubicBezTo>
                    <a:pt x="207015" y="2115070"/>
                    <a:pt x="213356" y="2043096"/>
                    <a:pt x="217283" y="1994009"/>
                  </a:cubicBezTo>
                  <a:cubicBezTo>
                    <a:pt x="220661" y="1951787"/>
                    <a:pt x="221903" y="1909385"/>
                    <a:pt x="226337" y="1867260"/>
                  </a:cubicBezTo>
                  <a:cubicBezTo>
                    <a:pt x="229699" y="1835321"/>
                    <a:pt x="235214" y="1822522"/>
                    <a:pt x="244444" y="1794833"/>
                  </a:cubicBezTo>
                  <a:cubicBezTo>
                    <a:pt x="262736" y="1611906"/>
                    <a:pt x="242858" y="1766547"/>
                    <a:pt x="262551" y="1668084"/>
                  </a:cubicBezTo>
                  <a:cubicBezTo>
                    <a:pt x="268370" y="1638991"/>
                    <a:pt x="272424" y="1585371"/>
                    <a:pt x="289711" y="1559442"/>
                  </a:cubicBezTo>
                  <a:lnTo>
                    <a:pt x="307818" y="1532282"/>
                  </a:lnTo>
                  <a:cubicBezTo>
                    <a:pt x="317184" y="1504184"/>
                    <a:pt x="318196" y="1496877"/>
                    <a:pt x="334978" y="1468908"/>
                  </a:cubicBezTo>
                  <a:cubicBezTo>
                    <a:pt x="346174" y="1450247"/>
                    <a:pt x="364310" y="1435232"/>
                    <a:pt x="371192" y="1414587"/>
                  </a:cubicBezTo>
                  <a:cubicBezTo>
                    <a:pt x="384295" y="1375281"/>
                    <a:pt x="373498" y="1394175"/>
                    <a:pt x="407406" y="1360266"/>
                  </a:cubicBezTo>
                  <a:cubicBezTo>
                    <a:pt x="410424" y="1351213"/>
                    <a:pt x="411825" y="1341448"/>
                    <a:pt x="416460" y="1333106"/>
                  </a:cubicBezTo>
                  <a:cubicBezTo>
                    <a:pt x="416471" y="1333086"/>
                    <a:pt x="461720" y="1265215"/>
                    <a:pt x="470780" y="1251625"/>
                  </a:cubicBezTo>
                  <a:lnTo>
                    <a:pt x="506994" y="1197304"/>
                  </a:lnTo>
                  <a:cubicBezTo>
                    <a:pt x="513030" y="1188250"/>
                    <a:pt x="517407" y="1177837"/>
                    <a:pt x="525101" y="1170143"/>
                  </a:cubicBezTo>
                  <a:cubicBezTo>
                    <a:pt x="543208" y="1152036"/>
                    <a:pt x="558116" y="1130027"/>
                    <a:pt x="579422" y="1115823"/>
                  </a:cubicBezTo>
                  <a:cubicBezTo>
                    <a:pt x="588475" y="1109787"/>
                    <a:pt x="598223" y="1104682"/>
                    <a:pt x="606582" y="1097716"/>
                  </a:cubicBezTo>
                  <a:cubicBezTo>
                    <a:pt x="616418" y="1089519"/>
                    <a:pt x="625546" y="1080391"/>
                    <a:pt x="633743" y="1070555"/>
                  </a:cubicBezTo>
                  <a:cubicBezTo>
                    <a:pt x="640709" y="1062196"/>
                    <a:pt x="642936" y="1049635"/>
                    <a:pt x="651850" y="1043395"/>
                  </a:cubicBezTo>
                  <a:cubicBezTo>
                    <a:pt x="673963" y="1027916"/>
                    <a:pt x="702683" y="1023376"/>
                    <a:pt x="724277" y="1007181"/>
                  </a:cubicBezTo>
                  <a:cubicBezTo>
                    <a:pt x="736348" y="998128"/>
                    <a:pt x="746995" y="986769"/>
                    <a:pt x="760491" y="980021"/>
                  </a:cubicBezTo>
                  <a:cubicBezTo>
                    <a:pt x="864764" y="927884"/>
                    <a:pt x="725957" y="1019710"/>
                    <a:pt x="832919" y="952860"/>
                  </a:cubicBezTo>
                  <a:cubicBezTo>
                    <a:pt x="849316" y="942612"/>
                    <a:pt x="877146" y="917167"/>
                    <a:pt x="896293" y="907593"/>
                  </a:cubicBezTo>
                  <a:cubicBezTo>
                    <a:pt x="904829" y="903325"/>
                    <a:pt x="915112" y="903174"/>
                    <a:pt x="923454" y="898539"/>
                  </a:cubicBezTo>
                  <a:cubicBezTo>
                    <a:pt x="942477" y="887971"/>
                    <a:pt x="958310" y="872058"/>
                    <a:pt x="977774" y="862326"/>
                  </a:cubicBezTo>
                  <a:cubicBezTo>
                    <a:pt x="989845" y="856290"/>
                    <a:pt x="1001457" y="849231"/>
                    <a:pt x="1013988" y="844219"/>
                  </a:cubicBezTo>
                  <a:cubicBezTo>
                    <a:pt x="1031709" y="837130"/>
                    <a:pt x="1051238" y="834648"/>
                    <a:pt x="1068309" y="826112"/>
                  </a:cubicBezTo>
                  <a:cubicBezTo>
                    <a:pt x="1080380" y="820076"/>
                    <a:pt x="1092805" y="814701"/>
                    <a:pt x="1104523" y="808005"/>
                  </a:cubicBezTo>
                  <a:cubicBezTo>
                    <a:pt x="1132339" y="792110"/>
                    <a:pt x="1135065" y="782735"/>
                    <a:pt x="1167897" y="771791"/>
                  </a:cubicBezTo>
                  <a:cubicBezTo>
                    <a:pt x="1198895" y="761459"/>
                    <a:pt x="1213220" y="767237"/>
                    <a:pt x="1240325" y="753684"/>
                  </a:cubicBezTo>
                  <a:cubicBezTo>
                    <a:pt x="1250057" y="748818"/>
                    <a:pt x="1257753" y="740443"/>
                    <a:pt x="1267485" y="735577"/>
                  </a:cubicBezTo>
                  <a:cubicBezTo>
                    <a:pt x="1286041" y="726299"/>
                    <a:pt x="1322702" y="720912"/>
                    <a:pt x="1339913" y="717470"/>
                  </a:cubicBezTo>
                  <a:cubicBezTo>
                    <a:pt x="1348966" y="711434"/>
                    <a:pt x="1357130" y="703782"/>
                    <a:pt x="1367073" y="699363"/>
                  </a:cubicBezTo>
                  <a:cubicBezTo>
                    <a:pt x="1384514" y="691611"/>
                    <a:pt x="1405513" y="691843"/>
                    <a:pt x="1421394" y="681256"/>
                  </a:cubicBezTo>
                  <a:cubicBezTo>
                    <a:pt x="1456495" y="657856"/>
                    <a:pt x="1438232" y="666590"/>
                    <a:pt x="1475715" y="654096"/>
                  </a:cubicBezTo>
                  <a:cubicBezTo>
                    <a:pt x="1532650" y="616139"/>
                    <a:pt x="1471578" y="652456"/>
                    <a:pt x="1575303" y="617882"/>
                  </a:cubicBezTo>
                  <a:cubicBezTo>
                    <a:pt x="1595581" y="611123"/>
                    <a:pt x="1617570" y="603022"/>
                    <a:pt x="1638677" y="599775"/>
                  </a:cubicBezTo>
                  <a:cubicBezTo>
                    <a:pt x="1665687" y="595620"/>
                    <a:pt x="1692998" y="593740"/>
                    <a:pt x="1720159" y="590722"/>
                  </a:cubicBezTo>
                  <a:cubicBezTo>
                    <a:pt x="1744301" y="584686"/>
                    <a:pt x="1767803" y="574868"/>
                    <a:pt x="1792586" y="572615"/>
                  </a:cubicBezTo>
                  <a:cubicBezTo>
                    <a:pt x="1916405" y="561358"/>
                    <a:pt x="1859098" y="567695"/>
                    <a:pt x="1964602" y="554508"/>
                  </a:cubicBezTo>
                  <a:cubicBezTo>
                    <a:pt x="1976673" y="551490"/>
                    <a:pt x="1988542" y="547500"/>
                    <a:pt x="2000816" y="545454"/>
                  </a:cubicBezTo>
                  <a:cubicBezTo>
                    <a:pt x="2024815" y="541454"/>
                    <a:pt x="2049454" y="541499"/>
                    <a:pt x="2073244" y="536401"/>
                  </a:cubicBezTo>
                  <a:cubicBezTo>
                    <a:pt x="2091906" y="532402"/>
                    <a:pt x="2109048" y="522923"/>
                    <a:pt x="2127564" y="518294"/>
                  </a:cubicBezTo>
                  <a:lnTo>
                    <a:pt x="2199992" y="500187"/>
                  </a:lnTo>
                  <a:lnTo>
                    <a:pt x="2236206" y="491134"/>
                  </a:lnTo>
                  <a:cubicBezTo>
                    <a:pt x="2248277" y="485098"/>
                    <a:pt x="2260015" y="478344"/>
                    <a:pt x="2272420" y="473027"/>
                  </a:cubicBezTo>
                  <a:cubicBezTo>
                    <a:pt x="2281191" y="469268"/>
                    <a:pt x="2291044" y="468241"/>
                    <a:pt x="2299580" y="463973"/>
                  </a:cubicBezTo>
                  <a:cubicBezTo>
                    <a:pt x="2309312" y="459107"/>
                    <a:pt x="2316553" y="449687"/>
                    <a:pt x="2326741" y="445866"/>
                  </a:cubicBezTo>
                  <a:cubicBezTo>
                    <a:pt x="2341149" y="440463"/>
                    <a:pt x="2356919" y="439831"/>
                    <a:pt x="2372008" y="436813"/>
                  </a:cubicBezTo>
                  <a:cubicBezTo>
                    <a:pt x="2381061" y="430777"/>
                    <a:pt x="2389167" y="422992"/>
                    <a:pt x="2399168" y="418706"/>
                  </a:cubicBezTo>
                  <a:cubicBezTo>
                    <a:pt x="2410605" y="413804"/>
                    <a:pt x="2423418" y="413070"/>
                    <a:pt x="2435382" y="409652"/>
                  </a:cubicBezTo>
                  <a:cubicBezTo>
                    <a:pt x="2520299" y="385390"/>
                    <a:pt x="2383596" y="419148"/>
                    <a:pt x="2507810" y="391545"/>
                  </a:cubicBezTo>
                  <a:cubicBezTo>
                    <a:pt x="2519957" y="388846"/>
                    <a:pt x="2531782" y="384718"/>
                    <a:pt x="2544024" y="382492"/>
                  </a:cubicBezTo>
                  <a:cubicBezTo>
                    <a:pt x="2584616" y="375112"/>
                    <a:pt x="2650010" y="368704"/>
                    <a:pt x="2688879" y="364385"/>
                  </a:cubicBezTo>
                  <a:cubicBezTo>
                    <a:pt x="2697933" y="361367"/>
                    <a:pt x="2706682" y="357204"/>
                    <a:pt x="2716040" y="355332"/>
                  </a:cubicBezTo>
                  <a:cubicBezTo>
                    <a:pt x="2766737" y="345193"/>
                    <a:pt x="2840998" y="341146"/>
                    <a:pt x="2888056" y="337225"/>
                  </a:cubicBezTo>
                  <a:cubicBezTo>
                    <a:pt x="2903145" y="334207"/>
                    <a:pt x="2918302" y="331509"/>
                    <a:pt x="2933323" y="328171"/>
                  </a:cubicBezTo>
                  <a:cubicBezTo>
                    <a:pt x="2945470" y="325472"/>
                    <a:pt x="2957295" y="321344"/>
                    <a:pt x="2969537" y="319118"/>
                  </a:cubicBezTo>
                  <a:cubicBezTo>
                    <a:pt x="2990532" y="315301"/>
                    <a:pt x="3011986" y="314249"/>
                    <a:pt x="3032911" y="310064"/>
                  </a:cubicBezTo>
                  <a:cubicBezTo>
                    <a:pt x="3057313" y="305183"/>
                    <a:pt x="3081730" y="299826"/>
                    <a:pt x="3105339" y="291957"/>
                  </a:cubicBezTo>
                  <a:cubicBezTo>
                    <a:pt x="3134899" y="282104"/>
                    <a:pt x="3142811" y="278219"/>
                    <a:pt x="3177766" y="273850"/>
                  </a:cubicBezTo>
                  <a:cubicBezTo>
                    <a:pt x="3210842" y="269716"/>
                    <a:pt x="3244159" y="267815"/>
                    <a:pt x="3277355" y="264797"/>
                  </a:cubicBezTo>
                  <a:cubicBezTo>
                    <a:pt x="3391365" y="236294"/>
                    <a:pt x="3307698" y="255165"/>
                    <a:pt x="3404103" y="237637"/>
                  </a:cubicBezTo>
                  <a:cubicBezTo>
                    <a:pt x="3419243" y="234884"/>
                    <a:pt x="3434170" y="230983"/>
                    <a:pt x="3449370" y="228583"/>
                  </a:cubicBezTo>
                  <a:cubicBezTo>
                    <a:pt x="3491526" y="221927"/>
                    <a:pt x="3534715" y="220827"/>
                    <a:pt x="3576119" y="210476"/>
                  </a:cubicBezTo>
                  <a:cubicBezTo>
                    <a:pt x="3588190" y="207458"/>
                    <a:pt x="3600091" y="203649"/>
                    <a:pt x="3612333" y="201423"/>
                  </a:cubicBezTo>
                  <a:cubicBezTo>
                    <a:pt x="3676662" y="189727"/>
                    <a:pt x="3724494" y="188616"/>
                    <a:pt x="3793402" y="183316"/>
                  </a:cubicBezTo>
                  <a:cubicBezTo>
                    <a:pt x="3811509" y="177280"/>
                    <a:pt x="3829007" y="168952"/>
                    <a:pt x="3847723" y="165209"/>
                  </a:cubicBezTo>
                  <a:cubicBezTo>
                    <a:pt x="3862812" y="162191"/>
                    <a:pt x="3877781" y="158495"/>
                    <a:pt x="3892990" y="156155"/>
                  </a:cubicBezTo>
                  <a:cubicBezTo>
                    <a:pt x="3917038" y="152455"/>
                    <a:pt x="3941301" y="150318"/>
                    <a:pt x="3965418" y="147102"/>
                  </a:cubicBezTo>
                  <a:lnTo>
                    <a:pt x="4028792" y="138048"/>
                  </a:lnTo>
                  <a:cubicBezTo>
                    <a:pt x="4093915" y="116342"/>
                    <a:pt x="4012590" y="142677"/>
                    <a:pt x="4092166" y="119941"/>
                  </a:cubicBezTo>
                  <a:cubicBezTo>
                    <a:pt x="4101342" y="117319"/>
                    <a:pt x="4110011" y="112958"/>
                    <a:pt x="4119327" y="110888"/>
                  </a:cubicBezTo>
                  <a:cubicBezTo>
                    <a:pt x="4166547" y="100395"/>
                    <a:pt x="4206104" y="99318"/>
                    <a:pt x="4255129" y="92781"/>
                  </a:cubicBezTo>
                  <a:cubicBezTo>
                    <a:pt x="4405394" y="72746"/>
                    <a:pt x="4172184" y="95168"/>
                    <a:pt x="4418091" y="74674"/>
                  </a:cubicBezTo>
                  <a:cubicBezTo>
                    <a:pt x="4528161" y="52661"/>
                    <a:pt x="4379143" y="80674"/>
                    <a:pt x="4572000" y="56567"/>
                  </a:cubicBezTo>
                  <a:cubicBezTo>
                    <a:pt x="4600743" y="52974"/>
                    <a:pt x="4636273" y="35973"/>
                    <a:pt x="4662535" y="29407"/>
                  </a:cubicBezTo>
                  <a:cubicBezTo>
                    <a:pt x="4674606" y="26389"/>
                    <a:pt x="4686785" y="23771"/>
                    <a:pt x="4698749" y="20353"/>
                  </a:cubicBezTo>
                  <a:cubicBezTo>
                    <a:pt x="4707925" y="17731"/>
                    <a:pt x="4716520" y="13007"/>
                    <a:pt x="4725909" y="11300"/>
                  </a:cubicBezTo>
                  <a:cubicBezTo>
                    <a:pt x="4788059" y="0"/>
                    <a:pt x="4795027" y="2246"/>
                    <a:pt x="4852658" y="2246"/>
                  </a:cubicBezTo>
                </a:path>
              </a:pathLst>
            </a:custGeom>
            <a:ln w="28575">
              <a:solidFill>
                <a:srgbClr val="00B0F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sz="1800">
                <a:solidFill>
                  <a:srgbClr val="5F5F5F"/>
                </a:solidFill>
              </a:endParaRPr>
            </a:p>
          </p:txBody>
        </p:sp>
        <p:sp>
          <p:nvSpPr>
            <p:cNvPr id="41" name="TextBox 40"/>
            <p:cNvSpPr txBox="1"/>
            <p:nvPr/>
          </p:nvSpPr>
          <p:spPr>
            <a:xfrm>
              <a:off x="6197092" y="3290939"/>
              <a:ext cx="1902729" cy="253915"/>
            </a:xfrm>
            <a:prstGeom prst="rect">
              <a:avLst/>
            </a:prstGeom>
            <a:noFill/>
          </p:spPr>
          <p:txBody>
            <a:bodyPr wrap="square" rtlCol="0">
              <a:spAutoFit/>
            </a:bodyPr>
            <a:lstStyle/>
            <a:p>
              <a:pPr defTabSz="914400"/>
              <a:r>
                <a:rPr lang="en-US" sz="1600" dirty="0" smtClean="0">
                  <a:solidFill>
                    <a:srgbClr val="00B0F0"/>
                  </a:solidFill>
                </a:rPr>
                <a:t>Model with 250 variables</a:t>
              </a:r>
            </a:p>
          </p:txBody>
        </p:sp>
        <p:cxnSp>
          <p:nvCxnSpPr>
            <p:cNvPr id="42" name="Straight Arrow Connector 41"/>
            <p:cNvCxnSpPr/>
            <p:nvPr/>
          </p:nvCxnSpPr>
          <p:spPr>
            <a:xfrm flipH="1" flipV="1">
              <a:off x="4721371" y="2168311"/>
              <a:ext cx="1634150" cy="1136204"/>
            </a:xfrm>
            <a:prstGeom prst="straightConnector1">
              <a:avLst/>
            </a:prstGeom>
            <a:ln>
              <a:solidFill>
                <a:srgbClr val="00B0F0"/>
              </a:solidFill>
              <a:tailEnd type="arrow"/>
            </a:ln>
          </p:spPr>
          <p:style>
            <a:lnRef idx="1">
              <a:schemeClr val="accent1"/>
            </a:lnRef>
            <a:fillRef idx="0">
              <a:schemeClr val="accent1"/>
            </a:fillRef>
            <a:effectRef idx="0">
              <a:schemeClr val="accent1"/>
            </a:effectRef>
            <a:fontRef idx="minor">
              <a:schemeClr val="tx1"/>
            </a:fontRef>
          </p:style>
        </p:cxnSp>
      </p:grpSp>
      <p:grpSp>
        <p:nvGrpSpPr>
          <p:cNvPr id="22" name="Group 55"/>
          <p:cNvGrpSpPr/>
          <p:nvPr/>
        </p:nvGrpSpPr>
        <p:grpSpPr>
          <a:xfrm>
            <a:off x="208490" y="1524001"/>
            <a:ext cx="11600922" cy="4665324"/>
            <a:chOff x="156408" y="1143000"/>
            <a:chExt cx="8702958" cy="3498986"/>
          </a:xfrm>
        </p:grpSpPr>
        <p:pic>
          <p:nvPicPr>
            <p:cNvPr id="5" name="Picture 4" descr="content_collaboration_social.png"/>
            <p:cNvPicPr>
              <a:picLocks noChangeAspect="1"/>
            </p:cNvPicPr>
            <p:nvPr/>
          </p:nvPicPr>
          <p:blipFill>
            <a:blip r:embed="rId3" cstate="print"/>
            <a:stretch>
              <a:fillRect/>
            </a:stretch>
          </p:blipFill>
          <p:spPr>
            <a:xfrm>
              <a:off x="706925" y="2340505"/>
              <a:ext cx="644191" cy="491581"/>
            </a:xfrm>
            <a:prstGeom prst="rect">
              <a:avLst/>
            </a:prstGeom>
          </p:spPr>
        </p:pic>
        <p:pic>
          <p:nvPicPr>
            <p:cNvPr id="6" name="Picture 5" descr="ULD_sensor.png"/>
            <p:cNvPicPr>
              <a:picLocks noChangeAspect="1"/>
            </p:cNvPicPr>
            <p:nvPr/>
          </p:nvPicPr>
          <p:blipFill>
            <a:blip r:embed="rId4" cstate="print"/>
            <a:stretch>
              <a:fillRect/>
            </a:stretch>
          </p:blipFill>
          <p:spPr>
            <a:xfrm>
              <a:off x="223640" y="2350664"/>
              <a:ext cx="432033" cy="576682"/>
            </a:xfrm>
            <a:prstGeom prst="rect">
              <a:avLst/>
            </a:prstGeom>
          </p:spPr>
        </p:pic>
        <p:pic>
          <p:nvPicPr>
            <p:cNvPr id="7" name="Picture 6" descr="HandheldReader.png"/>
            <p:cNvPicPr>
              <a:picLocks noChangeAspect="1"/>
            </p:cNvPicPr>
            <p:nvPr/>
          </p:nvPicPr>
          <p:blipFill>
            <a:blip r:embed="rId5" cstate="print"/>
            <a:stretch>
              <a:fillRect/>
            </a:stretch>
          </p:blipFill>
          <p:spPr>
            <a:xfrm>
              <a:off x="949096" y="3590115"/>
              <a:ext cx="480441" cy="495123"/>
            </a:xfrm>
            <a:prstGeom prst="rect">
              <a:avLst/>
            </a:prstGeom>
          </p:spPr>
        </p:pic>
        <p:pic>
          <p:nvPicPr>
            <p:cNvPr id="8" name="Picture 7" descr="Video.png"/>
            <p:cNvPicPr>
              <a:picLocks noChangeAspect="1"/>
            </p:cNvPicPr>
            <p:nvPr/>
          </p:nvPicPr>
          <p:blipFill>
            <a:blip r:embed="rId6" cstate="print"/>
            <a:stretch>
              <a:fillRect/>
            </a:stretch>
          </p:blipFill>
          <p:spPr>
            <a:xfrm>
              <a:off x="800337" y="2900470"/>
              <a:ext cx="633100" cy="476594"/>
            </a:xfrm>
            <a:prstGeom prst="rect">
              <a:avLst/>
            </a:prstGeom>
          </p:spPr>
        </p:pic>
        <p:pic>
          <p:nvPicPr>
            <p:cNvPr id="9" name="Picture 8" descr="eCommerce.png"/>
            <p:cNvPicPr>
              <a:picLocks noChangeAspect="1"/>
            </p:cNvPicPr>
            <p:nvPr/>
          </p:nvPicPr>
          <p:blipFill>
            <a:blip r:embed="rId7" cstate="print"/>
            <a:stretch>
              <a:fillRect/>
            </a:stretch>
          </p:blipFill>
          <p:spPr>
            <a:xfrm>
              <a:off x="1453528" y="3056524"/>
              <a:ext cx="395028" cy="555051"/>
            </a:xfrm>
            <a:prstGeom prst="rect">
              <a:avLst/>
            </a:prstGeom>
          </p:spPr>
        </p:pic>
        <p:pic>
          <p:nvPicPr>
            <p:cNvPr id="10" name="Picture 6" descr="C:\Users\rwarnick\AppData\Local\Temp\VMwareDnD\e302138d\smart_meter.jpg"/>
            <p:cNvPicPr>
              <a:picLocks noChangeAspect="1" noChangeArrowheads="1"/>
            </p:cNvPicPr>
            <p:nvPr/>
          </p:nvPicPr>
          <p:blipFill>
            <a:blip r:embed="rId8" cstate="print"/>
            <a:srcRect/>
            <a:stretch>
              <a:fillRect/>
            </a:stretch>
          </p:blipFill>
          <p:spPr bwMode="auto">
            <a:xfrm>
              <a:off x="298550" y="3574016"/>
              <a:ext cx="527632" cy="523888"/>
            </a:xfrm>
            <a:prstGeom prst="rect">
              <a:avLst/>
            </a:prstGeom>
            <a:noFill/>
            <a:ln w="9525">
              <a:noFill/>
              <a:miter lim="800000"/>
              <a:headEnd/>
              <a:tailEnd/>
            </a:ln>
          </p:spPr>
        </p:pic>
        <p:pic>
          <p:nvPicPr>
            <p:cNvPr id="11" name="Picture 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56408" y="3053623"/>
              <a:ext cx="563562" cy="449905"/>
            </a:xfrm>
            <a:prstGeom prst="rect">
              <a:avLst/>
            </a:prstGeom>
            <a:noFill/>
            <a:ln w="9525">
              <a:noFill/>
              <a:miter lim="800000"/>
              <a:headEnd/>
              <a:tailEnd/>
            </a:ln>
          </p:spPr>
        </p:pic>
        <p:pic>
          <p:nvPicPr>
            <p:cNvPr id="12" name="Picture 4" descr="C:\Users\rwarnick\AppData\Local\Temp\VMwareDnD\be7ebfab\Phone 4.png"/>
            <p:cNvPicPr>
              <a:picLocks noChangeAspect="1" noChangeArrowheads="1"/>
            </p:cNvPicPr>
            <p:nvPr/>
          </p:nvPicPr>
          <p:blipFill>
            <a:blip r:embed="rId10" cstate="print"/>
            <a:srcRect/>
            <a:stretch>
              <a:fillRect/>
            </a:stretch>
          </p:blipFill>
          <p:spPr bwMode="auto">
            <a:xfrm>
              <a:off x="1441866" y="2174438"/>
              <a:ext cx="312738" cy="609533"/>
            </a:xfrm>
            <a:prstGeom prst="rect">
              <a:avLst/>
            </a:prstGeom>
            <a:noFill/>
            <a:ln w="9525">
              <a:noFill/>
              <a:miter lim="800000"/>
              <a:headEnd/>
              <a:tailEnd/>
            </a:ln>
          </p:spPr>
        </p:pic>
        <p:sp>
          <p:nvSpPr>
            <p:cNvPr id="32" name="Freeform 31"/>
            <p:cNvSpPr/>
            <p:nvPr/>
          </p:nvSpPr>
          <p:spPr>
            <a:xfrm>
              <a:off x="3995639" y="1143000"/>
              <a:ext cx="4863727" cy="3266038"/>
            </a:xfrm>
            <a:custGeom>
              <a:avLst/>
              <a:gdLst>
                <a:gd name="connsiteX0" fmla="*/ 15034 w 4822424"/>
                <a:gd name="connsiteY0" fmla="*/ 3268301 h 3268301"/>
                <a:gd name="connsiteX1" fmla="*/ 15034 w 4822424"/>
                <a:gd name="connsiteY1" fmla="*/ 2761307 h 3268301"/>
                <a:gd name="connsiteX2" fmla="*/ 24088 w 4822424"/>
                <a:gd name="connsiteY2" fmla="*/ 2725093 h 3268301"/>
                <a:gd name="connsiteX3" fmla="*/ 33141 w 4822424"/>
                <a:gd name="connsiteY3" fmla="*/ 2679825 h 3268301"/>
                <a:gd name="connsiteX4" fmla="*/ 42194 w 4822424"/>
                <a:gd name="connsiteY4" fmla="*/ 2625505 h 3268301"/>
                <a:gd name="connsiteX5" fmla="*/ 51248 w 4822424"/>
                <a:gd name="connsiteY5" fmla="*/ 2598344 h 3268301"/>
                <a:gd name="connsiteX6" fmla="*/ 69355 w 4822424"/>
                <a:gd name="connsiteY6" fmla="*/ 2507810 h 3268301"/>
                <a:gd name="connsiteX7" fmla="*/ 96515 w 4822424"/>
                <a:gd name="connsiteY7" fmla="*/ 2417275 h 3268301"/>
                <a:gd name="connsiteX8" fmla="*/ 105569 w 4822424"/>
                <a:gd name="connsiteY8" fmla="*/ 2344847 h 3268301"/>
                <a:gd name="connsiteX9" fmla="*/ 114622 w 4822424"/>
                <a:gd name="connsiteY9" fmla="*/ 1964602 h 3268301"/>
                <a:gd name="connsiteX10" fmla="*/ 123676 w 4822424"/>
                <a:gd name="connsiteY10" fmla="*/ 1910281 h 3268301"/>
                <a:gd name="connsiteX11" fmla="*/ 132729 w 4822424"/>
                <a:gd name="connsiteY11" fmla="*/ 1801639 h 3268301"/>
                <a:gd name="connsiteX12" fmla="*/ 141783 w 4822424"/>
                <a:gd name="connsiteY12" fmla="*/ 1765425 h 3268301"/>
                <a:gd name="connsiteX13" fmla="*/ 150836 w 4822424"/>
                <a:gd name="connsiteY13" fmla="*/ 1720158 h 3268301"/>
                <a:gd name="connsiteX14" fmla="*/ 159889 w 4822424"/>
                <a:gd name="connsiteY14" fmla="*/ 1629623 h 3268301"/>
                <a:gd name="connsiteX15" fmla="*/ 168943 w 4822424"/>
                <a:gd name="connsiteY15" fmla="*/ 1593410 h 3268301"/>
                <a:gd name="connsiteX16" fmla="*/ 187050 w 4822424"/>
                <a:gd name="connsiteY16" fmla="*/ 1430447 h 3268301"/>
                <a:gd name="connsiteX17" fmla="*/ 205157 w 4822424"/>
                <a:gd name="connsiteY17" fmla="*/ 1348966 h 3268301"/>
                <a:gd name="connsiteX18" fmla="*/ 214210 w 4822424"/>
                <a:gd name="connsiteY18" fmla="*/ 1294645 h 3268301"/>
                <a:gd name="connsiteX19" fmla="*/ 223264 w 4822424"/>
                <a:gd name="connsiteY19" fmla="*/ 1258431 h 3268301"/>
                <a:gd name="connsiteX20" fmla="*/ 232317 w 4822424"/>
                <a:gd name="connsiteY20" fmla="*/ 1213164 h 3268301"/>
                <a:gd name="connsiteX21" fmla="*/ 241371 w 4822424"/>
                <a:gd name="connsiteY21" fmla="*/ 1158843 h 3268301"/>
                <a:gd name="connsiteX22" fmla="*/ 259478 w 4822424"/>
                <a:gd name="connsiteY22" fmla="*/ 1104522 h 3268301"/>
                <a:gd name="connsiteX23" fmla="*/ 277585 w 4822424"/>
                <a:gd name="connsiteY23" fmla="*/ 1013988 h 3268301"/>
                <a:gd name="connsiteX24" fmla="*/ 286638 w 4822424"/>
                <a:gd name="connsiteY24" fmla="*/ 968720 h 3268301"/>
                <a:gd name="connsiteX25" fmla="*/ 304745 w 4822424"/>
                <a:gd name="connsiteY25" fmla="*/ 896293 h 3268301"/>
                <a:gd name="connsiteX26" fmla="*/ 313798 w 4822424"/>
                <a:gd name="connsiteY26" fmla="*/ 869132 h 3268301"/>
                <a:gd name="connsiteX27" fmla="*/ 340959 w 4822424"/>
                <a:gd name="connsiteY27" fmla="*/ 778598 h 3268301"/>
                <a:gd name="connsiteX28" fmla="*/ 359066 w 4822424"/>
                <a:gd name="connsiteY28" fmla="*/ 724277 h 3268301"/>
                <a:gd name="connsiteX29" fmla="*/ 377173 w 4822424"/>
                <a:gd name="connsiteY29" fmla="*/ 697116 h 3268301"/>
                <a:gd name="connsiteX30" fmla="*/ 404333 w 4822424"/>
                <a:gd name="connsiteY30" fmla="*/ 633742 h 3268301"/>
                <a:gd name="connsiteX31" fmla="*/ 440547 w 4822424"/>
                <a:gd name="connsiteY31" fmla="*/ 552261 h 3268301"/>
                <a:gd name="connsiteX32" fmla="*/ 467707 w 4822424"/>
                <a:gd name="connsiteY32" fmla="*/ 497940 h 3268301"/>
                <a:gd name="connsiteX33" fmla="*/ 494868 w 4822424"/>
                <a:gd name="connsiteY33" fmla="*/ 434566 h 3268301"/>
                <a:gd name="connsiteX34" fmla="*/ 540135 w 4822424"/>
                <a:gd name="connsiteY34" fmla="*/ 380245 h 3268301"/>
                <a:gd name="connsiteX35" fmla="*/ 558242 w 4822424"/>
                <a:gd name="connsiteY35" fmla="*/ 353085 h 3268301"/>
                <a:gd name="connsiteX36" fmla="*/ 612563 w 4822424"/>
                <a:gd name="connsiteY36" fmla="*/ 316871 h 3268301"/>
                <a:gd name="connsiteX37" fmla="*/ 639723 w 4822424"/>
                <a:gd name="connsiteY37" fmla="*/ 298764 h 3268301"/>
                <a:gd name="connsiteX38" fmla="*/ 666884 w 4822424"/>
                <a:gd name="connsiteY38" fmla="*/ 280657 h 3268301"/>
                <a:gd name="connsiteX39" fmla="*/ 694044 w 4822424"/>
                <a:gd name="connsiteY39" fmla="*/ 271604 h 3268301"/>
                <a:gd name="connsiteX40" fmla="*/ 766472 w 4822424"/>
                <a:gd name="connsiteY40" fmla="*/ 235390 h 3268301"/>
                <a:gd name="connsiteX41" fmla="*/ 857006 w 4822424"/>
                <a:gd name="connsiteY41" fmla="*/ 208229 h 3268301"/>
                <a:gd name="connsiteX42" fmla="*/ 920381 w 4822424"/>
                <a:gd name="connsiteY42" fmla="*/ 190122 h 3268301"/>
                <a:gd name="connsiteX43" fmla="*/ 974701 w 4822424"/>
                <a:gd name="connsiteY43" fmla="*/ 181069 h 3268301"/>
                <a:gd name="connsiteX44" fmla="*/ 1019969 w 4822424"/>
                <a:gd name="connsiteY44" fmla="*/ 172015 h 3268301"/>
                <a:gd name="connsiteX45" fmla="*/ 1074289 w 4822424"/>
                <a:gd name="connsiteY45" fmla="*/ 162962 h 3268301"/>
                <a:gd name="connsiteX46" fmla="*/ 1110503 w 4822424"/>
                <a:gd name="connsiteY46" fmla="*/ 153909 h 3268301"/>
                <a:gd name="connsiteX47" fmla="*/ 1155771 w 4822424"/>
                <a:gd name="connsiteY47" fmla="*/ 144855 h 3268301"/>
                <a:gd name="connsiteX48" fmla="*/ 1255359 w 4822424"/>
                <a:gd name="connsiteY48" fmla="*/ 117695 h 3268301"/>
                <a:gd name="connsiteX49" fmla="*/ 1309680 w 4822424"/>
                <a:gd name="connsiteY49" fmla="*/ 108641 h 3268301"/>
                <a:gd name="connsiteX50" fmla="*/ 1400214 w 4822424"/>
                <a:gd name="connsiteY50" fmla="*/ 90534 h 3268301"/>
                <a:gd name="connsiteX51" fmla="*/ 1608444 w 4822424"/>
                <a:gd name="connsiteY51" fmla="*/ 81481 h 3268301"/>
                <a:gd name="connsiteX52" fmla="*/ 1689925 w 4822424"/>
                <a:gd name="connsiteY52" fmla="*/ 72427 h 3268301"/>
                <a:gd name="connsiteX53" fmla="*/ 1753299 w 4822424"/>
                <a:gd name="connsiteY53" fmla="*/ 63374 h 3268301"/>
                <a:gd name="connsiteX54" fmla="*/ 1880048 w 4822424"/>
                <a:gd name="connsiteY54" fmla="*/ 54320 h 3268301"/>
                <a:gd name="connsiteX55" fmla="*/ 2070171 w 4822424"/>
                <a:gd name="connsiteY55" fmla="*/ 36213 h 3268301"/>
                <a:gd name="connsiteX56" fmla="*/ 2296507 w 4822424"/>
                <a:gd name="connsiteY56" fmla="*/ 27160 h 3268301"/>
                <a:gd name="connsiteX57" fmla="*/ 2522844 w 4822424"/>
                <a:gd name="connsiteY57" fmla="*/ 9053 h 3268301"/>
                <a:gd name="connsiteX58" fmla="*/ 2975517 w 4822424"/>
                <a:gd name="connsiteY58" fmla="*/ 0 h 3268301"/>
                <a:gd name="connsiteX59" fmla="*/ 3554939 w 4822424"/>
                <a:gd name="connsiteY59" fmla="*/ 9053 h 3268301"/>
                <a:gd name="connsiteX60" fmla="*/ 3618313 w 4822424"/>
                <a:gd name="connsiteY60" fmla="*/ 18107 h 3268301"/>
                <a:gd name="connsiteX61" fmla="*/ 3736008 w 4822424"/>
                <a:gd name="connsiteY61" fmla="*/ 27160 h 3268301"/>
                <a:gd name="connsiteX62" fmla="*/ 3799383 w 4822424"/>
                <a:gd name="connsiteY62" fmla="*/ 36213 h 3268301"/>
                <a:gd name="connsiteX63" fmla="*/ 3853703 w 4822424"/>
                <a:gd name="connsiteY63" fmla="*/ 45267 h 3268301"/>
                <a:gd name="connsiteX64" fmla="*/ 4043826 w 4822424"/>
                <a:gd name="connsiteY64" fmla="*/ 54320 h 3268301"/>
                <a:gd name="connsiteX65" fmla="*/ 4822424 w 4822424"/>
                <a:gd name="connsiteY65" fmla="*/ 54320 h 3268301"/>
                <a:gd name="connsiteX0" fmla="*/ 15034 w 4822424"/>
                <a:gd name="connsiteY0" fmla="*/ 3386828 h 3386828"/>
                <a:gd name="connsiteX1" fmla="*/ 15034 w 4822424"/>
                <a:gd name="connsiteY1" fmla="*/ 2879834 h 3386828"/>
                <a:gd name="connsiteX2" fmla="*/ 24088 w 4822424"/>
                <a:gd name="connsiteY2" fmla="*/ 2843620 h 3386828"/>
                <a:gd name="connsiteX3" fmla="*/ 33141 w 4822424"/>
                <a:gd name="connsiteY3" fmla="*/ 2798352 h 3386828"/>
                <a:gd name="connsiteX4" fmla="*/ 42194 w 4822424"/>
                <a:gd name="connsiteY4" fmla="*/ 2744032 h 3386828"/>
                <a:gd name="connsiteX5" fmla="*/ 51248 w 4822424"/>
                <a:gd name="connsiteY5" fmla="*/ 2716871 h 3386828"/>
                <a:gd name="connsiteX6" fmla="*/ 69355 w 4822424"/>
                <a:gd name="connsiteY6" fmla="*/ 2626337 h 3386828"/>
                <a:gd name="connsiteX7" fmla="*/ 96515 w 4822424"/>
                <a:gd name="connsiteY7" fmla="*/ 2535802 h 3386828"/>
                <a:gd name="connsiteX8" fmla="*/ 105569 w 4822424"/>
                <a:gd name="connsiteY8" fmla="*/ 2463374 h 3386828"/>
                <a:gd name="connsiteX9" fmla="*/ 114622 w 4822424"/>
                <a:gd name="connsiteY9" fmla="*/ 2083129 h 3386828"/>
                <a:gd name="connsiteX10" fmla="*/ 123676 w 4822424"/>
                <a:gd name="connsiteY10" fmla="*/ 2028808 h 3386828"/>
                <a:gd name="connsiteX11" fmla="*/ 132729 w 4822424"/>
                <a:gd name="connsiteY11" fmla="*/ 1920166 h 3386828"/>
                <a:gd name="connsiteX12" fmla="*/ 141783 w 4822424"/>
                <a:gd name="connsiteY12" fmla="*/ 1883952 h 3386828"/>
                <a:gd name="connsiteX13" fmla="*/ 150836 w 4822424"/>
                <a:gd name="connsiteY13" fmla="*/ 1838685 h 3386828"/>
                <a:gd name="connsiteX14" fmla="*/ 159889 w 4822424"/>
                <a:gd name="connsiteY14" fmla="*/ 1748150 h 3386828"/>
                <a:gd name="connsiteX15" fmla="*/ 168943 w 4822424"/>
                <a:gd name="connsiteY15" fmla="*/ 1711937 h 3386828"/>
                <a:gd name="connsiteX16" fmla="*/ 187050 w 4822424"/>
                <a:gd name="connsiteY16" fmla="*/ 1548974 h 3386828"/>
                <a:gd name="connsiteX17" fmla="*/ 205157 w 4822424"/>
                <a:gd name="connsiteY17" fmla="*/ 1467493 h 3386828"/>
                <a:gd name="connsiteX18" fmla="*/ 214210 w 4822424"/>
                <a:gd name="connsiteY18" fmla="*/ 1413172 h 3386828"/>
                <a:gd name="connsiteX19" fmla="*/ 223264 w 4822424"/>
                <a:gd name="connsiteY19" fmla="*/ 1376958 h 3386828"/>
                <a:gd name="connsiteX20" fmla="*/ 232317 w 4822424"/>
                <a:gd name="connsiteY20" fmla="*/ 1331691 h 3386828"/>
                <a:gd name="connsiteX21" fmla="*/ 241371 w 4822424"/>
                <a:gd name="connsiteY21" fmla="*/ 1277370 h 3386828"/>
                <a:gd name="connsiteX22" fmla="*/ 259478 w 4822424"/>
                <a:gd name="connsiteY22" fmla="*/ 1223049 h 3386828"/>
                <a:gd name="connsiteX23" fmla="*/ 277585 w 4822424"/>
                <a:gd name="connsiteY23" fmla="*/ 1132515 h 3386828"/>
                <a:gd name="connsiteX24" fmla="*/ 286638 w 4822424"/>
                <a:gd name="connsiteY24" fmla="*/ 1087247 h 3386828"/>
                <a:gd name="connsiteX25" fmla="*/ 304745 w 4822424"/>
                <a:gd name="connsiteY25" fmla="*/ 1014820 h 3386828"/>
                <a:gd name="connsiteX26" fmla="*/ 313798 w 4822424"/>
                <a:gd name="connsiteY26" fmla="*/ 987659 h 3386828"/>
                <a:gd name="connsiteX27" fmla="*/ 340959 w 4822424"/>
                <a:gd name="connsiteY27" fmla="*/ 897125 h 3386828"/>
                <a:gd name="connsiteX28" fmla="*/ 359066 w 4822424"/>
                <a:gd name="connsiteY28" fmla="*/ 842804 h 3386828"/>
                <a:gd name="connsiteX29" fmla="*/ 377173 w 4822424"/>
                <a:gd name="connsiteY29" fmla="*/ 815643 h 3386828"/>
                <a:gd name="connsiteX30" fmla="*/ 404333 w 4822424"/>
                <a:gd name="connsiteY30" fmla="*/ 752269 h 3386828"/>
                <a:gd name="connsiteX31" fmla="*/ 440547 w 4822424"/>
                <a:gd name="connsiteY31" fmla="*/ 670788 h 3386828"/>
                <a:gd name="connsiteX32" fmla="*/ 467707 w 4822424"/>
                <a:gd name="connsiteY32" fmla="*/ 616467 h 3386828"/>
                <a:gd name="connsiteX33" fmla="*/ 494868 w 4822424"/>
                <a:gd name="connsiteY33" fmla="*/ 553093 h 3386828"/>
                <a:gd name="connsiteX34" fmla="*/ 540135 w 4822424"/>
                <a:gd name="connsiteY34" fmla="*/ 498772 h 3386828"/>
                <a:gd name="connsiteX35" fmla="*/ 558242 w 4822424"/>
                <a:gd name="connsiteY35" fmla="*/ 471612 h 3386828"/>
                <a:gd name="connsiteX36" fmla="*/ 612563 w 4822424"/>
                <a:gd name="connsiteY36" fmla="*/ 435398 h 3386828"/>
                <a:gd name="connsiteX37" fmla="*/ 639723 w 4822424"/>
                <a:gd name="connsiteY37" fmla="*/ 417291 h 3386828"/>
                <a:gd name="connsiteX38" fmla="*/ 666884 w 4822424"/>
                <a:gd name="connsiteY38" fmla="*/ 399184 h 3386828"/>
                <a:gd name="connsiteX39" fmla="*/ 694044 w 4822424"/>
                <a:gd name="connsiteY39" fmla="*/ 390131 h 3386828"/>
                <a:gd name="connsiteX40" fmla="*/ 766472 w 4822424"/>
                <a:gd name="connsiteY40" fmla="*/ 353917 h 3386828"/>
                <a:gd name="connsiteX41" fmla="*/ 857006 w 4822424"/>
                <a:gd name="connsiteY41" fmla="*/ 326756 h 3386828"/>
                <a:gd name="connsiteX42" fmla="*/ 920381 w 4822424"/>
                <a:gd name="connsiteY42" fmla="*/ 308649 h 3386828"/>
                <a:gd name="connsiteX43" fmla="*/ 974701 w 4822424"/>
                <a:gd name="connsiteY43" fmla="*/ 299596 h 3386828"/>
                <a:gd name="connsiteX44" fmla="*/ 1019969 w 4822424"/>
                <a:gd name="connsiteY44" fmla="*/ 290542 h 3386828"/>
                <a:gd name="connsiteX45" fmla="*/ 1074289 w 4822424"/>
                <a:gd name="connsiteY45" fmla="*/ 281489 h 3386828"/>
                <a:gd name="connsiteX46" fmla="*/ 1110503 w 4822424"/>
                <a:gd name="connsiteY46" fmla="*/ 272436 h 3386828"/>
                <a:gd name="connsiteX47" fmla="*/ 1155771 w 4822424"/>
                <a:gd name="connsiteY47" fmla="*/ 263382 h 3386828"/>
                <a:gd name="connsiteX48" fmla="*/ 1255359 w 4822424"/>
                <a:gd name="connsiteY48" fmla="*/ 236222 h 3386828"/>
                <a:gd name="connsiteX49" fmla="*/ 1309680 w 4822424"/>
                <a:gd name="connsiteY49" fmla="*/ 227168 h 3386828"/>
                <a:gd name="connsiteX50" fmla="*/ 1400214 w 4822424"/>
                <a:gd name="connsiteY50" fmla="*/ 209061 h 3386828"/>
                <a:gd name="connsiteX51" fmla="*/ 1608444 w 4822424"/>
                <a:gd name="connsiteY51" fmla="*/ 200008 h 3386828"/>
                <a:gd name="connsiteX52" fmla="*/ 1689925 w 4822424"/>
                <a:gd name="connsiteY52" fmla="*/ 190954 h 3386828"/>
                <a:gd name="connsiteX53" fmla="*/ 1753299 w 4822424"/>
                <a:gd name="connsiteY53" fmla="*/ 181901 h 3386828"/>
                <a:gd name="connsiteX54" fmla="*/ 1880048 w 4822424"/>
                <a:gd name="connsiteY54" fmla="*/ 172847 h 3386828"/>
                <a:gd name="connsiteX55" fmla="*/ 2070171 w 4822424"/>
                <a:gd name="connsiteY55" fmla="*/ 154740 h 3386828"/>
                <a:gd name="connsiteX56" fmla="*/ 2296507 w 4822424"/>
                <a:gd name="connsiteY56" fmla="*/ 145687 h 3386828"/>
                <a:gd name="connsiteX57" fmla="*/ 2522844 w 4822424"/>
                <a:gd name="connsiteY57" fmla="*/ 127580 h 3386828"/>
                <a:gd name="connsiteX58" fmla="*/ 2975517 w 4822424"/>
                <a:gd name="connsiteY58" fmla="*/ 118527 h 3386828"/>
                <a:gd name="connsiteX59" fmla="*/ 3554939 w 4822424"/>
                <a:gd name="connsiteY59" fmla="*/ 127580 h 3386828"/>
                <a:gd name="connsiteX60" fmla="*/ 3618313 w 4822424"/>
                <a:gd name="connsiteY60" fmla="*/ 136634 h 3386828"/>
                <a:gd name="connsiteX61" fmla="*/ 3736008 w 4822424"/>
                <a:gd name="connsiteY61" fmla="*/ 145687 h 3386828"/>
                <a:gd name="connsiteX62" fmla="*/ 3799383 w 4822424"/>
                <a:gd name="connsiteY62" fmla="*/ 154740 h 3386828"/>
                <a:gd name="connsiteX63" fmla="*/ 3853703 w 4822424"/>
                <a:gd name="connsiteY63" fmla="*/ 163794 h 3386828"/>
                <a:gd name="connsiteX64" fmla="*/ 4043826 w 4822424"/>
                <a:gd name="connsiteY64" fmla="*/ 172847 h 3386828"/>
                <a:gd name="connsiteX65" fmla="*/ 4822424 w 4822424"/>
                <a:gd name="connsiteY65" fmla="*/ 0 h 3386828"/>
                <a:gd name="connsiteX0" fmla="*/ 15034 w 4822424"/>
                <a:gd name="connsiteY0" fmla="*/ 3386828 h 3386828"/>
                <a:gd name="connsiteX1" fmla="*/ 15034 w 4822424"/>
                <a:gd name="connsiteY1" fmla="*/ 2879834 h 3386828"/>
                <a:gd name="connsiteX2" fmla="*/ 24088 w 4822424"/>
                <a:gd name="connsiteY2" fmla="*/ 2843620 h 3386828"/>
                <a:gd name="connsiteX3" fmla="*/ 33141 w 4822424"/>
                <a:gd name="connsiteY3" fmla="*/ 2798352 h 3386828"/>
                <a:gd name="connsiteX4" fmla="*/ 42194 w 4822424"/>
                <a:gd name="connsiteY4" fmla="*/ 2744032 h 3386828"/>
                <a:gd name="connsiteX5" fmla="*/ 51248 w 4822424"/>
                <a:gd name="connsiteY5" fmla="*/ 2716871 h 3386828"/>
                <a:gd name="connsiteX6" fmla="*/ 69355 w 4822424"/>
                <a:gd name="connsiteY6" fmla="*/ 2626337 h 3386828"/>
                <a:gd name="connsiteX7" fmla="*/ 96515 w 4822424"/>
                <a:gd name="connsiteY7" fmla="*/ 2535802 h 3386828"/>
                <a:gd name="connsiteX8" fmla="*/ 105569 w 4822424"/>
                <a:gd name="connsiteY8" fmla="*/ 2463374 h 3386828"/>
                <a:gd name="connsiteX9" fmla="*/ 114622 w 4822424"/>
                <a:gd name="connsiteY9" fmla="*/ 2083129 h 3386828"/>
                <a:gd name="connsiteX10" fmla="*/ 123676 w 4822424"/>
                <a:gd name="connsiteY10" fmla="*/ 2028808 h 3386828"/>
                <a:gd name="connsiteX11" fmla="*/ 132729 w 4822424"/>
                <a:gd name="connsiteY11" fmla="*/ 1920166 h 3386828"/>
                <a:gd name="connsiteX12" fmla="*/ 141783 w 4822424"/>
                <a:gd name="connsiteY12" fmla="*/ 1883952 h 3386828"/>
                <a:gd name="connsiteX13" fmla="*/ 150836 w 4822424"/>
                <a:gd name="connsiteY13" fmla="*/ 1838685 h 3386828"/>
                <a:gd name="connsiteX14" fmla="*/ 159889 w 4822424"/>
                <a:gd name="connsiteY14" fmla="*/ 1748150 h 3386828"/>
                <a:gd name="connsiteX15" fmla="*/ 168943 w 4822424"/>
                <a:gd name="connsiteY15" fmla="*/ 1711937 h 3386828"/>
                <a:gd name="connsiteX16" fmla="*/ 187050 w 4822424"/>
                <a:gd name="connsiteY16" fmla="*/ 1548974 h 3386828"/>
                <a:gd name="connsiteX17" fmla="*/ 205157 w 4822424"/>
                <a:gd name="connsiteY17" fmla="*/ 1467493 h 3386828"/>
                <a:gd name="connsiteX18" fmla="*/ 214210 w 4822424"/>
                <a:gd name="connsiteY18" fmla="*/ 1413172 h 3386828"/>
                <a:gd name="connsiteX19" fmla="*/ 223264 w 4822424"/>
                <a:gd name="connsiteY19" fmla="*/ 1376958 h 3386828"/>
                <a:gd name="connsiteX20" fmla="*/ 232317 w 4822424"/>
                <a:gd name="connsiteY20" fmla="*/ 1331691 h 3386828"/>
                <a:gd name="connsiteX21" fmla="*/ 241371 w 4822424"/>
                <a:gd name="connsiteY21" fmla="*/ 1277370 h 3386828"/>
                <a:gd name="connsiteX22" fmla="*/ 259478 w 4822424"/>
                <a:gd name="connsiteY22" fmla="*/ 1223049 h 3386828"/>
                <a:gd name="connsiteX23" fmla="*/ 277585 w 4822424"/>
                <a:gd name="connsiteY23" fmla="*/ 1132515 h 3386828"/>
                <a:gd name="connsiteX24" fmla="*/ 286638 w 4822424"/>
                <a:gd name="connsiteY24" fmla="*/ 1087247 h 3386828"/>
                <a:gd name="connsiteX25" fmla="*/ 304745 w 4822424"/>
                <a:gd name="connsiteY25" fmla="*/ 1014820 h 3386828"/>
                <a:gd name="connsiteX26" fmla="*/ 313798 w 4822424"/>
                <a:gd name="connsiteY26" fmla="*/ 987659 h 3386828"/>
                <a:gd name="connsiteX27" fmla="*/ 340959 w 4822424"/>
                <a:gd name="connsiteY27" fmla="*/ 897125 h 3386828"/>
                <a:gd name="connsiteX28" fmla="*/ 359066 w 4822424"/>
                <a:gd name="connsiteY28" fmla="*/ 842804 h 3386828"/>
                <a:gd name="connsiteX29" fmla="*/ 377173 w 4822424"/>
                <a:gd name="connsiteY29" fmla="*/ 815643 h 3386828"/>
                <a:gd name="connsiteX30" fmla="*/ 404333 w 4822424"/>
                <a:gd name="connsiteY30" fmla="*/ 752269 h 3386828"/>
                <a:gd name="connsiteX31" fmla="*/ 440547 w 4822424"/>
                <a:gd name="connsiteY31" fmla="*/ 670788 h 3386828"/>
                <a:gd name="connsiteX32" fmla="*/ 467707 w 4822424"/>
                <a:gd name="connsiteY32" fmla="*/ 616467 h 3386828"/>
                <a:gd name="connsiteX33" fmla="*/ 494868 w 4822424"/>
                <a:gd name="connsiteY33" fmla="*/ 553093 h 3386828"/>
                <a:gd name="connsiteX34" fmla="*/ 540135 w 4822424"/>
                <a:gd name="connsiteY34" fmla="*/ 498772 h 3386828"/>
                <a:gd name="connsiteX35" fmla="*/ 558242 w 4822424"/>
                <a:gd name="connsiteY35" fmla="*/ 471612 h 3386828"/>
                <a:gd name="connsiteX36" fmla="*/ 612563 w 4822424"/>
                <a:gd name="connsiteY36" fmla="*/ 435398 h 3386828"/>
                <a:gd name="connsiteX37" fmla="*/ 639723 w 4822424"/>
                <a:gd name="connsiteY37" fmla="*/ 417291 h 3386828"/>
                <a:gd name="connsiteX38" fmla="*/ 666884 w 4822424"/>
                <a:gd name="connsiteY38" fmla="*/ 399184 h 3386828"/>
                <a:gd name="connsiteX39" fmla="*/ 694044 w 4822424"/>
                <a:gd name="connsiteY39" fmla="*/ 390131 h 3386828"/>
                <a:gd name="connsiteX40" fmla="*/ 766472 w 4822424"/>
                <a:gd name="connsiteY40" fmla="*/ 353917 h 3386828"/>
                <a:gd name="connsiteX41" fmla="*/ 857006 w 4822424"/>
                <a:gd name="connsiteY41" fmla="*/ 326756 h 3386828"/>
                <a:gd name="connsiteX42" fmla="*/ 920381 w 4822424"/>
                <a:gd name="connsiteY42" fmla="*/ 308649 h 3386828"/>
                <a:gd name="connsiteX43" fmla="*/ 974701 w 4822424"/>
                <a:gd name="connsiteY43" fmla="*/ 299596 h 3386828"/>
                <a:gd name="connsiteX44" fmla="*/ 1019969 w 4822424"/>
                <a:gd name="connsiteY44" fmla="*/ 290542 h 3386828"/>
                <a:gd name="connsiteX45" fmla="*/ 1074289 w 4822424"/>
                <a:gd name="connsiteY45" fmla="*/ 281489 h 3386828"/>
                <a:gd name="connsiteX46" fmla="*/ 1110503 w 4822424"/>
                <a:gd name="connsiteY46" fmla="*/ 272436 h 3386828"/>
                <a:gd name="connsiteX47" fmla="*/ 1155771 w 4822424"/>
                <a:gd name="connsiteY47" fmla="*/ 263382 h 3386828"/>
                <a:gd name="connsiteX48" fmla="*/ 1255359 w 4822424"/>
                <a:gd name="connsiteY48" fmla="*/ 236222 h 3386828"/>
                <a:gd name="connsiteX49" fmla="*/ 1309680 w 4822424"/>
                <a:gd name="connsiteY49" fmla="*/ 227168 h 3386828"/>
                <a:gd name="connsiteX50" fmla="*/ 1400214 w 4822424"/>
                <a:gd name="connsiteY50" fmla="*/ 209061 h 3386828"/>
                <a:gd name="connsiteX51" fmla="*/ 1608444 w 4822424"/>
                <a:gd name="connsiteY51" fmla="*/ 200008 h 3386828"/>
                <a:gd name="connsiteX52" fmla="*/ 1689925 w 4822424"/>
                <a:gd name="connsiteY52" fmla="*/ 190954 h 3386828"/>
                <a:gd name="connsiteX53" fmla="*/ 1753299 w 4822424"/>
                <a:gd name="connsiteY53" fmla="*/ 181901 h 3386828"/>
                <a:gd name="connsiteX54" fmla="*/ 1880048 w 4822424"/>
                <a:gd name="connsiteY54" fmla="*/ 172847 h 3386828"/>
                <a:gd name="connsiteX55" fmla="*/ 2070171 w 4822424"/>
                <a:gd name="connsiteY55" fmla="*/ 154740 h 3386828"/>
                <a:gd name="connsiteX56" fmla="*/ 2296507 w 4822424"/>
                <a:gd name="connsiteY56" fmla="*/ 145687 h 3386828"/>
                <a:gd name="connsiteX57" fmla="*/ 2522844 w 4822424"/>
                <a:gd name="connsiteY57" fmla="*/ 127580 h 3386828"/>
                <a:gd name="connsiteX58" fmla="*/ 2975517 w 4822424"/>
                <a:gd name="connsiteY58" fmla="*/ 118527 h 3386828"/>
                <a:gd name="connsiteX59" fmla="*/ 3554939 w 4822424"/>
                <a:gd name="connsiteY59" fmla="*/ 127580 h 3386828"/>
                <a:gd name="connsiteX60" fmla="*/ 3618313 w 4822424"/>
                <a:gd name="connsiteY60" fmla="*/ 136634 h 3386828"/>
                <a:gd name="connsiteX61" fmla="*/ 3736008 w 4822424"/>
                <a:gd name="connsiteY61" fmla="*/ 145687 h 3386828"/>
                <a:gd name="connsiteX62" fmla="*/ 3799383 w 4822424"/>
                <a:gd name="connsiteY62" fmla="*/ 154740 h 3386828"/>
                <a:gd name="connsiteX63" fmla="*/ 3853703 w 4822424"/>
                <a:gd name="connsiteY63" fmla="*/ 163794 h 3386828"/>
                <a:gd name="connsiteX64" fmla="*/ 4085591 w 4822424"/>
                <a:gd name="connsiteY64" fmla="*/ 59264 h 3386828"/>
                <a:gd name="connsiteX65" fmla="*/ 4822424 w 4822424"/>
                <a:gd name="connsiteY65" fmla="*/ 0 h 3386828"/>
                <a:gd name="connsiteX0" fmla="*/ 15034 w 4822424"/>
                <a:gd name="connsiteY0" fmla="*/ 3386828 h 3386828"/>
                <a:gd name="connsiteX1" fmla="*/ 15034 w 4822424"/>
                <a:gd name="connsiteY1" fmla="*/ 2879834 h 3386828"/>
                <a:gd name="connsiteX2" fmla="*/ 24088 w 4822424"/>
                <a:gd name="connsiteY2" fmla="*/ 2843620 h 3386828"/>
                <a:gd name="connsiteX3" fmla="*/ 33141 w 4822424"/>
                <a:gd name="connsiteY3" fmla="*/ 2798352 h 3386828"/>
                <a:gd name="connsiteX4" fmla="*/ 42194 w 4822424"/>
                <a:gd name="connsiteY4" fmla="*/ 2744032 h 3386828"/>
                <a:gd name="connsiteX5" fmla="*/ 51248 w 4822424"/>
                <a:gd name="connsiteY5" fmla="*/ 2716871 h 3386828"/>
                <a:gd name="connsiteX6" fmla="*/ 69355 w 4822424"/>
                <a:gd name="connsiteY6" fmla="*/ 2626337 h 3386828"/>
                <a:gd name="connsiteX7" fmla="*/ 96515 w 4822424"/>
                <a:gd name="connsiteY7" fmla="*/ 2535802 h 3386828"/>
                <a:gd name="connsiteX8" fmla="*/ 105569 w 4822424"/>
                <a:gd name="connsiteY8" fmla="*/ 2463374 h 3386828"/>
                <a:gd name="connsiteX9" fmla="*/ 114622 w 4822424"/>
                <a:gd name="connsiteY9" fmla="*/ 2083129 h 3386828"/>
                <a:gd name="connsiteX10" fmla="*/ 123676 w 4822424"/>
                <a:gd name="connsiteY10" fmla="*/ 2028808 h 3386828"/>
                <a:gd name="connsiteX11" fmla="*/ 132729 w 4822424"/>
                <a:gd name="connsiteY11" fmla="*/ 1920166 h 3386828"/>
                <a:gd name="connsiteX12" fmla="*/ 141783 w 4822424"/>
                <a:gd name="connsiteY12" fmla="*/ 1883952 h 3386828"/>
                <a:gd name="connsiteX13" fmla="*/ 150836 w 4822424"/>
                <a:gd name="connsiteY13" fmla="*/ 1838685 h 3386828"/>
                <a:gd name="connsiteX14" fmla="*/ 159889 w 4822424"/>
                <a:gd name="connsiteY14" fmla="*/ 1748150 h 3386828"/>
                <a:gd name="connsiteX15" fmla="*/ 168943 w 4822424"/>
                <a:gd name="connsiteY15" fmla="*/ 1711937 h 3386828"/>
                <a:gd name="connsiteX16" fmla="*/ 187050 w 4822424"/>
                <a:gd name="connsiteY16" fmla="*/ 1548974 h 3386828"/>
                <a:gd name="connsiteX17" fmla="*/ 205157 w 4822424"/>
                <a:gd name="connsiteY17" fmla="*/ 1467493 h 3386828"/>
                <a:gd name="connsiteX18" fmla="*/ 214210 w 4822424"/>
                <a:gd name="connsiteY18" fmla="*/ 1413172 h 3386828"/>
                <a:gd name="connsiteX19" fmla="*/ 223264 w 4822424"/>
                <a:gd name="connsiteY19" fmla="*/ 1376958 h 3386828"/>
                <a:gd name="connsiteX20" fmla="*/ 232317 w 4822424"/>
                <a:gd name="connsiteY20" fmla="*/ 1331691 h 3386828"/>
                <a:gd name="connsiteX21" fmla="*/ 241371 w 4822424"/>
                <a:gd name="connsiteY21" fmla="*/ 1277370 h 3386828"/>
                <a:gd name="connsiteX22" fmla="*/ 259478 w 4822424"/>
                <a:gd name="connsiteY22" fmla="*/ 1223049 h 3386828"/>
                <a:gd name="connsiteX23" fmla="*/ 277585 w 4822424"/>
                <a:gd name="connsiteY23" fmla="*/ 1132515 h 3386828"/>
                <a:gd name="connsiteX24" fmla="*/ 286638 w 4822424"/>
                <a:gd name="connsiteY24" fmla="*/ 1087247 h 3386828"/>
                <a:gd name="connsiteX25" fmla="*/ 304745 w 4822424"/>
                <a:gd name="connsiteY25" fmla="*/ 1014820 h 3386828"/>
                <a:gd name="connsiteX26" fmla="*/ 313798 w 4822424"/>
                <a:gd name="connsiteY26" fmla="*/ 987659 h 3386828"/>
                <a:gd name="connsiteX27" fmla="*/ 340959 w 4822424"/>
                <a:gd name="connsiteY27" fmla="*/ 897125 h 3386828"/>
                <a:gd name="connsiteX28" fmla="*/ 359066 w 4822424"/>
                <a:gd name="connsiteY28" fmla="*/ 842804 h 3386828"/>
                <a:gd name="connsiteX29" fmla="*/ 377173 w 4822424"/>
                <a:gd name="connsiteY29" fmla="*/ 815643 h 3386828"/>
                <a:gd name="connsiteX30" fmla="*/ 404333 w 4822424"/>
                <a:gd name="connsiteY30" fmla="*/ 752269 h 3386828"/>
                <a:gd name="connsiteX31" fmla="*/ 440547 w 4822424"/>
                <a:gd name="connsiteY31" fmla="*/ 670788 h 3386828"/>
                <a:gd name="connsiteX32" fmla="*/ 467707 w 4822424"/>
                <a:gd name="connsiteY32" fmla="*/ 616467 h 3386828"/>
                <a:gd name="connsiteX33" fmla="*/ 494868 w 4822424"/>
                <a:gd name="connsiteY33" fmla="*/ 553093 h 3386828"/>
                <a:gd name="connsiteX34" fmla="*/ 540135 w 4822424"/>
                <a:gd name="connsiteY34" fmla="*/ 498772 h 3386828"/>
                <a:gd name="connsiteX35" fmla="*/ 558242 w 4822424"/>
                <a:gd name="connsiteY35" fmla="*/ 471612 h 3386828"/>
                <a:gd name="connsiteX36" fmla="*/ 612563 w 4822424"/>
                <a:gd name="connsiteY36" fmla="*/ 435398 h 3386828"/>
                <a:gd name="connsiteX37" fmla="*/ 639723 w 4822424"/>
                <a:gd name="connsiteY37" fmla="*/ 417291 h 3386828"/>
                <a:gd name="connsiteX38" fmla="*/ 666884 w 4822424"/>
                <a:gd name="connsiteY38" fmla="*/ 399184 h 3386828"/>
                <a:gd name="connsiteX39" fmla="*/ 694044 w 4822424"/>
                <a:gd name="connsiteY39" fmla="*/ 390131 h 3386828"/>
                <a:gd name="connsiteX40" fmla="*/ 766472 w 4822424"/>
                <a:gd name="connsiteY40" fmla="*/ 353917 h 3386828"/>
                <a:gd name="connsiteX41" fmla="*/ 857006 w 4822424"/>
                <a:gd name="connsiteY41" fmla="*/ 326756 h 3386828"/>
                <a:gd name="connsiteX42" fmla="*/ 920381 w 4822424"/>
                <a:gd name="connsiteY42" fmla="*/ 308649 h 3386828"/>
                <a:gd name="connsiteX43" fmla="*/ 974701 w 4822424"/>
                <a:gd name="connsiteY43" fmla="*/ 299596 h 3386828"/>
                <a:gd name="connsiteX44" fmla="*/ 1019969 w 4822424"/>
                <a:gd name="connsiteY44" fmla="*/ 290542 h 3386828"/>
                <a:gd name="connsiteX45" fmla="*/ 1074289 w 4822424"/>
                <a:gd name="connsiteY45" fmla="*/ 281489 h 3386828"/>
                <a:gd name="connsiteX46" fmla="*/ 1110503 w 4822424"/>
                <a:gd name="connsiteY46" fmla="*/ 272436 h 3386828"/>
                <a:gd name="connsiteX47" fmla="*/ 1155771 w 4822424"/>
                <a:gd name="connsiteY47" fmla="*/ 263382 h 3386828"/>
                <a:gd name="connsiteX48" fmla="*/ 1255359 w 4822424"/>
                <a:gd name="connsiteY48" fmla="*/ 236222 h 3386828"/>
                <a:gd name="connsiteX49" fmla="*/ 1309680 w 4822424"/>
                <a:gd name="connsiteY49" fmla="*/ 227168 h 3386828"/>
                <a:gd name="connsiteX50" fmla="*/ 1400214 w 4822424"/>
                <a:gd name="connsiteY50" fmla="*/ 209061 h 3386828"/>
                <a:gd name="connsiteX51" fmla="*/ 1608444 w 4822424"/>
                <a:gd name="connsiteY51" fmla="*/ 200008 h 3386828"/>
                <a:gd name="connsiteX52" fmla="*/ 1689925 w 4822424"/>
                <a:gd name="connsiteY52" fmla="*/ 190954 h 3386828"/>
                <a:gd name="connsiteX53" fmla="*/ 1753299 w 4822424"/>
                <a:gd name="connsiteY53" fmla="*/ 181901 h 3386828"/>
                <a:gd name="connsiteX54" fmla="*/ 1880048 w 4822424"/>
                <a:gd name="connsiteY54" fmla="*/ 172847 h 3386828"/>
                <a:gd name="connsiteX55" fmla="*/ 2070171 w 4822424"/>
                <a:gd name="connsiteY55" fmla="*/ 154740 h 3386828"/>
                <a:gd name="connsiteX56" fmla="*/ 2296507 w 4822424"/>
                <a:gd name="connsiteY56" fmla="*/ 145687 h 3386828"/>
                <a:gd name="connsiteX57" fmla="*/ 2522844 w 4822424"/>
                <a:gd name="connsiteY57" fmla="*/ 127580 h 3386828"/>
                <a:gd name="connsiteX58" fmla="*/ 2975517 w 4822424"/>
                <a:gd name="connsiteY58" fmla="*/ 118527 h 3386828"/>
                <a:gd name="connsiteX59" fmla="*/ 3554939 w 4822424"/>
                <a:gd name="connsiteY59" fmla="*/ 127580 h 3386828"/>
                <a:gd name="connsiteX60" fmla="*/ 3618313 w 4822424"/>
                <a:gd name="connsiteY60" fmla="*/ 136634 h 3386828"/>
                <a:gd name="connsiteX61" fmla="*/ 3736008 w 4822424"/>
                <a:gd name="connsiteY61" fmla="*/ 145687 h 3386828"/>
                <a:gd name="connsiteX62" fmla="*/ 3799383 w 4822424"/>
                <a:gd name="connsiteY62" fmla="*/ 154740 h 3386828"/>
                <a:gd name="connsiteX63" fmla="*/ 3858873 w 4822424"/>
                <a:gd name="connsiteY63" fmla="*/ 59264 h 3386828"/>
                <a:gd name="connsiteX64" fmla="*/ 4085591 w 4822424"/>
                <a:gd name="connsiteY64" fmla="*/ 59264 h 3386828"/>
                <a:gd name="connsiteX65" fmla="*/ 4822424 w 4822424"/>
                <a:gd name="connsiteY65" fmla="*/ 0 h 3386828"/>
                <a:gd name="connsiteX0" fmla="*/ 15034 w 4822424"/>
                <a:gd name="connsiteY0" fmla="*/ 3386828 h 3386828"/>
                <a:gd name="connsiteX1" fmla="*/ 15034 w 4822424"/>
                <a:gd name="connsiteY1" fmla="*/ 2879834 h 3386828"/>
                <a:gd name="connsiteX2" fmla="*/ 24088 w 4822424"/>
                <a:gd name="connsiteY2" fmla="*/ 2843620 h 3386828"/>
                <a:gd name="connsiteX3" fmla="*/ 33141 w 4822424"/>
                <a:gd name="connsiteY3" fmla="*/ 2798352 h 3386828"/>
                <a:gd name="connsiteX4" fmla="*/ 42194 w 4822424"/>
                <a:gd name="connsiteY4" fmla="*/ 2744032 h 3386828"/>
                <a:gd name="connsiteX5" fmla="*/ 51248 w 4822424"/>
                <a:gd name="connsiteY5" fmla="*/ 2716871 h 3386828"/>
                <a:gd name="connsiteX6" fmla="*/ 69355 w 4822424"/>
                <a:gd name="connsiteY6" fmla="*/ 2626337 h 3386828"/>
                <a:gd name="connsiteX7" fmla="*/ 96515 w 4822424"/>
                <a:gd name="connsiteY7" fmla="*/ 2535802 h 3386828"/>
                <a:gd name="connsiteX8" fmla="*/ 105569 w 4822424"/>
                <a:gd name="connsiteY8" fmla="*/ 2463374 h 3386828"/>
                <a:gd name="connsiteX9" fmla="*/ 114622 w 4822424"/>
                <a:gd name="connsiteY9" fmla="*/ 2083129 h 3386828"/>
                <a:gd name="connsiteX10" fmla="*/ 123676 w 4822424"/>
                <a:gd name="connsiteY10" fmla="*/ 2028808 h 3386828"/>
                <a:gd name="connsiteX11" fmla="*/ 132729 w 4822424"/>
                <a:gd name="connsiteY11" fmla="*/ 1920166 h 3386828"/>
                <a:gd name="connsiteX12" fmla="*/ 141783 w 4822424"/>
                <a:gd name="connsiteY12" fmla="*/ 1883952 h 3386828"/>
                <a:gd name="connsiteX13" fmla="*/ 150836 w 4822424"/>
                <a:gd name="connsiteY13" fmla="*/ 1838685 h 3386828"/>
                <a:gd name="connsiteX14" fmla="*/ 159889 w 4822424"/>
                <a:gd name="connsiteY14" fmla="*/ 1748150 h 3386828"/>
                <a:gd name="connsiteX15" fmla="*/ 168943 w 4822424"/>
                <a:gd name="connsiteY15" fmla="*/ 1711937 h 3386828"/>
                <a:gd name="connsiteX16" fmla="*/ 187050 w 4822424"/>
                <a:gd name="connsiteY16" fmla="*/ 1548974 h 3386828"/>
                <a:gd name="connsiteX17" fmla="*/ 205157 w 4822424"/>
                <a:gd name="connsiteY17" fmla="*/ 1467493 h 3386828"/>
                <a:gd name="connsiteX18" fmla="*/ 214210 w 4822424"/>
                <a:gd name="connsiteY18" fmla="*/ 1413172 h 3386828"/>
                <a:gd name="connsiteX19" fmla="*/ 223264 w 4822424"/>
                <a:gd name="connsiteY19" fmla="*/ 1376958 h 3386828"/>
                <a:gd name="connsiteX20" fmla="*/ 232317 w 4822424"/>
                <a:gd name="connsiteY20" fmla="*/ 1331691 h 3386828"/>
                <a:gd name="connsiteX21" fmla="*/ 241371 w 4822424"/>
                <a:gd name="connsiteY21" fmla="*/ 1277370 h 3386828"/>
                <a:gd name="connsiteX22" fmla="*/ 259478 w 4822424"/>
                <a:gd name="connsiteY22" fmla="*/ 1223049 h 3386828"/>
                <a:gd name="connsiteX23" fmla="*/ 277585 w 4822424"/>
                <a:gd name="connsiteY23" fmla="*/ 1132515 h 3386828"/>
                <a:gd name="connsiteX24" fmla="*/ 286638 w 4822424"/>
                <a:gd name="connsiteY24" fmla="*/ 1087247 h 3386828"/>
                <a:gd name="connsiteX25" fmla="*/ 304745 w 4822424"/>
                <a:gd name="connsiteY25" fmla="*/ 1014820 h 3386828"/>
                <a:gd name="connsiteX26" fmla="*/ 313798 w 4822424"/>
                <a:gd name="connsiteY26" fmla="*/ 987659 h 3386828"/>
                <a:gd name="connsiteX27" fmla="*/ 340959 w 4822424"/>
                <a:gd name="connsiteY27" fmla="*/ 897125 h 3386828"/>
                <a:gd name="connsiteX28" fmla="*/ 359066 w 4822424"/>
                <a:gd name="connsiteY28" fmla="*/ 842804 h 3386828"/>
                <a:gd name="connsiteX29" fmla="*/ 377173 w 4822424"/>
                <a:gd name="connsiteY29" fmla="*/ 815643 h 3386828"/>
                <a:gd name="connsiteX30" fmla="*/ 404333 w 4822424"/>
                <a:gd name="connsiteY30" fmla="*/ 752269 h 3386828"/>
                <a:gd name="connsiteX31" fmla="*/ 440547 w 4822424"/>
                <a:gd name="connsiteY31" fmla="*/ 670788 h 3386828"/>
                <a:gd name="connsiteX32" fmla="*/ 467707 w 4822424"/>
                <a:gd name="connsiteY32" fmla="*/ 616467 h 3386828"/>
                <a:gd name="connsiteX33" fmla="*/ 494868 w 4822424"/>
                <a:gd name="connsiteY33" fmla="*/ 553093 h 3386828"/>
                <a:gd name="connsiteX34" fmla="*/ 540135 w 4822424"/>
                <a:gd name="connsiteY34" fmla="*/ 498772 h 3386828"/>
                <a:gd name="connsiteX35" fmla="*/ 558242 w 4822424"/>
                <a:gd name="connsiteY35" fmla="*/ 471612 h 3386828"/>
                <a:gd name="connsiteX36" fmla="*/ 612563 w 4822424"/>
                <a:gd name="connsiteY36" fmla="*/ 435398 h 3386828"/>
                <a:gd name="connsiteX37" fmla="*/ 639723 w 4822424"/>
                <a:gd name="connsiteY37" fmla="*/ 417291 h 3386828"/>
                <a:gd name="connsiteX38" fmla="*/ 666884 w 4822424"/>
                <a:gd name="connsiteY38" fmla="*/ 399184 h 3386828"/>
                <a:gd name="connsiteX39" fmla="*/ 694044 w 4822424"/>
                <a:gd name="connsiteY39" fmla="*/ 390131 h 3386828"/>
                <a:gd name="connsiteX40" fmla="*/ 766472 w 4822424"/>
                <a:gd name="connsiteY40" fmla="*/ 353917 h 3386828"/>
                <a:gd name="connsiteX41" fmla="*/ 857006 w 4822424"/>
                <a:gd name="connsiteY41" fmla="*/ 326756 h 3386828"/>
                <a:gd name="connsiteX42" fmla="*/ 920381 w 4822424"/>
                <a:gd name="connsiteY42" fmla="*/ 308649 h 3386828"/>
                <a:gd name="connsiteX43" fmla="*/ 974701 w 4822424"/>
                <a:gd name="connsiteY43" fmla="*/ 299596 h 3386828"/>
                <a:gd name="connsiteX44" fmla="*/ 1019969 w 4822424"/>
                <a:gd name="connsiteY44" fmla="*/ 290542 h 3386828"/>
                <a:gd name="connsiteX45" fmla="*/ 1074289 w 4822424"/>
                <a:gd name="connsiteY45" fmla="*/ 281489 h 3386828"/>
                <a:gd name="connsiteX46" fmla="*/ 1110503 w 4822424"/>
                <a:gd name="connsiteY46" fmla="*/ 272436 h 3386828"/>
                <a:gd name="connsiteX47" fmla="*/ 1155771 w 4822424"/>
                <a:gd name="connsiteY47" fmla="*/ 263382 h 3386828"/>
                <a:gd name="connsiteX48" fmla="*/ 1255359 w 4822424"/>
                <a:gd name="connsiteY48" fmla="*/ 236222 h 3386828"/>
                <a:gd name="connsiteX49" fmla="*/ 1309680 w 4822424"/>
                <a:gd name="connsiteY49" fmla="*/ 227168 h 3386828"/>
                <a:gd name="connsiteX50" fmla="*/ 1400214 w 4822424"/>
                <a:gd name="connsiteY50" fmla="*/ 209061 h 3386828"/>
                <a:gd name="connsiteX51" fmla="*/ 1608444 w 4822424"/>
                <a:gd name="connsiteY51" fmla="*/ 200008 h 3386828"/>
                <a:gd name="connsiteX52" fmla="*/ 1689925 w 4822424"/>
                <a:gd name="connsiteY52" fmla="*/ 190954 h 3386828"/>
                <a:gd name="connsiteX53" fmla="*/ 1753299 w 4822424"/>
                <a:gd name="connsiteY53" fmla="*/ 181901 h 3386828"/>
                <a:gd name="connsiteX54" fmla="*/ 1880048 w 4822424"/>
                <a:gd name="connsiteY54" fmla="*/ 172847 h 3386828"/>
                <a:gd name="connsiteX55" fmla="*/ 2070171 w 4822424"/>
                <a:gd name="connsiteY55" fmla="*/ 154740 h 3386828"/>
                <a:gd name="connsiteX56" fmla="*/ 2296507 w 4822424"/>
                <a:gd name="connsiteY56" fmla="*/ 145687 h 3386828"/>
                <a:gd name="connsiteX57" fmla="*/ 2522844 w 4822424"/>
                <a:gd name="connsiteY57" fmla="*/ 127580 h 3386828"/>
                <a:gd name="connsiteX58" fmla="*/ 2975517 w 4822424"/>
                <a:gd name="connsiteY58" fmla="*/ 118527 h 3386828"/>
                <a:gd name="connsiteX59" fmla="*/ 3554939 w 4822424"/>
                <a:gd name="connsiteY59" fmla="*/ 127580 h 3386828"/>
                <a:gd name="connsiteX60" fmla="*/ 3618313 w 4822424"/>
                <a:gd name="connsiteY60" fmla="*/ 136634 h 3386828"/>
                <a:gd name="connsiteX61" fmla="*/ 3688835 w 4822424"/>
                <a:gd name="connsiteY61" fmla="*/ 59264 h 3386828"/>
                <a:gd name="connsiteX62" fmla="*/ 3799383 w 4822424"/>
                <a:gd name="connsiteY62" fmla="*/ 154740 h 3386828"/>
                <a:gd name="connsiteX63" fmla="*/ 3858873 w 4822424"/>
                <a:gd name="connsiteY63" fmla="*/ 59264 h 3386828"/>
                <a:gd name="connsiteX64" fmla="*/ 4085591 w 4822424"/>
                <a:gd name="connsiteY64" fmla="*/ 59264 h 3386828"/>
                <a:gd name="connsiteX65" fmla="*/ 4822424 w 4822424"/>
                <a:gd name="connsiteY65" fmla="*/ 0 h 3386828"/>
                <a:gd name="connsiteX0" fmla="*/ 15034 w 4822424"/>
                <a:gd name="connsiteY0" fmla="*/ 3386828 h 3386828"/>
                <a:gd name="connsiteX1" fmla="*/ 15034 w 4822424"/>
                <a:gd name="connsiteY1" fmla="*/ 2879834 h 3386828"/>
                <a:gd name="connsiteX2" fmla="*/ 24088 w 4822424"/>
                <a:gd name="connsiteY2" fmla="*/ 2843620 h 3386828"/>
                <a:gd name="connsiteX3" fmla="*/ 33141 w 4822424"/>
                <a:gd name="connsiteY3" fmla="*/ 2798352 h 3386828"/>
                <a:gd name="connsiteX4" fmla="*/ 42194 w 4822424"/>
                <a:gd name="connsiteY4" fmla="*/ 2744032 h 3386828"/>
                <a:gd name="connsiteX5" fmla="*/ 51248 w 4822424"/>
                <a:gd name="connsiteY5" fmla="*/ 2716871 h 3386828"/>
                <a:gd name="connsiteX6" fmla="*/ 69355 w 4822424"/>
                <a:gd name="connsiteY6" fmla="*/ 2626337 h 3386828"/>
                <a:gd name="connsiteX7" fmla="*/ 96515 w 4822424"/>
                <a:gd name="connsiteY7" fmla="*/ 2535802 h 3386828"/>
                <a:gd name="connsiteX8" fmla="*/ 105569 w 4822424"/>
                <a:gd name="connsiteY8" fmla="*/ 2463374 h 3386828"/>
                <a:gd name="connsiteX9" fmla="*/ 114622 w 4822424"/>
                <a:gd name="connsiteY9" fmla="*/ 2083129 h 3386828"/>
                <a:gd name="connsiteX10" fmla="*/ 123676 w 4822424"/>
                <a:gd name="connsiteY10" fmla="*/ 2028808 h 3386828"/>
                <a:gd name="connsiteX11" fmla="*/ 132729 w 4822424"/>
                <a:gd name="connsiteY11" fmla="*/ 1920166 h 3386828"/>
                <a:gd name="connsiteX12" fmla="*/ 141783 w 4822424"/>
                <a:gd name="connsiteY12" fmla="*/ 1883952 h 3386828"/>
                <a:gd name="connsiteX13" fmla="*/ 150836 w 4822424"/>
                <a:gd name="connsiteY13" fmla="*/ 1838685 h 3386828"/>
                <a:gd name="connsiteX14" fmla="*/ 159889 w 4822424"/>
                <a:gd name="connsiteY14" fmla="*/ 1748150 h 3386828"/>
                <a:gd name="connsiteX15" fmla="*/ 168943 w 4822424"/>
                <a:gd name="connsiteY15" fmla="*/ 1711937 h 3386828"/>
                <a:gd name="connsiteX16" fmla="*/ 187050 w 4822424"/>
                <a:gd name="connsiteY16" fmla="*/ 1548974 h 3386828"/>
                <a:gd name="connsiteX17" fmla="*/ 205157 w 4822424"/>
                <a:gd name="connsiteY17" fmla="*/ 1467493 h 3386828"/>
                <a:gd name="connsiteX18" fmla="*/ 214210 w 4822424"/>
                <a:gd name="connsiteY18" fmla="*/ 1413172 h 3386828"/>
                <a:gd name="connsiteX19" fmla="*/ 223264 w 4822424"/>
                <a:gd name="connsiteY19" fmla="*/ 1376958 h 3386828"/>
                <a:gd name="connsiteX20" fmla="*/ 232317 w 4822424"/>
                <a:gd name="connsiteY20" fmla="*/ 1331691 h 3386828"/>
                <a:gd name="connsiteX21" fmla="*/ 241371 w 4822424"/>
                <a:gd name="connsiteY21" fmla="*/ 1277370 h 3386828"/>
                <a:gd name="connsiteX22" fmla="*/ 259478 w 4822424"/>
                <a:gd name="connsiteY22" fmla="*/ 1223049 h 3386828"/>
                <a:gd name="connsiteX23" fmla="*/ 277585 w 4822424"/>
                <a:gd name="connsiteY23" fmla="*/ 1132515 h 3386828"/>
                <a:gd name="connsiteX24" fmla="*/ 286638 w 4822424"/>
                <a:gd name="connsiteY24" fmla="*/ 1087247 h 3386828"/>
                <a:gd name="connsiteX25" fmla="*/ 304745 w 4822424"/>
                <a:gd name="connsiteY25" fmla="*/ 1014820 h 3386828"/>
                <a:gd name="connsiteX26" fmla="*/ 313798 w 4822424"/>
                <a:gd name="connsiteY26" fmla="*/ 987659 h 3386828"/>
                <a:gd name="connsiteX27" fmla="*/ 340959 w 4822424"/>
                <a:gd name="connsiteY27" fmla="*/ 897125 h 3386828"/>
                <a:gd name="connsiteX28" fmla="*/ 359066 w 4822424"/>
                <a:gd name="connsiteY28" fmla="*/ 842804 h 3386828"/>
                <a:gd name="connsiteX29" fmla="*/ 377173 w 4822424"/>
                <a:gd name="connsiteY29" fmla="*/ 815643 h 3386828"/>
                <a:gd name="connsiteX30" fmla="*/ 404333 w 4822424"/>
                <a:gd name="connsiteY30" fmla="*/ 752269 h 3386828"/>
                <a:gd name="connsiteX31" fmla="*/ 440547 w 4822424"/>
                <a:gd name="connsiteY31" fmla="*/ 670788 h 3386828"/>
                <a:gd name="connsiteX32" fmla="*/ 467707 w 4822424"/>
                <a:gd name="connsiteY32" fmla="*/ 616467 h 3386828"/>
                <a:gd name="connsiteX33" fmla="*/ 494868 w 4822424"/>
                <a:gd name="connsiteY33" fmla="*/ 553093 h 3386828"/>
                <a:gd name="connsiteX34" fmla="*/ 540135 w 4822424"/>
                <a:gd name="connsiteY34" fmla="*/ 498772 h 3386828"/>
                <a:gd name="connsiteX35" fmla="*/ 558242 w 4822424"/>
                <a:gd name="connsiteY35" fmla="*/ 471612 h 3386828"/>
                <a:gd name="connsiteX36" fmla="*/ 612563 w 4822424"/>
                <a:gd name="connsiteY36" fmla="*/ 435398 h 3386828"/>
                <a:gd name="connsiteX37" fmla="*/ 639723 w 4822424"/>
                <a:gd name="connsiteY37" fmla="*/ 417291 h 3386828"/>
                <a:gd name="connsiteX38" fmla="*/ 666884 w 4822424"/>
                <a:gd name="connsiteY38" fmla="*/ 399184 h 3386828"/>
                <a:gd name="connsiteX39" fmla="*/ 694044 w 4822424"/>
                <a:gd name="connsiteY39" fmla="*/ 390131 h 3386828"/>
                <a:gd name="connsiteX40" fmla="*/ 766472 w 4822424"/>
                <a:gd name="connsiteY40" fmla="*/ 353917 h 3386828"/>
                <a:gd name="connsiteX41" fmla="*/ 857006 w 4822424"/>
                <a:gd name="connsiteY41" fmla="*/ 326756 h 3386828"/>
                <a:gd name="connsiteX42" fmla="*/ 920381 w 4822424"/>
                <a:gd name="connsiteY42" fmla="*/ 308649 h 3386828"/>
                <a:gd name="connsiteX43" fmla="*/ 974701 w 4822424"/>
                <a:gd name="connsiteY43" fmla="*/ 299596 h 3386828"/>
                <a:gd name="connsiteX44" fmla="*/ 1019969 w 4822424"/>
                <a:gd name="connsiteY44" fmla="*/ 290542 h 3386828"/>
                <a:gd name="connsiteX45" fmla="*/ 1074289 w 4822424"/>
                <a:gd name="connsiteY45" fmla="*/ 281489 h 3386828"/>
                <a:gd name="connsiteX46" fmla="*/ 1110503 w 4822424"/>
                <a:gd name="connsiteY46" fmla="*/ 272436 h 3386828"/>
                <a:gd name="connsiteX47" fmla="*/ 1155771 w 4822424"/>
                <a:gd name="connsiteY47" fmla="*/ 263382 h 3386828"/>
                <a:gd name="connsiteX48" fmla="*/ 1255359 w 4822424"/>
                <a:gd name="connsiteY48" fmla="*/ 236222 h 3386828"/>
                <a:gd name="connsiteX49" fmla="*/ 1309680 w 4822424"/>
                <a:gd name="connsiteY49" fmla="*/ 227168 h 3386828"/>
                <a:gd name="connsiteX50" fmla="*/ 1400214 w 4822424"/>
                <a:gd name="connsiteY50" fmla="*/ 209061 h 3386828"/>
                <a:gd name="connsiteX51" fmla="*/ 1608444 w 4822424"/>
                <a:gd name="connsiteY51" fmla="*/ 200008 h 3386828"/>
                <a:gd name="connsiteX52" fmla="*/ 1689925 w 4822424"/>
                <a:gd name="connsiteY52" fmla="*/ 190954 h 3386828"/>
                <a:gd name="connsiteX53" fmla="*/ 1753299 w 4822424"/>
                <a:gd name="connsiteY53" fmla="*/ 181901 h 3386828"/>
                <a:gd name="connsiteX54" fmla="*/ 1880048 w 4822424"/>
                <a:gd name="connsiteY54" fmla="*/ 172847 h 3386828"/>
                <a:gd name="connsiteX55" fmla="*/ 2070171 w 4822424"/>
                <a:gd name="connsiteY55" fmla="*/ 154740 h 3386828"/>
                <a:gd name="connsiteX56" fmla="*/ 2296507 w 4822424"/>
                <a:gd name="connsiteY56" fmla="*/ 145687 h 3386828"/>
                <a:gd name="connsiteX57" fmla="*/ 2522844 w 4822424"/>
                <a:gd name="connsiteY57" fmla="*/ 127580 h 3386828"/>
                <a:gd name="connsiteX58" fmla="*/ 2975517 w 4822424"/>
                <a:gd name="connsiteY58" fmla="*/ 118527 h 3386828"/>
                <a:gd name="connsiteX59" fmla="*/ 3554939 w 4822424"/>
                <a:gd name="connsiteY59" fmla="*/ 127580 h 3386828"/>
                <a:gd name="connsiteX60" fmla="*/ 3618313 w 4822424"/>
                <a:gd name="connsiteY60" fmla="*/ 136634 h 3386828"/>
                <a:gd name="connsiteX61" fmla="*/ 3688835 w 4822424"/>
                <a:gd name="connsiteY61" fmla="*/ 59264 h 3386828"/>
                <a:gd name="connsiteX62" fmla="*/ 3802194 w 4822424"/>
                <a:gd name="connsiteY62" fmla="*/ 59264 h 3386828"/>
                <a:gd name="connsiteX63" fmla="*/ 3858873 w 4822424"/>
                <a:gd name="connsiteY63" fmla="*/ 59264 h 3386828"/>
                <a:gd name="connsiteX64" fmla="*/ 4085591 w 4822424"/>
                <a:gd name="connsiteY64" fmla="*/ 59264 h 3386828"/>
                <a:gd name="connsiteX65" fmla="*/ 4822424 w 4822424"/>
                <a:gd name="connsiteY65" fmla="*/ 0 h 3386828"/>
                <a:gd name="connsiteX0" fmla="*/ 15034 w 4822424"/>
                <a:gd name="connsiteY0" fmla="*/ 3386828 h 3386828"/>
                <a:gd name="connsiteX1" fmla="*/ 15034 w 4822424"/>
                <a:gd name="connsiteY1" fmla="*/ 2879834 h 3386828"/>
                <a:gd name="connsiteX2" fmla="*/ 24088 w 4822424"/>
                <a:gd name="connsiteY2" fmla="*/ 2843620 h 3386828"/>
                <a:gd name="connsiteX3" fmla="*/ 33141 w 4822424"/>
                <a:gd name="connsiteY3" fmla="*/ 2798352 h 3386828"/>
                <a:gd name="connsiteX4" fmla="*/ 42194 w 4822424"/>
                <a:gd name="connsiteY4" fmla="*/ 2744032 h 3386828"/>
                <a:gd name="connsiteX5" fmla="*/ 51248 w 4822424"/>
                <a:gd name="connsiteY5" fmla="*/ 2716871 h 3386828"/>
                <a:gd name="connsiteX6" fmla="*/ 69355 w 4822424"/>
                <a:gd name="connsiteY6" fmla="*/ 2626337 h 3386828"/>
                <a:gd name="connsiteX7" fmla="*/ 96515 w 4822424"/>
                <a:gd name="connsiteY7" fmla="*/ 2535802 h 3386828"/>
                <a:gd name="connsiteX8" fmla="*/ 105569 w 4822424"/>
                <a:gd name="connsiteY8" fmla="*/ 2463374 h 3386828"/>
                <a:gd name="connsiteX9" fmla="*/ 114622 w 4822424"/>
                <a:gd name="connsiteY9" fmla="*/ 2083129 h 3386828"/>
                <a:gd name="connsiteX10" fmla="*/ 123676 w 4822424"/>
                <a:gd name="connsiteY10" fmla="*/ 2028808 h 3386828"/>
                <a:gd name="connsiteX11" fmla="*/ 132729 w 4822424"/>
                <a:gd name="connsiteY11" fmla="*/ 1920166 h 3386828"/>
                <a:gd name="connsiteX12" fmla="*/ 141783 w 4822424"/>
                <a:gd name="connsiteY12" fmla="*/ 1883952 h 3386828"/>
                <a:gd name="connsiteX13" fmla="*/ 150836 w 4822424"/>
                <a:gd name="connsiteY13" fmla="*/ 1838685 h 3386828"/>
                <a:gd name="connsiteX14" fmla="*/ 159889 w 4822424"/>
                <a:gd name="connsiteY14" fmla="*/ 1748150 h 3386828"/>
                <a:gd name="connsiteX15" fmla="*/ 168943 w 4822424"/>
                <a:gd name="connsiteY15" fmla="*/ 1711937 h 3386828"/>
                <a:gd name="connsiteX16" fmla="*/ 187050 w 4822424"/>
                <a:gd name="connsiteY16" fmla="*/ 1548974 h 3386828"/>
                <a:gd name="connsiteX17" fmla="*/ 205157 w 4822424"/>
                <a:gd name="connsiteY17" fmla="*/ 1467493 h 3386828"/>
                <a:gd name="connsiteX18" fmla="*/ 214210 w 4822424"/>
                <a:gd name="connsiteY18" fmla="*/ 1413172 h 3386828"/>
                <a:gd name="connsiteX19" fmla="*/ 223264 w 4822424"/>
                <a:gd name="connsiteY19" fmla="*/ 1376958 h 3386828"/>
                <a:gd name="connsiteX20" fmla="*/ 232317 w 4822424"/>
                <a:gd name="connsiteY20" fmla="*/ 1331691 h 3386828"/>
                <a:gd name="connsiteX21" fmla="*/ 241371 w 4822424"/>
                <a:gd name="connsiteY21" fmla="*/ 1277370 h 3386828"/>
                <a:gd name="connsiteX22" fmla="*/ 259478 w 4822424"/>
                <a:gd name="connsiteY22" fmla="*/ 1223049 h 3386828"/>
                <a:gd name="connsiteX23" fmla="*/ 277585 w 4822424"/>
                <a:gd name="connsiteY23" fmla="*/ 1132515 h 3386828"/>
                <a:gd name="connsiteX24" fmla="*/ 286638 w 4822424"/>
                <a:gd name="connsiteY24" fmla="*/ 1087247 h 3386828"/>
                <a:gd name="connsiteX25" fmla="*/ 304745 w 4822424"/>
                <a:gd name="connsiteY25" fmla="*/ 1014820 h 3386828"/>
                <a:gd name="connsiteX26" fmla="*/ 313798 w 4822424"/>
                <a:gd name="connsiteY26" fmla="*/ 987659 h 3386828"/>
                <a:gd name="connsiteX27" fmla="*/ 340959 w 4822424"/>
                <a:gd name="connsiteY27" fmla="*/ 897125 h 3386828"/>
                <a:gd name="connsiteX28" fmla="*/ 359066 w 4822424"/>
                <a:gd name="connsiteY28" fmla="*/ 842804 h 3386828"/>
                <a:gd name="connsiteX29" fmla="*/ 377173 w 4822424"/>
                <a:gd name="connsiteY29" fmla="*/ 815643 h 3386828"/>
                <a:gd name="connsiteX30" fmla="*/ 404333 w 4822424"/>
                <a:gd name="connsiteY30" fmla="*/ 752269 h 3386828"/>
                <a:gd name="connsiteX31" fmla="*/ 440547 w 4822424"/>
                <a:gd name="connsiteY31" fmla="*/ 670788 h 3386828"/>
                <a:gd name="connsiteX32" fmla="*/ 467707 w 4822424"/>
                <a:gd name="connsiteY32" fmla="*/ 616467 h 3386828"/>
                <a:gd name="connsiteX33" fmla="*/ 494868 w 4822424"/>
                <a:gd name="connsiteY33" fmla="*/ 553093 h 3386828"/>
                <a:gd name="connsiteX34" fmla="*/ 540135 w 4822424"/>
                <a:gd name="connsiteY34" fmla="*/ 498772 h 3386828"/>
                <a:gd name="connsiteX35" fmla="*/ 558242 w 4822424"/>
                <a:gd name="connsiteY35" fmla="*/ 471612 h 3386828"/>
                <a:gd name="connsiteX36" fmla="*/ 612563 w 4822424"/>
                <a:gd name="connsiteY36" fmla="*/ 435398 h 3386828"/>
                <a:gd name="connsiteX37" fmla="*/ 639723 w 4822424"/>
                <a:gd name="connsiteY37" fmla="*/ 417291 h 3386828"/>
                <a:gd name="connsiteX38" fmla="*/ 666884 w 4822424"/>
                <a:gd name="connsiteY38" fmla="*/ 399184 h 3386828"/>
                <a:gd name="connsiteX39" fmla="*/ 694044 w 4822424"/>
                <a:gd name="connsiteY39" fmla="*/ 390131 h 3386828"/>
                <a:gd name="connsiteX40" fmla="*/ 766472 w 4822424"/>
                <a:gd name="connsiteY40" fmla="*/ 353917 h 3386828"/>
                <a:gd name="connsiteX41" fmla="*/ 857006 w 4822424"/>
                <a:gd name="connsiteY41" fmla="*/ 326756 h 3386828"/>
                <a:gd name="connsiteX42" fmla="*/ 920381 w 4822424"/>
                <a:gd name="connsiteY42" fmla="*/ 308649 h 3386828"/>
                <a:gd name="connsiteX43" fmla="*/ 974701 w 4822424"/>
                <a:gd name="connsiteY43" fmla="*/ 299596 h 3386828"/>
                <a:gd name="connsiteX44" fmla="*/ 1019969 w 4822424"/>
                <a:gd name="connsiteY44" fmla="*/ 290542 h 3386828"/>
                <a:gd name="connsiteX45" fmla="*/ 1074289 w 4822424"/>
                <a:gd name="connsiteY45" fmla="*/ 281489 h 3386828"/>
                <a:gd name="connsiteX46" fmla="*/ 1110503 w 4822424"/>
                <a:gd name="connsiteY46" fmla="*/ 272436 h 3386828"/>
                <a:gd name="connsiteX47" fmla="*/ 1155771 w 4822424"/>
                <a:gd name="connsiteY47" fmla="*/ 263382 h 3386828"/>
                <a:gd name="connsiteX48" fmla="*/ 1255359 w 4822424"/>
                <a:gd name="connsiteY48" fmla="*/ 236222 h 3386828"/>
                <a:gd name="connsiteX49" fmla="*/ 1309680 w 4822424"/>
                <a:gd name="connsiteY49" fmla="*/ 227168 h 3386828"/>
                <a:gd name="connsiteX50" fmla="*/ 1400214 w 4822424"/>
                <a:gd name="connsiteY50" fmla="*/ 209061 h 3386828"/>
                <a:gd name="connsiteX51" fmla="*/ 1608444 w 4822424"/>
                <a:gd name="connsiteY51" fmla="*/ 200008 h 3386828"/>
                <a:gd name="connsiteX52" fmla="*/ 1689925 w 4822424"/>
                <a:gd name="connsiteY52" fmla="*/ 190954 h 3386828"/>
                <a:gd name="connsiteX53" fmla="*/ 1753299 w 4822424"/>
                <a:gd name="connsiteY53" fmla="*/ 181901 h 3386828"/>
                <a:gd name="connsiteX54" fmla="*/ 1880048 w 4822424"/>
                <a:gd name="connsiteY54" fmla="*/ 172847 h 3386828"/>
                <a:gd name="connsiteX55" fmla="*/ 2070171 w 4822424"/>
                <a:gd name="connsiteY55" fmla="*/ 154740 h 3386828"/>
                <a:gd name="connsiteX56" fmla="*/ 2296507 w 4822424"/>
                <a:gd name="connsiteY56" fmla="*/ 145687 h 3386828"/>
                <a:gd name="connsiteX57" fmla="*/ 2522844 w 4822424"/>
                <a:gd name="connsiteY57" fmla="*/ 127580 h 3386828"/>
                <a:gd name="connsiteX58" fmla="*/ 2975517 w 4822424"/>
                <a:gd name="connsiteY58" fmla="*/ 118527 h 3386828"/>
                <a:gd name="connsiteX59" fmla="*/ 3554939 w 4822424"/>
                <a:gd name="connsiteY59" fmla="*/ 127580 h 3386828"/>
                <a:gd name="connsiteX60" fmla="*/ 3632156 w 4822424"/>
                <a:gd name="connsiteY60" fmla="*/ 59264 h 3386828"/>
                <a:gd name="connsiteX61" fmla="*/ 3688835 w 4822424"/>
                <a:gd name="connsiteY61" fmla="*/ 59264 h 3386828"/>
                <a:gd name="connsiteX62" fmla="*/ 3802194 w 4822424"/>
                <a:gd name="connsiteY62" fmla="*/ 59264 h 3386828"/>
                <a:gd name="connsiteX63" fmla="*/ 3858873 w 4822424"/>
                <a:gd name="connsiteY63" fmla="*/ 59264 h 3386828"/>
                <a:gd name="connsiteX64" fmla="*/ 4085591 w 4822424"/>
                <a:gd name="connsiteY64" fmla="*/ 59264 h 3386828"/>
                <a:gd name="connsiteX65" fmla="*/ 4822424 w 4822424"/>
                <a:gd name="connsiteY65" fmla="*/ 0 h 3386828"/>
                <a:gd name="connsiteX0" fmla="*/ 15034 w 4822424"/>
                <a:gd name="connsiteY0" fmla="*/ 3386828 h 3386828"/>
                <a:gd name="connsiteX1" fmla="*/ 15034 w 4822424"/>
                <a:gd name="connsiteY1" fmla="*/ 2879834 h 3386828"/>
                <a:gd name="connsiteX2" fmla="*/ 24088 w 4822424"/>
                <a:gd name="connsiteY2" fmla="*/ 2843620 h 3386828"/>
                <a:gd name="connsiteX3" fmla="*/ 33141 w 4822424"/>
                <a:gd name="connsiteY3" fmla="*/ 2798352 h 3386828"/>
                <a:gd name="connsiteX4" fmla="*/ 42194 w 4822424"/>
                <a:gd name="connsiteY4" fmla="*/ 2744032 h 3386828"/>
                <a:gd name="connsiteX5" fmla="*/ 51248 w 4822424"/>
                <a:gd name="connsiteY5" fmla="*/ 2716871 h 3386828"/>
                <a:gd name="connsiteX6" fmla="*/ 69355 w 4822424"/>
                <a:gd name="connsiteY6" fmla="*/ 2626337 h 3386828"/>
                <a:gd name="connsiteX7" fmla="*/ 96515 w 4822424"/>
                <a:gd name="connsiteY7" fmla="*/ 2535802 h 3386828"/>
                <a:gd name="connsiteX8" fmla="*/ 105569 w 4822424"/>
                <a:gd name="connsiteY8" fmla="*/ 2463374 h 3386828"/>
                <a:gd name="connsiteX9" fmla="*/ 114622 w 4822424"/>
                <a:gd name="connsiteY9" fmla="*/ 2083129 h 3386828"/>
                <a:gd name="connsiteX10" fmla="*/ 123676 w 4822424"/>
                <a:gd name="connsiteY10" fmla="*/ 2028808 h 3386828"/>
                <a:gd name="connsiteX11" fmla="*/ 132729 w 4822424"/>
                <a:gd name="connsiteY11" fmla="*/ 1920166 h 3386828"/>
                <a:gd name="connsiteX12" fmla="*/ 141783 w 4822424"/>
                <a:gd name="connsiteY12" fmla="*/ 1883952 h 3386828"/>
                <a:gd name="connsiteX13" fmla="*/ 150836 w 4822424"/>
                <a:gd name="connsiteY13" fmla="*/ 1838685 h 3386828"/>
                <a:gd name="connsiteX14" fmla="*/ 159889 w 4822424"/>
                <a:gd name="connsiteY14" fmla="*/ 1748150 h 3386828"/>
                <a:gd name="connsiteX15" fmla="*/ 168943 w 4822424"/>
                <a:gd name="connsiteY15" fmla="*/ 1711937 h 3386828"/>
                <a:gd name="connsiteX16" fmla="*/ 187050 w 4822424"/>
                <a:gd name="connsiteY16" fmla="*/ 1548974 h 3386828"/>
                <a:gd name="connsiteX17" fmla="*/ 205157 w 4822424"/>
                <a:gd name="connsiteY17" fmla="*/ 1467493 h 3386828"/>
                <a:gd name="connsiteX18" fmla="*/ 214210 w 4822424"/>
                <a:gd name="connsiteY18" fmla="*/ 1413172 h 3386828"/>
                <a:gd name="connsiteX19" fmla="*/ 223264 w 4822424"/>
                <a:gd name="connsiteY19" fmla="*/ 1376958 h 3386828"/>
                <a:gd name="connsiteX20" fmla="*/ 232317 w 4822424"/>
                <a:gd name="connsiteY20" fmla="*/ 1331691 h 3386828"/>
                <a:gd name="connsiteX21" fmla="*/ 241371 w 4822424"/>
                <a:gd name="connsiteY21" fmla="*/ 1277370 h 3386828"/>
                <a:gd name="connsiteX22" fmla="*/ 259478 w 4822424"/>
                <a:gd name="connsiteY22" fmla="*/ 1223049 h 3386828"/>
                <a:gd name="connsiteX23" fmla="*/ 277585 w 4822424"/>
                <a:gd name="connsiteY23" fmla="*/ 1132515 h 3386828"/>
                <a:gd name="connsiteX24" fmla="*/ 286638 w 4822424"/>
                <a:gd name="connsiteY24" fmla="*/ 1087247 h 3386828"/>
                <a:gd name="connsiteX25" fmla="*/ 304745 w 4822424"/>
                <a:gd name="connsiteY25" fmla="*/ 1014820 h 3386828"/>
                <a:gd name="connsiteX26" fmla="*/ 313798 w 4822424"/>
                <a:gd name="connsiteY26" fmla="*/ 987659 h 3386828"/>
                <a:gd name="connsiteX27" fmla="*/ 340959 w 4822424"/>
                <a:gd name="connsiteY27" fmla="*/ 897125 h 3386828"/>
                <a:gd name="connsiteX28" fmla="*/ 359066 w 4822424"/>
                <a:gd name="connsiteY28" fmla="*/ 842804 h 3386828"/>
                <a:gd name="connsiteX29" fmla="*/ 377173 w 4822424"/>
                <a:gd name="connsiteY29" fmla="*/ 815643 h 3386828"/>
                <a:gd name="connsiteX30" fmla="*/ 404333 w 4822424"/>
                <a:gd name="connsiteY30" fmla="*/ 752269 h 3386828"/>
                <a:gd name="connsiteX31" fmla="*/ 440547 w 4822424"/>
                <a:gd name="connsiteY31" fmla="*/ 670788 h 3386828"/>
                <a:gd name="connsiteX32" fmla="*/ 467707 w 4822424"/>
                <a:gd name="connsiteY32" fmla="*/ 616467 h 3386828"/>
                <a:gd name="connsiteX33" fmla="*/ 494868 w 4822424"/>
                <a:gd name="connsiteY33" fmla="*/ 553093 h 3386828"/>
                <a:gd name="connsiteX34" fmla="*/ 540135 w 4822424"/>
                <a:gd name="connsiteY34" fmla="*/ 498772 h 3386828"/>
                <a:gd name="connsiteX35" fmla="*/ 558242 w 4822424"/>
                <a:gd name="connsiteY35" fmla="*/ 471612 h 3386828"/>
                <a:gd name="connsiteX36" fmla="*/ 612563 w 4822424"/>
                <a:gd name="connsiteY36" fmla="*/ 435398 h 3386828"/>
                <a:gd name="connsiteX37" fmla="*/ 639723 w 4822424"/>
                <a:gd name="connsiteY37" fmla="*/ 417291 h 3386828"/>
                <a:gd name="connsiteX38" fmla="*/ 666884 w 4822424"/>
                <a:gd name="connsiteY38" fmla="*/ 399184 h 3386828"/>
                <a:gd name="connsiteX39" fmla="*/ 694044 w 4822424"/>
                <a:gd name="connsiteY39" fmla="*/ 390131 h 3386828"/>
                <a:gd name="connsiteX40" fmla="*/ 766472 w 4822424"/>
                <a:gd name="connsiteY40" fmla="*/ 353917 h 3386828"/>
                <a:gd name="connsiteX41" fmla="*/ 857006 w 4822424"/>
                <a:gd name="connsiteY41" fmla="*/ 326756 h 3386828"/>
                <a:gd name="connsiteX42" fmla="*/ 920381 w 4822424"/>
                <a:gd name="connsiteY42" fmla="*/ 308649 h 3386828"/>
                <a:gd name="connsiteX43" fmla="*/ 974701 w 4822424"/>
                <a:gd name="connsiteY43" fmla="*/ 299596 h 3386828"/>
                <a:gd name="connsiteX44" fmla="*/ 1019969 w 4822424"/>
                <a:gd name="connsiteY44" fmla="*/ 290542 h 3386828"/>
                <a:gd name="connsiteX45" fmla="*/ 1074289 w 4822424"/>
                <a:gd name="connsiteY45" fmla="*/ 281489 h 3386828"/>
                <a:gd name="connsiteX46" fmla="*/ 1110503 w 4822424"/>
                <a:gd name="connsiteY46" fmla="*/ 272436 h 3386828"/>
                <a:gd name="connsiteX47" fmla="*/ 1155771 w 4822424"/>
                <a:gd name="connsiteY47" fmla="*/ 263382 h 3386828"/>
                <a:gd name="connsiteX48" fmla="*/ 1255359 w 4822424"/>
                <a:gd name="connsiteY48" fmla="*/ 236222 h 3386828"/>
                <a:gd name="connsiteX49" fmla="*/ 1309680 w 4822424"/>
                <a:gd name="connsiteY49" fmla="*/ 227168 h 3386828"/>
                <a:gd name="connsiteX50" fmla="*/ 1400214 w 4822424"/>
                <a:gd name="connsiteY50" fmla="*/ 209061 h 3386828"/>
                <a:gd name="connsiteX51" fmla="*/ 1608444 w 4822424"/>
                <a:gd name="connsiteY51" fmla="*/ 200008 h 3386828"/>
                <a:gd name="connsiteX52" fmla="*/ 1689925 w 4822424"/>
                <a:gd name="connsiteY52" fmla="*/ 190954 h 3386828"/>
                <a:gd name="connsiteX53" fmla="*/ 1753299 w 4822424"/>
                <a:gd name="connsiteY53" fmla="*/ 181901 h 3386828"/>
                <a:gd name="connsiteX54" fmla="*/ 1880048 w 4822424"/>
                <a:gd name="connsiteY54" fmla="*/ 172847 h 3386828"/>
                <a:gd name="connsiteX55" fmla="*/ 2070171 w 4822424"/>
                <a:gd name="connsiteY55" fmla="*/ 154740 h 3386828"/>
                <a:gd name="connsiteX56" fmla="*/ 2296507 w 4822424"/>
                <a:gd name="connsiteY56" fmla="*/ 145687 h 3386828"/>
                <a:gd name="connsiteX57" fmla="*/ 2522844 w 4822424"/>
                <a:gd name="connsiteY57" fmla="*/ 127580 h 3386828"/>
                <a:gd name="connsiteX58" fmla="*/ 2975517 w 4822424"/>
                <a:gd name="connsiteY58" fmla="*/ 118527 h 3386828"/>
                <a:gd name="connsiteX59" fmla="*/ 3518797 w 4822424"/>
                <a:gd name="connsiteY59" fmla="*/ 59264 h 3386828"/>
                <a:gd name="connsiteX60" fmla="*/ 3632156 w 4822424"/>
                <a:gd name="connsiteY60" fmla="*/ 59264 h 3386828"/>
                <a:gd name="connsiteX61" fmla="*/ 3688835 w 4822424"/>
                <a:gd name="connsiteY61" fmla="*/ 59264 h 3386828"/>
                <a:gd name="connsiteX62" fmla="*/ 3802194 w 4822424"/>
                <a:gd name="connsiteY62" fmla="*/ 59264 h 3386828"/>
                <a:gd name="connsiteX63" fmla="*/ 3858873 w 4822424"/>
                <a:gd name="connsiteY63" fmla="*/ 59264 h 3386828"/>
                <a:gd name="connsiteX64" fmla="*/ 4085591 w 4822424"/>
                <a:gd name="connsiteY64" fmla="*/ 59264 h 3386828"/>
                <a:gd name="connsiteX65" fmla="*/ 4822424 w 4822424"/>
                <a:gd name="connsiteY65" fmla="*/ 0 h 33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822424" h="3386828">
                  <a:moveTo>
                    <a:pt x="15034" y="3386828"/>
                  </a:moveTo>
                  <a:cubicBezTo>
                    <a:pt x="3928" y="3142474"/>
                    <a:pt x="0" y="3165479"/>
                    <a:pt x="15034" y="2879834"/>
                  </a:cubicBezTo>
                  <a:cubicBezTo>
                    <a:pt x="15688" y="2867408"/>
                    <a:pt x="21389" y="2855767"/>
                    <a:pt x="24088" y="2843620"/>
                  </a:cubicBezTo>
                  <a:cubicBezTo>
                    <a:pt x="27426" y="2828598"/>
                    <a:pt x="30388" y="2813492"/>
                    <a:pt x="33141" y="2798352"/>
                  </a:cubicBezTo>
                  <a:cubicBezTo>
                    <a:pt x="36425" y="2780292"/>
                    <a:pt x="38212" y="2761951"/>
                    <a:pt x="42194" y="2744032"/>
                  </a:cubicBezTo>
                  <a:cubicBezTo>
                    <a:pt x="44264" y="2734716"/>
                    <a:pt x="49102" y="2726170"/>
                    <a:pt x="51248" y="2716871"/>
                  </a:cubicBezTo>
                  <a:cubicBezTo>
                    <a:pt x="58168" y="2686884"/>
                    <a:pt x="59623" y="2655533"/>
                    <a:pt x="69355" y="2626337"/>
                  </a:cubicBezTo>
                  <a:cubicBezTo>
                    <a:pt x="77407" y="2602181"/>
                    <a:pt x="91953" y="2563172"/>
                    <a:pt x="96515" y="2535802"/>
                  </a:cubicBezTo>
                  <a:cubicBezTo>
                    <a:pt x="100515" y="2511802"/>
                    <a:pt x="102551" y="2487517"/>
                    <a:pt x="105569" y="2463374"/>
                  </a:cubicBezTo>
                  <a:cubicBezTo>
                    <a:pt x="108587" y="2336626"/>
                    <a:pt x="109344" y="2209803"/>
                    <a:pt x="114622" y="2083129"/>
                  </a:cubicBezTo>
                  <a:cubicBezTo>
                    <a:pt x="115386" y="2064788"/>
                    <a:pt x="121649" y="2047053"/>
                    <a:pt x="123676" y="2028808"/>
                  </a:cubicBezTo>
                  <a:cubicBezTo>
                    <a:pt x="127689" y="1992691"/>
                    <a:pt x="128222" y="1956225"/>
                    <a:pt x="132729" y="1920166"/>
                  </a:cubicBezTo>
                  <a:cubicBezTo>
                    <a:pt x="134272" y="1907819"/>
                    <a:pt x="139084" y="1896099"/>
                    <a:pt x="141783" y="1883952"/>
                  </a:cubicBezTo>
                  <a:cubicBezTo>
                    <a:pt x="145121" y="1868931"/>
                    <a:pt x="147818" y="1853774"/>
                    <a:pt x="150836" y="1838685"/>
                  </a:cubicBezTo>
                  <a:cubicBezTo>
                    <a:pt x="153854" y="1808507"/>
                    <a:pt x="155600" y="1778174"/>
                    <a:pt x="159889" y="1748150"/>
                  </a:cubicBezTo>
                  <a:cubicBezTo>
                    <a:pt x="161649" y="1735832"/>
                    <a:pt x="166897" y="1724210"/>
                    <a:pt x="168943" y="1711937"/>
                  </a:cubicBezTo>
                  <a:cubicBezTo>
                    <a:pt x="180007" y="1645555"/>
                    <a:pt x="177757" y="1618668"/>
                    <a:pt x="187050" y="1548974"/>
                  </a:cubicBezTo>
                  <a:cubicBezTo>
                    <a:pt x="193377" y="1501518"/>
                    <a:pt x="196548" y="1510539"/>
                    <a:pt x="205157" y="1467493"/>
                  </a:cubicBezTo>
                  <a:cubicBezTo>
                    <a:pt x="208757" y="1449493"/>
                    <a:pt x="210610" y="1431172"/>
                    <a:pt x="214210" y="1413172"/>
                  </a:cubicBezTo>
                  <a:cubicBezTo>
                    <a:pt x="216650" y="1400971"/>
                    <a:pt x="220565" y="1389105"/>
                    <a:pt x="223264" y="1376958"/>
                  </a:cubicBezTo>
                  <a:cubicBezTo>
                    <a:pt x="226602" y="1361937"/>
                    <a:pt x="229564" y="1346831"/>
                    <a:pt x="232317" y="1331691"/>
                  </a:cubicBezTo>
                  <a:cubicBezTo>
                    <a:pt x="235601" y="1313630"/>
                    <a:pt x="236919" y="1295179"/>
                    <a:pt x="241371" y="1277370"/>
                  </a:cubicBezTo>
                  <a:cubicBezTo>
                    <a:pt x="246000" y="1258853"/>
                    <a:pt x="255735" y="1241765"/>
                    <a:pt x="259478" y="1223049"/>
                  </a:cubicBezTo>
                  <a:lnTo>
                    <a:pt x="277585" y="1132515"/>
                  </a:lnTo>
                  <a:cubicBezTo>
                    <a:pt x="280603" y="1117426"/>
                    <a:pt x="281772" y="1101846"/>
                    <a:pt x="286638" y="1087247"/>
                  </a:cubicBezTo>
                  <a:cubicBezTo>
                    <a:pt x="307331" y="1025165"/>
                    <a:pt x="282896" y="1102216"/>
                    <a:pt x="304745" y="1014820"/>
                  </a:cubicBezTo>
                  <a:cubicBezTo>
                    <a:pt x="307060" y="1005562"/>
                    <a:pt x="311176" y="996835"/>
                    <a:pt x="313798" y="987659"/>
                  </a:cubicBezTo>
                  <a:cubicBezTo>
                    <a:pt x="341161" y="891889"/>
                    <a:pt x="297934" y="1026201"/>
                    <a:pt x="340959" y="897125"/>
                  </a:cubicBezTo>
                  <a:cubicBezTo>
                    <a:pt x="340961" y="897120"/>
                    <a:pt x="359062" y="842809"/>
                    <a:pt x="359066" y="842804"/>
                  </a:cubicBezTo>
                  <a:lnTo>
                    <a:pt x="377173" y="815643"/>
                  </a:lnTo>
                  <a:cubicBezTo>
                    <a:pt x="401120" y="719852"/>
                    <a:pt x="368607" y="832653"/>
                    <a:pt x="404333" y="752269"/>
                  </a:cubicBezTo>
                  <a:cubicBezTo>
                    <a:pt x="447427" y="655307"/>
                    <a:pt x="399570" y="732253"/>
                    <a:pt x="440547" y="670788"/>
                  </a:cubicBezTo>
                  <a:cubicBezTo>
                    <a:pt x="463299" y="602528"/>
                    <a:pt x="432610" y="686661"/>
                    <a:pt x="467707" y="616467"/>
                  </a:cubicBezTo>
                  <a:cubicBezTo>
                    <a:pt x="518489" y="514904"/>
                    <a:pt x="419516" y="684958"/>
                    <a:pt x="494868" y="553093"/>
                  </a:cubicBezTo>
                  <a:cubicBezTo>
                    <a:pt x="519387" y="510185"/>
                    <a:pt x="506093" y="539623"/>
                    <a:pt x="540135" y="498772"/>
                  </a:cubicBezTo>
                  <a:cubicBezTo>
                    <a:pt x="547101" y="490413"/>
                    <a:pt x="550053" y="478777"/>
                    <a:pt x="558242" y="471612"/>
                  </a:cubicBezTo>
                  <a:cubicBezTo>
                    <a:pt x="574620" y="457282"/>
                    <a:pt x="594456" y="447469"/>
                    <a:pt x="612563" y="435398"/>
                  </a:cubicBezTo>
                  <a:lnTo>
                    <a:pt x="639723" y="417291"/>
                  </a:lnTo>
                  <a:cubicBezTo>
                    <a:pt x="648777" y="411255"/>
                    <a:pt x="656561" y="402625"/>
                    <a:pt x="666884" y="399184"/>
                  </a:cubicBezTo>
                  <a:cubicBezTo>
                    <a:pt x="675937" y="396166"/>
                    <a:pt x="685356" y="394080"/>
                    <a:pt x="694044" y="390131"/>
                  </a:cubicBezTo>
                  <a:cubicBezTo>
                    <a:pt x="718617" y="378962"/>
                    <a:pt x="740865" y="362453"/>
                    <a:pt x="766472" y="353917"/>
                  </a:cubicBezTo>
                  <a:cubicBezTo>
                    <a:pt x="895520" y="310900"/>
                    <a:pt x="761254" y="354114"/>
                    <a:pt x="857006" y="326756"/>
                  </a:cubicBezTo>
                  <a:cubicBezTo>
                    <a:pt x="897260" y="315255"/>
                    <a:pt x="873229" y="318080"/>
                    <a:pt x="920381" y="308649"/>
                  </a:cubicBezTo>
                  <a:cubicBezTo>
                    <a:pt x="938381" y="305049"/>
                    <a:pt x="956641" y="302880"/>
                    <a:pt x="974701" y="299596"/>
                  </a:cubicBezTo>
                  <a:cubicBezTo>
                    <a:pt x="989841" y="296843"/>
                    <a:pt x="1004829" y="293295"/>
                    <a:pt x="1019969" y="290542"/>
                  </a:cubicBezTo>
                  <a:cubicBezTo>
                    <a:pt x="1038029" y="287258"/>
                    <a:pt x="1056289" y="285089"/>
                    <a:pt x="1074289" y="281489"/>
                  </a:cubicBezTo>
                  <a:cubicBezTo>
                    <a:pt x="1086490" y="279049"/>
                    <a:pt x="1098356" y="275135"/>
                    <a:pt x="1110503" y="272436"/>
                  </a:cubicBezTo>
                  <a:cubicBezTo>
                    <a:pt x="1125525" y="269098"/>
                    <a:pt x="1140842" y="267114"/>
                    <a:pt x="1155771" y="263382"/>
                  </a:cubicBezTo>
                  <a:cubicBezTo>
                    <a:pt x="1225982" y="245829"/>
                    <a:pt x="1122972" y="258288"/>
                    <a:pt x="1255359" y="236222"/>
                  </a:cubicBezTo>
                  <a:cubicBezTo>
                    <a:pt x="1273466" y="233204"/>
                    <a:pt x="1291680" y="230768"/>
                    <a:pt x="1309680" y="227168"/>
                  </a:cubicBezTo>
                  <a:cubicBezTo>
                    <a:pt x="1350653" y="218973"/>
                    <a:pt x="1352871" y="212326"/>
                    <a:pt x="1400214" y="209061"/>
                  </a:cubicBezTo>
                  <a:cubicBezTo>
                    <a:pt x="1469525" y="204281"/>
                    <a:pt x="1539034" y="203026"/>
                    <a:pt x="1608444" y="200008"/>
                  </a:cubicBezTo>
                  <a:lnTo>
                    <a:pt x="1689925" y="190954"/>
                  </a:lnTo>
                  <a:cubicBezTo>
                    <a:pt x="1711099" y="188307"/>
                    <a:pt x="1732056" y="183924"/>
                    <a:pt x="1753299" y="181901"/>
                  </a:cubicBezTo>
                  <a:cubicBezTo>
                    <a:pt x="1795466" y="177885"/>
                    <a:pt x="1837865" y="176682"/>
                    <a:pt x="1880048" y="172847"/>
                  </a:cubicBezTo>
                  <a:cubicBezTo>
                    <a:pt x="2035065" y="158755"/>
                    <a:pt x="1857795" y="165918"/>
                    <a:pt x="2070171" y="154740"/>
                  </a:cubicBezTo>
                  <a:cubicBezTo>
                    <a:pt x="2145572" y="150771"/>
                    <a:pt x="2221062" y="148705"/>
                    <a:pt x="2296507" y="145687"/>
                  </a:cubicBezTo>
                  <a:cubicBezTo>
                    <a:pt x="2353468" y="140509"/>
                    <a:pt x="2470619" y="129212"/>
                    <a:pt x="2522844" y="127580"/>
                  </a:cubicBezTo>
                  <a:cubicBezTo>
                    <a:pt x="2673692" y="122866"/>
                    <a:pt x="2824626" y="121545"/>
                    <a:pt x="2975517" y="118527"/>
                  </a:cubicBezTo>
                  <a:lnTo>
                    <a:pt x="3518797" y="59264"/>
                  </a:lnTo>
                  <a:cubicBezTo>
                    <a:pt x="3540128" y="59865"/>
                    <a:pt x="3610923" y="57141"/>
                    <a:pt x="3632156" y="59264"/>
                  </a:cubicBezTo>
                  <a:cubicBezTo>
                    <a:pt x="3671308" y="63179"/>
                    <a:pt x="3649683" y="55349"/>
                    <a:pt x="3688835" y="59264"/>
                  </a:cubicBezTo>
                  <a:cubicBezTo>
                    <a:pt x="3710069" y="61387"/>
                    <a:pt x="3781103" y="56019"/>
                    <a:pt x="3802194" y="59264"/>
                  </a:cubicBezTo>
                  <a:cubicBezTo>
                    <a:pt x="3820337" y="62055"/>
                    <a:pt x="3840567" y="57908"/>
                    <a:pt x="3858873" y="59264"/>
                  </a:cubicBezTo>
                  <a:cubicBezTo>
                    <a:pt x="3922146" y="63951"/>
                    <a:pt x="4022148" y="58671"/>
                    <a:pt x="4085591" y="59264"/>
                  </a:cubicBezTo>
                  <a:lnTo>
                    <a:pt x="4822424" y="0"/>
                  </a:lnTo>
                </a:path>
              </a:pathLst>
            </a:custGeom>
            <a:ln w="317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sz="1800">
                <a:solidFill>
                  <a:srgbClr val="5F5F5F"/>
                </a:solidFill>
              </a:endParaRPr>
            </a:p>
          </p:txBody>
        </p:sp>
        <p:sp>
          <p:nvSpPr>
            <p:cNvPr id="44" name="TextBox 43"/>
            <p:cNvSpPr txBox="1"/>
            <p:nvPr/>
          </p:nvSpPr>
          <p:spPr>
            <a:xfrm>
              <a:off x="1800808" y="1987419"/>
              <a:ext cx="2136710" cy="2654567"/>
            </a:xfrm>
            <a:prstGeom prst="rect">
              <a:avLst/>
            </a:prstGeom>
            <a:noFill/>
            <a:ln>
              <a:noFill/>
            </a:ln>
          </p:spPr>
          <p:txBody>
            <a:bodyPr wrap="square" rtlCol="0">
              <a:spAutoFit/>
            </a:bodyPr>
            <a:lstStyle/>
            <a:p>
              <a:pPr defTabSz="914400"/>
              <a:r>
                <a:rPr lang="en-US" sz="1600" dirty="0" smtClean="0">
                  <a:solidFill>
                    <a:srgbClr val="FF0000"/>
                  </a:solidFill>
                </a:rPr>
                <a:t>Model with </a:t>
              </a:r>
              <a:r>
                <a:rPr lang="en-US" sz="1600" i="1" dirty="0" smtClean="0">
                  <a:solidFill>
                    <a:srgbClr val="FF0000"/>
                  </a:solidFill>
                </a:rPr>
                <a:t>“Big Data” </a:t>
              </a:r>
              <a:r>
                <a:rPr lang="en-US" sz="1600" dirty="0" smtClean="0">
                  <a:solidFill>
                    <a:srgbClr val="FF0000"/>
                  </a:solidFill>
                </a:rPr>
                <a:t>and hundreds -- thousands of input variables including:</a:t>
              </a:r>
            </a:p>
            <a:p>
              <a:pPr marL="156579" indent="-156579" defTabSz="914400">
                <a:buFont typeface="Arial" pitchFamily="34" charset="0"/>
                <a:buChar char="•"/>
              </a:pPr>
              <a:r>
                <a:rPr lang="en-US" sz="1600" i="1" dirty="0" smtClean="0">
                  <a:solidFill>
                    <a:srgbClr val="FF0000"/>
                  </a:solidFill>
                </a:rPr>
                <a:t>Demographic data</a:t>
              </a:r>
            </a:p>
            <a:p>
              <a:pPr marL="156579" indent="-156579" defTabSz="914400">
                <a:buFont typeface="Arial" pitchFamily="34" charset="0"/>
                <a:buChar char="•"/>
              </a:pPr>
              <a:r>
                <a:rPr lang="en-US" sz="1600" i="1" dirty="0" smtClean="0">
                  <a:solidFill>
                    <a:srgbClr val="FF0000"/>
                  </a:solidFill>
                </a:rPr>
                <a:t>Purchase POS transactional data</a:t>
              </a:r>
            </a:p>
            <a:p>
              <a:pPr marL="156579" indent="-156579" defTabSz="914400">
                <a:buFont typeface="Arial" pitchFamily="34" charset="0"/>
                <a:buChar char="•"/>
              </a:pPr>
              <a:r>
                <a:rPr lang="en-US" sz="1600" i="1" dirty="0" smtClean="0">
                  <a:solidFill>
                    <a:srgbClr val="FF0000"/>
                  </a:solidFill>
                </a:rPr>
                <a:t>“Unstructured data”, text &amp; comments</a:t>
              </a:r>
            </a:p>
            <a:p>
              <a:pPr marL="156579" indent="-156579" defTabSz="914400">
                <a:buFont typeface="Arial" pitchFamily="34" charset="0"/>
                <a:buChar char="•"/>
              </a:pPr>
              <a:r>
                <a:rPr lang="en-US" sz="1600" i="1" dirty="0" smtClean="0">
                  <a:solidFill>
                    <a:srgbClr val="FF0000"/>
                  </a:solidFill>
                </a:rPr>
                <a:t>Spatial location data</a:t>
              </a:r>
            </a:p>
            <a:p>
              <a:pPr marL="156579" indent="-156579" defTabSz="914400">
                <a:buFont typeface="Arial" pitchFamily="34" charset="0"/>
                <a:buChar char="•"/>
              </a:pPr>
              <a:r>
                <a:rPr lang="en-US" sz="1600" i="1" dirty="0" smtClean="0">
                  <a:solidFill>
                    <a:srgbClr val="FF0000"/>
                  </a:solidFill>
                </a:rPr>
                <a:t>Long term vs. recent historical behavior</a:t>
              </a:r>
            </a:p>
            <a:p>
              <a:pPr marL="156579" indent="-156579" defTabSz="914400">
                <a:buFont typeface="Arial" pitchFamily="34" charset="0"/>
                <a:buChar char="•"/>
              </a:pPr>
              <a:r>
                <a:rPr lang="en-US" sz="1600" i="1" dirty="0" smtClean="0">
                  <a:solidFill>
                    <a:srgbClr val="FF0000"/>
                  </a:solidFill>
                </a:rPr>
                <a:t>Web visits</a:t>
              </a:r>
            </a:p>
            <a:p>
              <a:pPr marL="156579" indent="-156579" defTabSz="914400">
                <a:buFont typeface="Arial" pitchFamily="34" charset="0"/>
                <a:buChar char="•"/>
              </a:pPr>
              <a:r>
                <a:rPr lang="en-US" sz="1600" i="1" dirty="0" smtClean="0">
                  <a:solidFill>
                    <a:srgbClr val="FF0000"/>
                  </a:solidFill>
                </a:rPr>
                <a:t>Sensor data</a:t>
              </a:r>
            </a:p>
            <a:p>
              <a:pPr marL="156579" indent="-156579" defTabSz="914400">
                <a:buFont typeface="Arial" pitchFamily="34" charset="0"/>
                <a:buChar char="•"/>
              </a:pPr>
              <a:r>
                <a:rPr lang="en-US" sz="1600" i="1" dirty="0" smtClean="0">
                  <a:solidFill>
                    <a:srgbClr val="FF0000"/>
                  </a:solidFill>
                </a:rPr>
                <a:t>etc.</a:t>
              </a:r>
            </a:p>
          </p:txBody>
        </p:sp>
        <p:cxnSp>
          <p:nvCxnSpPr>
            <p:cNvPr id="45" name="Straight Arrow Connector 44"/>
            <p:cNvCxnSpPr>
              <a:stCxn id="44" idx="0"/>
            </p:cNvCxnSpPr>
            <p:nvPr/>
          </p:nvCxnSpPr>
          <p:spPr>
            <a:xfrm flipV="1">
              <a:off x="2869163" y="1502884"/>
              <a:ext cx="1422180" cy="484535"/>
            </a:xfrm>
            <a:prstGeom prst="straightConnector1">
              <a:avLst/>
            </a:prstGeom>
            <a:ln w="19050">
              <a:solidFill>
                <a:schemeClr val="accent1"/>
              </a:solidFill>
              <a:tailEnd type="arrow"/>
            </a:ln>
          </p:spPr>
          <p:style>
            <a:lnRef idx="1">
              <a:schemeClr val="accent1"/>
            </a:lnRef>
            <a:fillRef idx="0">
              <a:schemeClr val="accent1"/>
            </a:fillRef>
            <a:effectRef idx="0">
              <a:schemeClr val="accent1"/>
            </a:effectRef>
            <a:fontRef idx="minor">
              <a:schemeClr val="tx1"/>
            </a:fontRef>
          </p:style>
        </p:cxnSp>
      </p:grpSp>
      <p:sp>
        <p:nvSpPr>
          <p:cNvPr id="57" name="TextBox 56"/>
          <p:cNvSpPr txBox="1"/>
          <p:nvPr/>
        </p:nvSpPr>
        <p:spPr>
          <a:xfrm>
            <a:off x="5166604" y="1207137"/>
            <a:ext cx="678990" cy="353921"/>
          </a:xfrm>
          <a:prstGeom prst="rect">
            <a:avLst/>
          </a:prstGeom>
          <a:noFill/>
        </p:spPr>
        <p:txBody>
          <a:bodyPr wrap="none" lIns="121877" tIns="60939" rIns="121877" bIns="60939" rtlCol="0">
            <a:spAutoFit/>
          </a:bodyPr>
          <a:lstStyle/>
          <a:p>
            <a:pPr defTabSz="914400"/>
            <a:r>
              <a:rPr lang="en-US" sz="1500" b="1" dirty="0" smtClean="0">
                <a:solidFill>
                  <a:srgbClr val="7F7F7F"/>
                </a:solidFill>
              </a:rPr>
              <a:t>100%</a:t>
            </a:r>
          </a:p>
        </p:txBody>
      </p:sp>
    </p:spTree>
    <p:extLst>
      <p:ext uri="{BB962C8B-B14F-4D97-AF65-F5344CB8AC3E}">
        <p14:creationId xmlns:p14="http://schemas.microsoft.com/office/powerpoint/2010/main" val="2496994347"/>
      </p:ext>
    </p:extLst>
  </p:cSld>
  <p:clrMapOvr>
    <a:masterClrMapping/>
  </p:clrMapOvr>
  <p:transition spd="med"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Rectangle 201"/>
          <p:cNvSpPr/>
          <p:nvPr/>
        </p:nvSpPr>
        <p:spPr>
          <a:xfrm>
            <a:off x="9916157" y="1854203"/>
            <a:ext cx="1752144" cy="800099"/>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solidFill>
                <a:prstClr val="white"/>
              </a:solidFill>
            </a:endParaRPr>
          </a:p>
        </p:txBody>
      </p:sp>
      <p:sp>
        <p:nvSpPr>
          <p:cNvPr id="203" name="Rectangle 202"/>
          <p:cNvSpPr/>
          <p:nvPr/>
        </p:nvSpPr>
        <p:spPr>
          <a:xfrm>
            <a:off x="9916157" y="2705103"/>
            <a:ext cx="1752144" cy="800099"/>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solidFill>
                <a:prstClr val="white"/>
              </a:solidFill>
            </a:endParaRPr>
          </a:p>
        </p:txBody>
      </p:sp>
      <p:sp>
        <p:nvSpPr>
          <p:cNvPr id="204" name="Rectangle 203"/>
          <p:cNvSpPr/>
          <p:nvPr/>
        </p:nvSpPr>
        <p:spPr>
          <a:xfrm>
            <a:off x="9916157" y="3556001"/>
            <a:ext cx="1752144" cy="7747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solidFill>
                <a:prstClr val="white"/>
              </a:solidFill>
            </a:endParaRPr>
          </a:p>
        </p:txBody>
      </p:sp>
      <p:sp>
        <p:nvSpPr>
          <p:cNvPr id="205" name="Rectangle 204"/>
          <p:cNvSpPr/>
          <p:nvPr/>
        </p:nvSpPr>
        <p:spPr>
          <a:xfrm>
            <a:off x="9916157" y="4381502"/>
            <a:ext cx="1752144" cy="7620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solidFill>
                <a:prstClr val="white"/>
              </a:solidFill>
            </a:endParaRPr>
          </a:p>
        </p:txBody>
      </p:sp>
      <p:sp>
        <p:nvSpPr>
          <p:cNvPr id="206" name="Rectangle 205"/>
          <p:cNvSpPr/>
          <p:nvPr/>
        </p:nvSpPr>
        <p:spPr>
          <a:xfrm>
            <a:off x="9916157" y="5168902"/>
            <a:ext cx="1752144" cy="7874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solidFill>
                <a:prstClr val="white"/>
              </a:solidFill>
            </a:endParaRPr>
          </a:p>
        </p:txBody>
      </p:sp>
      <p:sp>
        <p:nvSpPr>
          <p:cNvPr id="201" name="Rectangle 200"/>
          <p:cNvSpPr/>
          <p:nvPr/>
        </p:nvSpPr>
        <p:spPr>
          <a:xfrm>
            <a:off x="9916157" y="1054101"/>
            <a:ext cx="1752144" cy="7493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solidFill>
                <a:prstClr val="white"/>
              </a:solidFill>
            </a:endParaRPr>
          </a:p>
        </p:txBody>
      </p:sp>
      <p:sp>
        <p:nvSpPr>
          <p:cNvPr id="696" name="Content Placeholder 695"/>
          <p:cNvSpPr>
            <a:spLocks noGrp="1"/>
          </p:cNvSpPr>
          <p:nvPr>
            <p:ph sz="quarter" idx="12"/>
          </p:nvPr>
        </p:nvSpPr>
        <p:spPr>
          <a:xfrm>
            <a:off x="1072185" y="1193801"/>
            <a:ext cx="8691572" cy="4779443"/>
          </a:xfrm>
        </p:spPr>
        <p:txBody>
          <a:bodyPr/>
          <a:lstStyle/>
          <a:p>
            <a:pPr marL="609493" lvl="1" indent="-148141">
              <a:buClr>
                <a:schemeClr val="accent1"/>
              </a:buClr>
              <a:buFont typeface="Arial" pitchFamily="34" charset="0"/>
              <a:buChar char="•"/>
            </a:pPr>
            <a:endParaRPr lang="hr-HR" sz="2800" dirty="0" smtClean="0"/>
          </a:p>
          <a:p>
            <a:pPr marL="609493" lvl="1" indent="-148141">
              <a:buClr>
                <a:schemeClr val="accent1"/>
              </a:buClr>
              <a:buFont typeface="Arial" pitchFamily="34" charset="0"/>
              <a:buChar char="•"/>
            </a:pPr>
            <a:r>
              <a:rPr lang="en-US" sz="2800" dirty="0" smtClean="0"/>
              <a:t>Identify most important factor </a:t>
            </a:r>
            <a:r>
              <a:rPr lang="en-US" sz="2000" i="1" dirty="0" smtClean="0">
                <a:solidFill>
                  <a:schemeClr val="bg2">
                    <a:lumMod val="75000"/>
                  </a:schemeClr>
                </a:solidFill>
              </a:rPr>
              <a:t>(Attribute Importance)</a:t>
            </a:r>
            <a:endParaRPr lang="en-US" sz="2800" i="1" dirty="0" smtClean="0">
              <a:solidFill>
                <a:schemeClr val="bg2">
                  <a:lumMod val="75000"/>
                </a:schemeClr>
              </a:solidFill>
            </a:endParaRPr>
          </a:p>
          <a:p>
            <a:pPr marL="609493" lvl="1" indent="-148141">
              <a:buClr>
                <a:schemeClr val="accent1"/>
              </a:buClr>
              <a:buFont typeface="Arial" pitchFamily="34" charset="0"/>
              <a:buChar char="•"/>
            </a:pPr>
            <a:r>
              <a:rPr lang="en-US" sz="2800" dirty="0" smtClean="0"/>
              <a:t>Predict customer behavior </a:t>
            </a:r>
            <a:r>
              <a:rPr lang="en-US" sz="2000" i="1" dirty="0" smtClean="0">
                <a:solidFill>
                  <a:schemeClr val="bg2">
                    <a:lumMod val="75000"/>
                  </a:schemeClr>
                </a:solidFill>
              </a:rPr>
              <a:t>(Classification) </a:t>
            </a:r>
          </a:p>
          <a:p>
            <a:pPr marL="609493" lvl="1" indent="-148141">
              <a:buClr>
                <a:schemeClr val="accent1"/>
              </a:buClr>
              <a:buFont typeface="Arial" pitchFamily="34" charset="0"/>
              <a:buChar char="•"/>
            </a:pPr>
            <a:r>
              <a:rPr lang="en-US" sz="2800" dirty="0" smtClean="0"/>
              <a:t>Predict or estimate a value </a:t>
            </a:r>
            <a:r>
              <a:rPr lang="en-US" sz="2000" i="1" dirty="0" smtClean="0">
                <a:solidFill>
                  <a:schemeClr val="bg2">
                    <a:lumMod val="75000"/>
                  </a:schemeClr>
                </a:solidFill>
              </a:rPr>
              <a:t>(Regression) </a:t>
            </a:r>
          </a:p>
          <a:p>
            <a:pPr marL="609493" lvl="1" indent="-148141">
              <a:buClr>
                <a:schemeClr val="accent1"/>
              </a:buClr>
              <a:buFont typeface="Arial" pitchFamily="34" charset="0"/>
              <a:buChar char="•"/>
            </a:pPr>
            <a:r>
              <a:rPr lang="en-US" sz="2800" dirty="0" smtClean="0"/>
              <a:t>Find profiles of targeted people or items</a:t>
            </a:r>
            <a:r>
              <a:rPr lang="en-US" sz="2800" i="1" dirty="0" smtClean="0"/>
              <a:t> </a:t>
            </a:r>
            <a:r>
              <a:rPr lang="en-US" sz="2000" i="1" dirty="0" smtClean="0">
                <a:solidFill>
                  <a:schemeClr val="bg2">
                    <a:lumMod val="75000"/>
                  </a:schemeClr>
                </a:solidFill>
              </a:rPr>
              <a:t>(Decision Trees)</a:t>
            </a:r>
          </a:p>
          <a:p>
            <a:pPr marL="609493" lvl="1" indent="-148141">
              <a:buClr>
                <a:schemeClr val="accent1"/>
              </a:buClr>
              <a:buFont typeface="Arial" pitchFamily="34" charset="0"/>
              <a:buChar char="•"/>
            </a:pPr>
            <a:r>
              <a:rPr lang="en-US" sz="2800" dirty="0" smtClean="0"/>
              <a:t>Segment a population </a:t>
            </a:r>
            <a:r>
              <a:rPr lang="en-US" sz="2000" i="1" dirty="0" smtClean="0">
                <a:solidFill>
                  <a:schemeClr val="bg2">
                    <a:lumMod val="75000"/>
                  </a:schemeClr>
                </a:solidFill>
              </a:rPr>
              <a:t>(Clustering)</a:t>
            </a:r>
          </a:p>
          <a:p>
            <a:pPr marL="609493" lvl="1" indent="-148141">
              <a:buClr>
                <a:schemeClr val="accent1"/>
              </a:buClr>
              <a:buFont typeface="Arial" pitchFamily="34" charset="0"/>
              <a:buChar char="•"/>
            </a:pPr>
            <a:r>
              <a:rPr lang="en-US" sz="2800" dirty="0" smtClean="0"/>
              <a:t>Find fraudulent or “rare events”</a:t>
            </a:r>
            <a:r>
              <a:rPr lang="en-US" sz="2800" i="1" dirty="0" smtClean="0"/>
              <a:t> </a:t>
            </a:r>
            <a:r>
              <a:rPr lang="en-US" sz="2000" i="1" dirty="0" smtClean="0">
                <a:solidFill>
                  <a:schemeClr val="bg2">
                    <a:lumMod val="75000"/>
                  </a:schemeClr>
                </a:solidFill>
              </a:rPr>
              <a:t>(Anomaly Detection)</a:t>
            </a:r>
          </a:p>
          <a:p>
            <a:pPr marL="609493" lvl="1" indent="-148141">
              <a:buClr>
                <a:schemeClr val="accent1"/>
              </a:buClr>
              <a:buFont typeface="Arial" pitchFamily="34" charset="0"/>
              <a:buChar char="•"/>
            </a:pPr>
            <a:r>
              <a:rPr lang="en-US" sz="2800" dirty="0" smtClean="0"/>
              <a:t>Determine co-occurring items in a “baskets” </a:t>
            </a:r>
            <a:r>
              <a:rPr lang="en-US" sz="2000" i="1" dirty="0" smtClean="0">
                <a:solidFill>
                  <a:schemeClr val="bg2">
                    <a:lumMod val="75000"/>
                  </a:schemeClr>
                </a:solidFill>
              </a:rPr>
              <a:t>(Associations)</a:t>
            </a:r>
            <a:endParaRPr lang="en-US" sz="1900" i="1" dirty="0" smtClean="0">
              <a:solidFill>
                <a:schemeClr val="bg2">
                  <a:lumMod val="75000"/>
                </a:schemeClr>
              </a:solidFill>
            </a:endParaRPr>
          </a:p>
          <a:p>
            <a:endParaRPr lang="en-US" dirty="0"/>
          </a:p>
        </p:txBody>
      </p:sp>
      <p:sp>
        <p:nvSpPr>
          <p:cNvPr id="3273730" name="Rectangle 2"/>
          <p:cNvSpPr>
            <a:spLocks noGrp="1" noChangeArrowheads="1"/>
          </p:cNvSpPr>
          <p:nvPr>
            <p:ph type="title"/>
          </p:nvPr>
        </p:nvSpPr>
        <p:spPr>
          <a:xfrm>
            <a:off x="912812" y="545722"/>
            <a:ext cx="10969924" cy="726716"/>
          </a:xfrm>
        </p:spPr>
        <p:txBody>
          <a:bodyPr anchor="t" anchorCtr="0"/>
          <a:lstStyle/>
          <a:p>
            <a:r>
              <a:rPr lang="hr-HR" dirty="0" err="1" smtClean="0"/>
              <a:t>Other</a:t>
            </a:r>
            <a:r>
              <a:rPr lang="hr-HR" dirty="0" smtClean="0"/>
              <a:t> </a:t>
            </a:r>
            <a:r>
              <a:rPr lang="hr-HR" dirty="0" err="1" smtClean="0"/>
              <a:t>models</a:t>
            </a:r>
            <a:endParaRPr lang="en-US" dirty="0"/>
          </a:p>
        </p:txBody>
      </p:sp>
      <p:grpSp>
        <p:nvGrpSpPr>
          <p:cNvPr id="2" name="Group 40"/>
          <p:cNvGrpSpPr>
            <a:grpSpLocks/>
          </p:cNvGrpSpPr>
          <p:nvPr/>
        </p:nvGrpSpPr>
        <p:grpSpPr bwMode="auto">
          <a:xfrm>
            <a:off x="10189137" y="1110703"/>
            <a:ext cx="1462726" cy="650815"/>
            <a:chOff x="3168" y="816"/>
            <a:chExt cx="2356" cy="908"/>
          </a:xfrm>
        </p:grpSpPr>
        <p:sp>
          <p:nvSpPr>
            <p:cNvPr id="464" name="Line 41"/>
            <p:cNvSpPr>
              <a:spLocks noChangeShapeType="1"/>
            </p:cNvSpPr>
            <p:nvPr/>
          </p:nvSpPr>
          <p:spPr bwMode="auto">
            <a:xfrm flipV="1">
              <a:off x="4006" y="1373"/>
              <a:ext cx="295" cy="0"/>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465" name="Oval 42"/>
            <p:cNvSpPr>
              <a:spLocks noChangeArrowheads="1"/>
            </p:cNvSpPr>
            <p:nvPr/>
          </p:nvSpPr>
          <p:spPr bwMode="auto">
            <a:xfrm>
              <a:off x="4482" y="1406"/>
              <a:ext cx="99" cy="98"/>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66" name="Oval 43"/>
            <p:cNvSpPr>
              <a:spLocks noChangeArrowheads="1"/>
            </p:cNvSpPr>
            <p:nvPr/>
          </p:nvSpPr>
          <p:spPr bwMode="auto">
            <a:xfrm>
              <a:off x="4482" y="1209"/>
              <a:ext cx="99" cy="99"/>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67" name="Oval 44"/>
            <p:cNvSpPr>
              <a:spLocks noChangeArrowheads="1"/>
            </p:cNvSpPr>
            <p:nvPr/>
          </p:nvSpPr>
          <p:spPr bwMode="auto">
            <a:xfrm>
              <a:off x="4482" y="1308"/>
              <a:ext cx="99" cy="98"/>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68" name="AutoShape 45"/>
            <p:cNvSpPr>
              <a:spLocks noChangeArrowheads="1"/>
            </p:cNvSpPr>
            <p:nvPr/>
          </p:nvSpPr>
          <p:spPr bwMode="auto">
            <a:xfrm>
              <a:off x="4351" y="1406"/>
              <a:ext cx="98" cy="98"/>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69" name="AutoShape 46"/>
            <p:cNvSpPr>
              <a:spLocks noChangeArrowheads="1"/>
            </p:cNvSpPr>
            <p:nvPr/>
          </p:nvSpPr>
          <p:spPr bwMode="auto">
            <a:xfrm>
              <a:off x="4351" y="1308"/>
              <a:ext cx="98" cy="98"/>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0" name="AutoShape 47"/>
            <p:cNvSpPr>
              <a:spLocks noChangeArrowheads="1"/>
            </p:cNvSpPr>
            <p:nvPr/>
          </p:nvSpPr>
          <p:spPr bwMode="auto">
            <a:xfrm>
              <a:off x="4351" y="1111"/>
              <a:ext cx="98" cy="98"/>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1" name="AutoShape 48"/>
            <p:cNvSpPr>
              <a:spLocks noChangeArrowheads="1"/>
            </p:cNvSpPr>
            <p:nvPr/>
          </p:nvSpPr>
          <p:spPr bwMode="auto">
            <a:xfrm>
              <a:off x="4351" y="1209"/>
              <a:ext cx="98" cy="99"/>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2" name="AutoShape 49"/>
            <p:cNvSpPr>
              <a:spLocks noChangeArrowheads="1"/>
            </p:cNvSpPr>
            <p:nvPr/>
          </p:nvSpPr>
          <p:spPr bwMode="auto">
            <a:xfrm>
              <a:off x="4351" y="1013"/>
              <a:ext cx="98" cy="98"/>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3" name="Rectangle 50"/>
            <p:cNvSpPr>
              <a:spLocks noChangeArrowheads="1"/>
            </p:cNvSpPr>
            <p:nvPr/>
          </p:nvSpPr>
          <p:spPr bwMode="auto">
            <a:xfrm>
              <a:off x="3595" y="1308"/>
              <a:ext cx="99" cy="98"/>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4" name="AutoShape 51"/>
            <p:cNvSpPr>
              <a:spLocks noChangeArrowheads="1"/>
            </p:cNvSpPr>
            <p:nvPr/>
          </p:nvSpPr>
          <p:spPr bwMode="auto">
            <a:xfrm>
              <a:off x="3661" y="1177"/>
              <a:ext cx="98" cy="98"/>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5" name="AutoShape 52"/>
            <p:cNvSpPr>
              <a:spLocks noChangeArrowheads="1"/>
            </p:cNvSpPr>
            <p:nvPr/>
          </p:nvSpPr>
          <p:spPr bwMode="auto">
            <a:xfrm>
              <a:off x="3595" y="1078"/>
              <a:ext cx="99" cy="99"/>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6" name="Oval 53"/>
            <p:cNvSpPr>
              <a:spLocks noChangeArrowheads="1"/>
            </p:cNvSpPr>
            <p:nvPr/>
          </p:nvSpPr>
          <p:spPr bwMode="auto">
            <a:xfrm>
              <a:off x="3924" y="1308"/>
              <a:ext cx="98" cy="98"/>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77" name="AutoShape 54"/>
            <p:cNvSpPr>
              <a:spLocks noChangeArrowheads="1"/>
            </p:cNvSpPr>
            <p:nvPr/>
          </p:nvSpPr>
          <p:spPr bwMode="auto">
            <a:xfrm>
              <a:off x="3431" y="1177"/>
              <a:ext cx="98" cy="98"/>
            </a:xfrm>
            <a:prstGeom prst="parallelogram">
              <a:avLst>
                <a:gd name="adj" fmla="val 25000"/>
              </a:avLst>
            </a:prstGeom>
            <a:solidFill>
              <a:srgbClr val="FF7373"/>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8" name="AutoShape 55"/>
            <p:cNvSpPr>
              <a:spLocks noChangeArrowheads="1"/>
            </p:cNvSpPr>
            <p:nvPr/>
          </p:nvSpPr>
          <p:spPr bwMode="auto">
            <a:xfrm>
              <a:off x="3398" y="1013"/>
              <a:ext cx="98" cy="98"/>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79" name="Rectangle 56"/>
            <p:cNvSpPr>
              <a:spLocks noChangeArrowheads="1"/>
            </p:cNvSpPr>
            <p:nvPr/>
          </p:nvSpPr>
          <p:spPr bwMode="auto">
            <a:xfrm>
              <a:off x="3431" y="1373"/>
              <a:ext cx="98" cy="99"/>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80" name="Oval 57"/>
            <p:cNvSpPr>
              <a:spLocks noChangeArrowheads="1"/>
            </p:cNvSpPr>
            <p:nvPr/>
          </p:nvSpPr>
          <p:spPr bwMode="auto">
            <a:xfrm>
              <a:off x="3759" y="1275"/>
              <a:ext cx="99" cy="98"/>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81" name="Oval 58"/>
            <p:cNvSpPr>
              <a:spLocks noChangeArrowheads="1"/>
            </p:cNvSpPr>
            <p:nvPr/>
          </p:nvSpPr>
          <p:spPr bwMode="auto">
            <a:xfrm>
              <a:off x="3661" y="1439"/>
              <a:ext cx="98" cy="98"/>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82" name="Oval 59"/>
            <p:cNvSpPr>
              <a:spLocks noChangeArrowheads="1"/>
            </p:cNvSpPr>
            <p:nvPr/>
          </p:nvSpPr>
          <p:spPr bwMode="auto">
            <a:xfrm>
              <a:off x="3759" y="1078"/>
              <a:ext cx="99" cy="99"/>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83" name="AutoShape 60"/>
            <p:cNvSpPr>
              <a:spLocks noChangeArrowheads="1"/>
            </p:cNvSpPr>
            <p:nvPr/>
          </p:nvSpPr>
          <p:spPr bwMode="auto">
            <a:xfrm>
              <a:off x="3365" y="1275"/>
              <a:ext cx="99" cy="98"/>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84" name="AutoShape 61"/>
            <p:cNvSpPr>
              <a:spLocks noChangeArrowheads="1"/>
            </p:cNvSpPr>
            <p:nvPr/>
          </p:nvSpPr>
          <p:spPr bwMode="auto">
            <a:xfrm>
              <a:off x="3792" y="1406"/>
              <a:ext cx="99" cy="98"/>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85" name="AutoShape 62"/>
            <p:cNvSpPr>
              <a:spLocks noChangeArrowheads="1"/>
            </p:cNvSpPr>
            <p:nvPr/>
          </p:nvSpPr>
          <p:spPr bwMode="auto">
            <a:xfrm>
              <a:off x="3891" y="1045"/>
              <a:ext cx="98" cy="99"/>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86" name="AutoShape 63"/>
            <p:cNvSpPr>
              <a:spLocks noChangeArrowheads="1"/>
            </p:cNvSpPr>
            <p:nvPr/>
          </p:nvSpPr>
          <p:spPr bwMode="auto">
            <a:xfrm>
              <a:off x="3661" y="947"/>
              <a:ext cx="98" cy="98"/>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87" name="Oval 64"/>
            <p:cNvSpPr>
              <a:spLocks noChangeArrowheads="1"/>
            </p:cNvSpPr>
            <p:nvPr/>
          </p:nvSpPr>
          <p:spPr bwMode="auto">
            <a:xfrm>
              <a:off x="3529" y="980"/>
              <a:ext cx="99" cy="98"/>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88" name="Oval 65"/>
            <p:cNvSpPr>
              <a:spLocks noChangeArrowheads="1"/>
            </p:cNvSpPr>
            <p:nvPr/>
          </p:nvSpPr>
          <p:spPr bwMode="auto">
            <a:xfrm>
              <a:off x="3891" y="1209"/>
              <a:ext cx="98" cy="99"/>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89" name="Oval 66"/>
            <p:cNvSpPr>
              <a:spLocks noChangeArrowheads="1"/>
            </p:cNvSpPr>
            <p:nvPr/>
          </p:nvSpPr>
          <p:spPr bwMode="auto">
            <a:xfrm>
              <a:off x="3562" y="1193"/>
              <a:ext cx="99" cy="98"/>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90" name="Oval 67"/>
            <p:cNvSpPr>
              <a:spLocks noChangeArrowheads="1"/>
            </p:cNvSpPr>
            <p:nvPr/>
          </p:nvSpPr>
          <p:spPr bwMode="auto">
            <a:xfrm>
              <a:off x="3299" y="1111"/>
              <a:ext cx="99" cy="98"/>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91" name="AutoShape 68"/>
            <p:cNvSpPr>
              <a:spLocks noChangeArrowheads="1"/>
            </p:cNvSpPr>
            <p:nvPr/>
          </p:nvSpPr>
          <p:spPr bwMode="auto">
            <a:xfrm>
              <a:off x="3562" y="1406"/>
              <a:ext cx="99" cy="98"/>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92" name="Rectangle 69"/>
            <p:cNvSpPr>
              <a:spLocks noChangeArrowheads="1"/>
            </p:cNvSpPr>
            <p:nvPr/>
          </p:nvSpPr>
          <p:spPr bwMode="auto">
            <a:xfrm>
              <a:off x="4613" y="1406"/>
              <a:ext cx="99" cy="98"/>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93" name="Rectangle 70"/>
            <p:cNvSpPr>
              <a:spLocks noChangeArrowheads="1"/>
            </p:cNvSpPr>
            <p:nvPr/>
          </p:nvSpPr>
          <p:spPr bwMode="auto">
            <a:xfrm>
              <a:off x="4613" y="1308"/>
              <a:ext cx="99" cy="98"/>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94" name="AutoShape 71"/>
            <p:cNvSpPr>
              <a:spLocks noChangeArrowheads="1"/>
            </p:cNvSpPr>
            <p:nvPr/>
          </p:nvSpPr>
          <p:spPr bwMode="auto">
            <a:xfrm>
              <a:off x="4745" y="1406"/>
              <a:ext cx="98" cy="98"/>
            </a:xfrm>
            <a:prstGeom prst="parallelogram">
              <a:avLst>
                <a:gd name="adj" fmla="val 25000"/>
              </a:avLst>
            </a:prstGeom>
            <a:solidFill>
              <a:srgbClr val="FF7373"/>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95" name="AutoShape 72"/>
            <p:cNvSpPr>
              <a:spLocks noChangeArrowheads="1"/>
            </p:cNvSpPr>
            <p:nvPr/>
          </p:nvSpPr>
          <p:spPr bwMode="auto">
            <a:xfrm>
              <a:off x="4876" y="1406"/>
              <a:ext cx="99" cy="98"/>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96" name="Oval 73"/>
            <p:cNvSpPr>
              <a:spLocks noChangeArrowheads="1"/>
            </p:cNvSpPr>
            <p:nvPr/>
          </p:nvSpPr>
          <p:spPr bwMode="auto">
            <a:xfrm>
              <a:off x="5008" y="1406"/>
              <a:ext cx="98" cy="98"/>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97" name="Oval 74"/>
            <p:cNvSpPr>
              <a:spLocks noChangeArrowheads="1"/>
            </p:cNvSpPr>
            <p:nvPr/>
          </p:nvSpPr>
          <p:spPr bwMode="auto">
            <a:xfrm>
              <a:off x="5139" y="1406"/>
              <a:ext cx="99" cy="98"/>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498" name="AutoShape 75"/>
            <p:cNvSpPr>
              <a:spLocks noChangeArrowheads="1"/>
            </p:cNvSpPr>
            <p:nvPr/>
          </p:nvSpPr>
          <p:spPr bwMode="auto">
            <a:xfrm>
              <a:off x="4351" y="914"/>
              <a:ext cx="98" cy="99"/>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99" name="AutoShape 76"/>
            <p:cNvSpPr>
              <a:spLocks noChangeArrowheads="1"/>
            </p:cNvSpPr>
            <p:nvPr/>
          </p:nvSpPr>
          <p:spPr bwMode="auto">
            <a:xfrm>
              <a:off x="4351" y="816"/>
              <a:ext cx="98" cy="98"/>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00" name="Oval 77"/>
            <p:cNvSpPr>
              <a:spLocks noChangeArrowheads="1"/>
            </p:cNvSpPr>
            <p:nvPr/>
          </p:nvSpPr>
          <p:spPr bwMode="auto">
            <a:xfrm>
              <a:off x="4482" y="1111"/>
              <a:ext cx="99" cy="98"/>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01" name="Oval 78"/>
            <p:cNvSpPr>
              <a:spLocks noChangeArrowheads="1"/>
            </p:cNvSpPr>
            <p:nvPr/>
          </p:nvSpPr>
          <p:spPr bwMode="auto">
            <a:xfrm>
              <a:off x="3234" y="1406"/>
              <a:ext cx="98" cy="98"/>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02" name="Oval 79"/>
            <p:cNvSpPr>
              <a:spLocks noChangeArrowheads="1"/>
            </p:cNvSpPr>
            <p:nvPr/>
          </p:nvSpPr>
          <p:spPr bwMode="auto">
            <a:xfrm>
              <a:off x="3267" y="947"/>
              <a:ext cx="98" cy="98"/>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03" name="Oval 80"/>
            <p:cNvSpPr>
              <a:spLocks noChangeArrowheads="1"/>
            </p:cNvSpPr>
            <p:nvPr/>
          </p:nvSpPr>
          <p:spPr bwMode="auto">
            <a:xfrm>
              <a:off x="3168" y="1209"/>
              <a:ext cx="99" cy="99"/>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04" name="Rectangle 81"/>
            <p:cNvSpPr>
              <a:spLocks noChangeArrowheads="1"/>
            </p:cNvSpPr>
            <p:nvPr/>
          </p:nvSpPr>
          <p:spPr bwMode="auto">
            <a:xfrm>
              <a:off x="3792" y="947"/>
              <a:ext cx="99" cy="98"/>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05" name="Text Box 82"/>
            <p:cNvSpPr txBox="1">
              <a:spLocks noChangeArrowheads="1"/>
            </p:cNvSpPr>
            <p:nvPr/>
          </p:nvSpPr>
          <p:spPr bwMode="auto">
            <a:xfrm>
              <a:off x="4310" y="1488"/>
              <a:ext cx="1214" cy="236"/>
            </a:xfrm>
            <a:prstGeom prst="rect">
              <a:avLst/>
            </a:prstGeom>
            <a:noFill/>
            <a:ln w="9525">
              <a:noFill/>
              <a:miter lim="800000"/>
              <a:headEnd/>
              <a:tailEnd/>
            </a:ln>
          </p:spPr>
          <p:txBody>
            <a:bodyPr wrap="none">
              <a:spAutoFit/>
            </a:bodyPr>
            <a:lstStyle/>
            <a:p>
              <a:r>
                <a:rPr lang="en-US" sz="500" dirty="0">
                  <a:solidFill>
                    <a:srgbClr val="000000"/>
                  </a:solidFill>
                  <a:ea typeface="ＭＳ Ｐゴシック" pitchFamily="34" charset="-128"/>
                  <a:cs typeface="Times New Roman" charset="0"/>
                </a:rPr>
                <a:t>A1 A2 A3 A4 A5 A6 A7</a:t>
              </a:r>
            </a:p>
          </p:txBody>
        </p:sp>
      </p:grpSp>
      <p:grpSp>
        <p:nvGrpSpPr>
          <p:cNvPr id="3" name="Group 83"/>
          <p:cNvGrpSpPr>
            <a:grpSpLocks/>
          </p:cNvGrpSpPr>
          <p:nvPr/>
        </p:nvGrpSpPr>
        <p:grpSpPr bwMode="auto">
          <a:xfrm>
            <a:off x="10285452" y="2781303"/>
            <a:ext cx="1066800" cy="584201"/>
            <a:chOff x="4045" y="2880"/>
            <a:chExt cx="864" cy="816"/>
          </a:xfrm>
        </p:grpSpPr>
        <p:sp>
          <p:nvSpPr>
            <p:cNvPr id="507" name="AutoShape 84"/>
            <p:cNvSpPr>
              <a:spLocks noChangeArrowheads="1"/>
            </p:cNvSpPr>
            <p:nvPr/>
          </p:nvSpPr>
          <p:spPr bwMode="auto">
            <a:xfrm>
              <a:off x="4513" y="3362"/>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08" name="AutoShape 85"/>
            <p:cNvSpPr>
              <a:spLocks noChangeArrowheads="1"/>
            </p:cNvSpPr>
            <p:nvPr/>
          </p:nvSpPr>
          <p:spPr bwMode="auto">
            <a:xfrm>
              <a:off x="4765" y="3214"/>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09" name="AutoShape 86"/>
            <p:cNvSpPr>
              <a:spLocks noChangeArrowheads="1"/>
            </p:cNvSpPr>
            <p:nvPr/>
          </p:nvSpPr>
          <p:spPr bwMode="auto">
            <a:xfrm>
              <a:off x="4513" y="3103"/>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10" name="Oval 87"/>
            <p:cNvSpPr>
              <a:spLocks noChangeArrowheads="1"/>
            </p:cNvSpPr>
            <p:nvPr/>
          </p:nvSpPr>
          <p:spPr bwMode="auto">
            <a:xfrm>
              <a:off x="4405" y="3381"/>
              <a:ext cx="108" cy="111"/>
            </a:xfrm>
            <a:prstGeom prst="ellipse">
              <a:avLst/>
            </a:prstGeom>
            <a:noFill/>
            <a:ln w="19050">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11" name="Oval 88"/>
            <p:cNvSpPr>
              <a:spLocks noChangeArrowheads="1"/>
            </p:cNvSpPr>
            <p:nvPr/>
          </p:nvSpPr>
          <p:spPr bwMode="auto">
            <a:xfrm>
              <a:off x="4117" y="3288"/>
              <a:ext cx="108" cy="111"/>
            </a:xfrm>
            <a:prstGeom prst="ellipse">
              <a:avLst/>
            </a:prstGeom>
            <a:noFill/>
            <a:ln w="19050">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12" name="Oval 89"/>
            <p:cNvSpPr>
              <a:spLocks noChangeArrowheads="1"/>
            </p:cNvSpPr>
            <p:nvPr/>
          </p:nvSpPr>
          <p:spPr bwMode="auto">
            <a:xfrm>
              <a:off x="4441" y="3548"/>
              <a:ext cx="108" cy="111"/>
            </a:xfrm>
            <a:prstGeom prst="ellipse">
              <a:avLst/>
            </a:prstGeom>
            <a:noFill/>
            <a:ln w="19050">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13" name="Oval 90"/>
            <p:cNvSpPr>
              <a:spLocks noChangeArrowheads="1"/>
            </p:cNvSpPr>
            <p:nvPr/>
          </p:nvSpPr>
          <p:spPr bwMode="auto">
            <a:xfrm>
              <a:off x="4333" y="3103"/>
              <a:ext cx="108" cy="111"/>
            </a:xfrm>
            <a:prstGeom prst="ellipse">
              <a:avLst/>
            </a:prstGeom>
            <a:noFill/>
            <a:ln w="19050">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14" name="Oval 91"/>
            <p:cNvSpPr>
              <a:spLocks noChangeArrowheads="1"/>
            </p:cNvSpPr>
            <p:nvPr/>
          </p:nvSpPr>
          <p:spPr bwMode="auto">
            <a:xfrm>
              <a:off x="4621" y="3436"/>
              <a:ext cx="108" cy="112"/>
            </a:xfrm>
            <a:prstGeom prst="ellipse">
              <a:avLst/>
            </a:prstGeom>
            <a:noFill/>
            <a:ln w="19050">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15" name="AutoShape 92"/>
            <p:cNvSpPr>
              <a:spLocks noChangeArrowheads="1"/>
            </p:cNvSpPr>
            <p:nvPr/>
          </p:nvSpPr>
          <p:spPr bwMode="auto">
            <a:xfrm>
              <a:off x="4765" y="3381"/>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16" name="AutoShape 93"/>
            <p:cNvSpPr>
              <a:spLocks noChangeArrowheads="1"/>
            </p:cNvSpPr>
            <p:nvPr/>
          </p:nvSpPr>
          <p:spPr bwMode="auto">
            <a:xfrm>
              <a:off x="4657" y="3511"/>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17" name="AutoShape 94"/>
            <p:cNvSpPr>
              <a:spLocks noChangeArrowheads="1"/>
            </p:cNvSpPr>
            <p:nvPr/>
          </p:nvSpPr>
          <p:spPr bwMode="auto">
            <a:xfrm>
              <a:off x="4549" y="3585"/>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18" name="AutoShape 95"/>
            <p:cNvSpPr>
              <a:spLocks noChangeArrowheads="1"/>
            </p:cNvSpPr>
            <p:nvPr/>
          </p:nvSpPr>
          <p:spPr bwMode="auto">
            <a:xfrm>
              <a:off x="4333" y="2880"/>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19" name="AutoShape 96"/>
            <p:cNvSpPr>
              <a:spLocks noChangeArrowheads="1"/>
            </p:cNvSpPr>
            <p:nvPr/>
          </p:nvSpPr>
          <p:spPr bwMode="auto">
            <a:xfrm>
              <a:off x="4045" y="3028"/>
              <a:ext cx="108" cy="112"/>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20" name="AutoShape 97"/>
            <p:cNvSpPr>
              <a:spLocks noChangeArrowheads="1"/>
            </p:cNvSpPr>
            <p:nvPr/>
          </p:nvSpPr>
          <p:spPr bwMode="auto">
            <a:xfrm>
              <a:off x="4621" y="3251"/>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21" name="AutoShape 98"/>
            <p:cNvSpPr>
              <a:spLocks noChangeArrowheads="1"/>
            </p:cNvSpPr>
            <p:nvPr/>
          </p:nvSpPr>
          <p:spPr bwMode="auto">
            <a:xfrm>
              <a:off x="4297" y="3214"/>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22" name="AutoShape 99"/>
            <p:cNvSpPr>
              <a:spLocks noChangeArrowheads="1"/>
            </p:cNvSpPr>
            <p:nvPr/>
          </p:nvSpPr>
          <p:spPr bwMode="auto">
            <a:xfrm>
              <a:off x="4225" y="3436"/>
              <a:ext cx="108" cy="112"/>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23" name="AutoShape 100"/>
            <p:cNvSpPr>
              <a:spLocks noChangeArrowheads="1"/>
            </p:cNvSpPr>
            <p:nvPr/>
          </p:nvSpPr>
          <p:spPr bwMode="auto">
            <a:xfrm>
              <a:off x="4621" y="2954"/>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24" name="AutoShape 101"/>
            <p:cNvSpPr>
              <a:spLocks noChangeArrowheads="1"/>
            </p:cNvSpPr>
            <p:nvPr/>
          </p:nvSpPr>
          <p:spPr bwMode="auto">
            <a:xfrm>
              <a:off x="4801" y="3585"/>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25" name="AutoShape 102"/>
            <p:cNvSpPr>
              <a:spLocks noChangeArrowheads="1"/>
            </p:cNvSpPr>
            <p:nvPr/>
          </p:nvSpPr>
          <p:spPr bwMode="auto">
            <a:xfrm>
              <a:off x="4045" y="3381"/>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26" name="AutoShape 103"/>
            <p:cNvSpPr>
              <a:spLocks noChangeArrowheads="1"/>
            </p:cNvSpPr>
            <p:nvPr/>
          </p:nvSpPr>
          <p:spPr bwMode="auto">
            <a:xfrm>
              <a:off x="4225" y="3585"/>
              <a:ext cx="108" cy="111"/>
            </a:xfrm>
            <a:prstGeom prst="triangle">
              <a:avLst>
                <a:gd name="adj" fmla="val 50000"/>
              </a:avLst>
            </a:prstGeom>
            <a:solidFill>
              <a:srgbClr val="FF3300"/>
            </a:solidFill>
            <a:ln w="19050">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27" name="Freeform 104"/>
            <p:cNvSpPr>
              <a:spLocks/>
            </p:cNvSpPr>
            <p:nvPr/>
          </p:nvSpPr>
          <p:spPr bwMode="auto">
            <a:xfrm>
              <a:off x="4101" y="2991"/>
              <a:ext cx="792" cy="668"/>
            </a:xfrm>
            <a:custGeom>
              <a:avLst/>
              <a:gdLst>
                <a:gd name="T0" fmla="*/ 0 w 1056"/>
                <a:gd name="T1" fmla="*/ 0 h 864"/>
                <a:gd name="T2" fmla="*/ 384 w 1056"/>
                <a:gd name="T3" fmla="*/ 480 h 864"/>
                <a:gd name="T4" fmla="*/ 1056 w 1056"/>
                <a:gd name="T5" fmla="*/ 864 h 864"/>
                <a:gd name="T6" fmla="*/ 0 60000 65536"/>
                <a:gd name="T7" fmla="*/ 0 60000 65536"/>
                <a:gd name="T8" fmla="*/ 0 60000 65536"/>
                <a:gd name="T9" fmla="*/ 0 w 1056"/>
                <a:gd name="T10" fmla="*/ 0 h 864"/>
                <a:gd name="T11" fmla="*/ 1056 w 1056"/>
                <a:gd name="T12" fmla="*/ 864 h 864"/>
              </a:gdLst>
              <a:ahLst/>
              <a:cxnLst>
                <a:cxn ang="T6">
                  <a:pos x="T0" y="T1"/>
                </a:cxn>
                <a:cxn ang="T7">
                  <a:pos x="T2" y="T3"/>
                </a:cxn>
                <a:cxn ang="T8">
                  <a:pos x="T4" y="T5"/>
                </a:cxn>
              </a:cxnLst>
              <a:rect l="T9" t="T10" r="T11" b="T12"/>
              <a:pathLst>
                <a:path w="1056" h="864">
                  <a:moveTo>
                    <a:pt x="0" y="0"/>
                  </a:moveTo>
                  <a:cubicBezTo>
                    <a:pt x="104" y="168"/>
                    <a:pt x="208" y="336"/>
                    <a:pt x="384" y="480"/>
                  </a:cubicBezTo>
                  <a:cubicBezTo>
                    <a:pt x="560" y="624"/>
                    <a:pt x="808" y="744"/>
                    <a:pt x="1056" y="864"/>
                  </a:cubicBezTo>
                </a:path>
              </a:pathLst>
            </a:custGeom>
            <a:noFill/>
            <a:ln w="19050" cmpd="sng">
              <a:solidFill>
                <a:schemeClr val="tx2"/>
              </a:solidFill>
              <a:round/>
              <a:headEnd type="triangle" w="med" len="med"/>
              <a:tailEnd type="triangle" w="med" len="med"/>
            </a:ln>
          </p:spPr>
          <p:txBody>
            <a:bodyPr/>
            <a:lstStyle/>
            <a:p>
              <a:endParaRPr lang="en-US" sz="700" dirty="0">
                <a:solidFill>
                  <a:srgbClr val="000000"/>
                </a:solidFill>
                <a:ea typeface="ＭＳ Ｐゴシック" pitchFamily="34" charset="-128"/>
              </a:endParaRPr>
            </a:p>
          </p:txBody>
        </p:sp>
      </p:grpSp>
      <p:grpSp>
        <p:nvGrpSpPr>
          <p:cNvPr id="4" name="Group 105"/>
          <p:cNvGrpSpPr>
            <a:grpSpLocks/>
          </p:cNvGrpSpPr>
          <p:nvPr/>
        </p:nvGrpSpPr>
        <p:grpSpPr bwMode="auto">
          <a:xfrm>
            <a:off x="10157395" y="1905003"/>
            <a:ext cx="1472818" cy="609600"/>
            <a:chOff x="3024" y="768"/>
            <a:chExt cx="2592" cy="1056"/>
          </a:xfrm>
        </p:grpSpPr>
        <p:sp>
          <p:nvSpPr>
            <p:cNvPr id="529" name="AutoShape 106"/>
            <p:cNvSpPr>
              <a:spLocks noChangeArrowheads="1"/>
            </p:cNvSpPr>
            <p:nvPr/>
          </p:nvSpPr>
          <p:spPr bwMode="auto">
            <a:xfrm>
              <a:off x="3648" y="1392"/>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30" name="AutoShape 107"/>
            <p:cNvSpPr>
              <a:spLocks noChangeArrowheads="1"/>
            </p:cNvSpPr>
            <p:nvPr/>
          </p:nvSpPr>
          <p:spPr bwMode="auto">
            <a:xfrm>
              <a:off x="3984" y="120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31" name="AutoShape 108"/>
            <p:cNvSpPr>
              <a:spLocks noChangeArrowheads="1"/>
            </p:cNvSpPr>
            <p:nvPr/>
          </p:nvSpPr>
          <p:spPr bwMode="auto">
            <a:xfrm>
              <a:off x="3648"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32" name="Oval 109"/>
            <p:cNvSpPr>
              <a:spLocks noChangeArrowheads="1"/>
            </p:cNvSpPr>
            <p:nvPr/>
          </p:nvSpPr>
          <p:spPr bwMode="auto">
            <a:xfrm>
              <a:off x="3504" y="1416"/>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33" name="Oval 110"/>
            <p:cNvSpPr>
              <a:spLocks noChangeArrowheads="1"/>
            </p:cNvSpPr>
            <p:nvPr/>
          </p:nvSpPr>
          <p:spPr bwMode="auto">
            <a:xfrm>
              <a:off x="3120" y="1296"/>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34" name="Line 111"/>
            <p:cNvSpPr>
              <a:spLocks noChangeShapeType="1"/>
            </p:cNvSpPr>
            <p:nvPr/>
          </p:nvSpPr>
          <p:spPr bwMode="auto">
            <a:xfrm flipV="1">
              <a:off x="4152" y="1008"/>
              <a:ext cx="336" cy="144"/>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535" name="Line 112"/>
            <p:cNvSpPr>
              <a:spLocks noChangeShapeType="1"/>
            </p:cNvSpPr>
            <p:nvPr/>
          </p:nvSpPr>
          <p:spPr bwMode="auto">
            <a:xfrm flipV="1">
              <a:off x="4152" y="1488"/>
              <a:ext cx="432" cy="0"/>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536" name="Oval 113"/>
            <p:cNvSpPr>
              <a:spLocks noChangeArrowheads="1"/>
            </p:cNvSpPr>
            <p:nvPr/>
          </p:nvSpPr>
          <p:spPr bwMode="auto">
            <a:xfrm>
              <a:off x="4608"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37" name="Oval 114"/>
            <p:cNvSpPr>
              <a:spLocks noChangeArrowheads="1"/>
            </p:cNvSpPr>
            <p:nvPr/>
          </p:nvSpPr>
          <p:spPr bwMode="auto">
            <a:xfrm>
              <a:off x="5184"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38" name="Oval 115"/>
            <p:cNvSpPr>
              <a:spLocks noChangeArrowheads="1"/>
            </p:cNvSpPr>
            <p:nvPr/>
          </p:nvSpPr>
          <p:spPr bwMode="auto">
            <a:xfrm>
              <a:off x="3552"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39" name="Oval 116"/>
            <p:cNvSpPr>
              <a:spLocks noChangeArrowheads="1"/>
            </p:cNvSpPr>
            <p:nvPr/>
          </p:nvSpPr>
          <p:spPr bwMode="auto">
            <a:xfrm>
              <a:off x="3408" y="1056"/>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40" name="Oval 117"/>
            <p:cNvSpPr>
              <a:spLocks noChangeArrowheads="1"/>
            </p:cNvSpPr>
            <p:nvPr/>
          </p:nvSpPr>
          <p:spPr bwMode="auto">
            <a:xfrm>
              <a:off x="3792" y="1488"/>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41" name="AutoShape 118"/>
            <p:cNvSpPr>
              <a:spLocks noChangeArrowheads="1"/>
            </p:cNvSpPr>
            <p:nvPr/>
          </p:nvSpPr>
          <p:spPr bwMode="auto">
            <a:xfrm>
              <a:off x="3984" y="141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42" name="AutoShape 119"/>
            <p:cNvSpPr>
              <a:spLocks noChangeArrowheads="1"/>
            </p:cNvSpPr>
            <p:nvPr/>
          </p:nvSpPr>
          <p:spPr bwMode="auto">
            <a:xfrm>
              <a:off x="3840" y="158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43" name="AutoShape 120"/>
            <p:cNvSpPr>
              <a:spLocks noChangeArrowheads="1"/>
            </p:cNvSpPr>
            <p:nvPr/>
          </p:nvSpPr>
          <p:spPr bwMode="auto">
            <a:xfrm>
              <a:off x="3696" y="168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44" name="AutoShape 121"/>
            <p:cNvSpPr>
              <a:spLocks noChangeArrowheads="1"/>
            </p:cNvSpPr>
            <p:nvPr/>
          </p:nvSpPr>
          <p:spPr bwMode="auto">
            <a:xfrm>
              <a:off x="3408" y="76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45" name="AutoShape 122"/>
            <p:cNvSpPr>
              <a:spLocks noChangeArrowheads="1"/>
            </p:cNvSpPr>
            <p:nvPr/>
          </p:nvSpPr>
          <p:spPr bwMode="auto">
            <a:xfrm>
              <a:off x="3024" y="96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46" name="AutoShape 123"/>
            <p:cNvSpPr>
              <a:spLocks noChangeArrowheads="1"/>
            </p:cNvSpPr>
            <p:nvPr/>
          </p:nvSpPr>
          <p:spPr bwMode="auto">
            <a:xfrm>
              <a:off x="3792" y="124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47" name="AutoShape 124"/>
            <p:cNvSpPr>
              <a:spLocks noChangeArrowheads="1"/>
            </p:cNvSpPr>
            <p:nvPr/>
          </p:nvSpPr>
          <p:spPr bwMode="auto">
            <a:xfrm>
              <a:off x="3360" y="120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48" name="AutoShape 125"/>
            <p:cNvSpPr>
              <a:spLocks noChangeArrowheads="1"/>
            </p:cNvSpPr>
            <p:nvPr/>
          </p:nvSpPr>
          <p:spPr bwMode="auto">
            <a:xfrm>
              <a:off x="3264" y="148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49" name="AutoShape 126"/>
            <p:cNvSpPr>
              <a:spLocks noChangeArrowheads="1"/>
            </p:cNvSpPr>
            <p:nvPr/>
          </p:nvSpPr>
          <p:spPr bwMode="auto">
            <a:xfrm>
              <a:off x="3792"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50" name="AutoShape 127"/>
            <p:cNvSpPr>
              <a:spLocks noChangeArrowheads="1"/>
            </p:cNvSpPr>
            <p:nvPr/>
          </p:nvSpPr>
          <p:spPr bwMode="auto">
            <a:xfrm>
              <a:off x="4032" y="168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51" name="AutoShape 128"/>
            <p:cNvSpPr>
              <a:spLocks noChangeArrowheads="1"/>
            </p:cNvSpPr>
            <p:nvPr/>
          </p:nvSpPr>
          <p:spPr bwMode="auto">
            <a:xfrm>
              <a:off x="3024" y="141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52" name="AutoShape 129"/>
            <p:cNvSpPr>
              <a:spLocks noChangeArrowheads="1"/>
            </p:cNvSpPr>
            <p:nvPr/>
          </p:nvSpPr>
          <p:spPr bwMode="auto">
            <a:xfrm>
              <a:off x="3264" y="168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53" name="Oval 130"/>
            <p:cNvSpPr>
              <a:spLocks noChangeArrowheads="1"/>
            </p:cNvSpPr>
            <p:nvPr/>
          </p:nvSpPr>
          <p:spPr bwMode="auto">
            <a:xfrm>
              <a:off x="4800"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54" name="Oval 131"/>
            <p:cNvSpPr>
              <a:spLocks noChangeArrowheads="1"/>
            </p:cNvSpPr>
            <p:nvPr/>
          </p:nvSpPr>
          <p:spPr bwMode="auto">
            <a:xfrm>
              <a:off x="4992"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55" name="AutoShape 132"/>
            <p:cNvSpPr>
              <a:spLocks noChangeArrowheads="1"/>
            </p:cNvSpPr>
            <p:nvPr/>
          </p:nvSpPr>
          <p:spPr bwMode="auto">
            <a:xfrm>
              <a:off x="4584"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56" name="AutoShape 133"/>
            <p:cNvSpPr>
              <a:spLocks noChangeArrowheads="1"/>
            </p:cNvSpPr>
            <p:nvPr/>
          </p:nvSpPr>
          <p:spPr bwMode="auto">
            <a:xfrm>
              <a:off x="4752"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57" name="AutoShape 134"/>
            <p:cNvSpPr>
              <a:spLocks noChangeArrowheads="1"/>
            </p:cNvSpPr>
            <p:nvPr/>
          </p:nvSpPr>
          <p:spPr bwMode="auto">
            <a:xfrm>
              <a:off x="4920"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58" name="AutoShape 135"/>
            <p:cNvSpPr>
              <a:spLocks noChangeArrowheads="1"/>
            </p:cNvSpPr>
            <p:nvPr/>
          </p:nvSpPr>
          <p:spPr bwMode="auto">
            <a:xfrm>
              <a:off x="5088"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59" name="AutoShape 136"/>
            <p:cNvSpPr>
              <a:spLocks noChangeArrowheads="1"/>
            </p:cNvSpPr>
            <p:nvPr/>
          </p:nvSpPr>
          <p:spPr bwMode="auto">
            <a:xfrm>
              <a:off x="4656"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60" name="AutoShape 137"/>
            <p:cNvSpPr>
              <a:spLocks noChangeArrowheads="1"/>
            </p:cNvSpPr>
            <p:nvPr/>
          </p:nvSpPr>
          <p:spPr bwMode="auto">
            <a:xfrm>
              <a:off x="4824"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61" name="AutoShape 138"/>
            <p:cNvSpPr>
              <a:spLocks noChangeArrowheads="1"/>
            </p:cNvSpPr>
            <p:nvPr/>
          </p:nvSpPr>
          <p:spPr bwMode="auto">
            <a:xfrm>
              <a:off x="4992"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62" name="AutoShape 139"/>
            <p:cNvSpPr>
              <a:spLocks noChangeArrowheads="1"/>
            </p:cNvSpPr>
            <p:nvPr/>
          </p:nvSpPr>
          <p:spPr bwMode="auto">
            <a:xfrm>
              <a:off x="5160"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63" name="AutoShape 140"/>
            <p:cNvSpPr>
              <a:spLocks noChangeArrowheads="1"/>
            </p:cNvSpPr>
            <p:nvPr/>
          </p:nvSpPr>
          <p:spPr bwMode="auto">
            <a:xfrm>
              <a:off x="5232"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64" name="AutoShape 141"/>
            <p:cNvSpPr>
              <a:spLocks noChangeArrowheads="1"/>
            </p:cNvSpPr>
            <p:nvPr/>
          </p:nvSpPr>
          <p:spPr bwMode="auto">
            <a:xfrm>
              <a:off x="5400"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65" name="AutoShape 142"/>
            <p:cNvSpPr>
              <a:spLocks noChangeArrowheads="1"/>
            </p:cNvSpPr>
            <p:nvPr/>
          </p:nvSpPr>
          <p:spPr bwMode="auto">
            <a:xfrm>
              <a:off x="5304"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66" name="AutoShape 143"/>
            <p:cNvSpPr>
              <a:spLocks noChangeArrowheads="1"/>
            </p:cNvSpPr>
            <p:nvPr/>
          </p:nvSpPr>
          <p:spPr bwMode="auto">
            <a:xfrm>
              <a:off x="5472"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grpSp>
      <p:grpSp>
        <p:nvGrpSpPr>
          <p:cNvPr id="5" name="Group 144"/>
          <p:cNvGrpSpPr>
            <a:grpSpLocks/>
          </p:cNvGrpSpPr>
          <p:nvPr/>
        </p:nvGrpSpPr>
        <p:grpSpPr bwMode="auto">
          <a:xfrm>
            <a:off x="10209252" y="3556002"/>
            <a:ext cx="1300549" cy="787401"/>
            <a:chOff x="1008" y="1488"/>
            <a:chExt cx="2208" cy="1296"/>
          </a:xfrm>
        </p:grpSpPr>
        <p:sp>
          <p:nvSpPr>
            <p:cNvPr id="568" name="Rectangle 145"/>
            <p:cNvSpPr>
              <a:spLocks noChangeArrowheads="1"/>
            </p:cNvSpPr>
            <p:nvPr/>
          </p:nvSpPr>
          <p:spPr bwMode="auto">
            <a:xfrm>
              <a:off x="1440" y="2256"/>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69" name="AutoShape 146"/>
            <p:cNvSpPr>
              <a:spLocks noChangeArrowheads="1"/>
            </p:cNvSpPr>
            <p:nvPr/>
          </p:nvSpPr>
          <p:spPr bwMode="auto">
            <a:xfrm>
              <a:off x="1536" y="20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70" name="AutoShape 147"/>
            <p:cNvSpPr>
              <a:spLocks noChangeArrowheads="1"/>
            </p:cNvSpPr>
            <p:nvPr/>
          </p:nvSpPr>
          <p:spPr bwMode="auto">
            <a:xfrm>
              <a:off x="1440" y="1920"/>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71" name="Oval 148"/>
            <p:cNvSpPr>
              <a:spLocks noChangeArrowheads="1"/>
            </p:cNvSpPr>
            <p:nvPr/>
          </p:nvSpPr>
          <p:spPr bwMode="auto">
            <a:xfrm>
              <a:off x="1920" y="2256"/>
              <a:ext cx="144" cy="144"/>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72" name="AutoShape 149"/>
            <p:cNvSpPr>
              <a:spLocks noChangeArrowheads="1"/>
            </p:cNvSpPr>
            <p:nvPr/>
          </p:nvSpPr>
          <p:spPr bwMode="auto">
            <a:xfrm>
              <a:off x="1200" y="2064"/>
              <a:ext cx="144" cy="144"/>
            </a:xfrm>
            <a:prstGeom prst="parallelogram">
              <a:avLst>
                <a:gd name="adj" fmla="val 25000"/>
              </a:avLst>
            </a:prstGeom>
            <a:solidFill>
              <a:srgbClr val="FF7373"/>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73" name="AutoShape 150"/>
            <p:cNvSpPr>
              <a:spLocks noChangeArrowheads="1"/>
            </p:cNvSpPr>
            <p:nvPr/>
          </p:nvSpPr>
          <p:spPr bwMode="auto">
            <a:xfrm>
              <a:off x="1152" y="1824"/>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74" name="Rectangle 151"/>
            <p:cNvSpPr>
              <a:spLocks noChangeArrowheads="1"/>
            </p:cNvSpPr>
            <p:nvPr/>
          </p:nvSpPr>
          <p:spPr bwMode="auto">
            <a:xfrm>
              <a:off x="1200" y="2352"/>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75" name="Oval 152"/>
            <p:cNvSpPr>
              <a:spLocks noChangeArrowheads="1"/>
            </p:cNvSpPr>
            <p:nvPr/>
          </p:nvSpPr>
          <p:spPr bwMode="auto">
            <a:xfrm>
              <a:off x="1680" y="2208"/>
              <a:ext cx="144" cy="144"/>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76" name="Oval 153"/>
            <p:cNvSpPr>
              <a:spLocks noChangeArrowheads="1"/>
            </p:cNvSpPr>
            <p:nvPr/>
          </p:nvSpPr>
          <p:spPr bwMode="auto">
            <a:xfrm>
              <a:off x="1536" y="2448"/>
              <a:ext cx="144" cy="144"/>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77" name="Oval 154"/>
            <p:cNvSpPr>
              <a:spLocks noChangeArrowheads="1"/>
            </p:cNvSpPr>
            <p:nvPr/>
          </p:nvSpPr>
          <p:spPr bwMode="auto">
            <a:xfrm>
              <a:off x="1680" y="1920"/>
              <a:ext cx="144" cy="144"/>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78" name="AutoShape 155"/>
            <p:cNvSpPr>
              <a:spLocks noChangeArrowheads="1"/>
            </p:cNvSpPr>
            <p:nvPr/>
          </p:nvSpPr>
          <p:spPr bwMode="auto">
            <a:xfrm>
              <a:off x="1104" y="2208"/>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79" name="AutoShape 156"/>
            <p:cNvSpPr>
              <a:spLocks noChangeArrowheads="1"/>
            </p:cNvSpPr>
            <p:nvPr/>
          </p:nvSpPr>
          <p:spPr bwMode="auto">
            <a:xfrm>
              <a:off x="1728" y="2400"/>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80" name="AutoShape 157"/>
            <p:cNvSpPr>
              <a:spLocks noChangeArrowheads="1"/>
            </p:cNvSpPr>
            <p:nvPr/>
          </p:nvSpPr>
          <p:spPr bwMode="auto">
            <a:xfrm>
              <a:off x="1872" y="1872"/>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81" name="AutoShape 158"/>
            <p:cNvSpPr>
              <a:spLocks noChangeArrowheads="1"/>
            </p:cNvSpPr>
            <p:nvPr/>
          </p:nvSpPr>
          <p:spPr bwMode="auto">
            <a:xfrm>
              <a:off x="1536" y="172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82" name="Oval 159"/>
            <p:cNvSpPr>
              <a:spLocks noChangeArrowheads="1"/>
            </p:cNvSpPr>
            <p:nvPr/>
          </p:nvSpPr>
          <p:spPr bwMode="auto">
            <a:xfrm>
              <a:off x="1344" y="1776"/>
              <a:ext cx="144" cy="144"/>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83" name="Oval 160"/>
            <p:cNvSpPr>
              <a:spLocks noChangeArrowheads="1"/>
            </p:cNvSpPr>
            <p:nvPr/>
          </p:nvSpPr>
          <p:spPr bwMode="auto">
            <a:xfrm>
              <a:off x="1872" y="2112"/>
              <a:ext cx="144" cy="144"/>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84" name="Oval 161"/>
            <p:cNvSpPr>
              <a:spLocks noChangeArrowheads="1"/>
            </p:cNvSpPr>
            <p:nvPr/>
          </p:nvSpPr>
          <p:spPr bwMode="auto">
            <a:xfrm>
              <a:off x="1392" y="2088"/>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85" name="Oval 162"/>
            <p:cNvSpPr>
              <a:spLocks noChangeArrowheads="1"/>
            </p:cNvSpPr>
            <p:nvPr/>
          </p:nvSpPr>
          <p:spPr bwMode="auto">
            <a:xfrm>
              <a:off x="1008" y="1968"/>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86" name="AutoShape 163"/>
            <p:cNvSpPr>
              <a:spLocks noChangeArrowheads="1"/>
            </p:cNvSpPr>
            <p:nvPr/>
          </p:nvSpPr>
          <p:spPr bwMode="auto">
            <a:xfrm>
              <a:off x="1392" y="240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87" name="Line 164"/>
            <p:cNvSpPr>
              <a:spLocks noChangeShapeType="1"/>
            </p:cNvSpPr>
            <p:nvPr/>
          </p:nvSpPr>
          <p:spPr bwMode="auto">
            <a:xfrm flipV="1">
              <a:off x="2016" y="1680"/>
              <a:ext cx="624" cy="240"/>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588" name="Line 165"/>
            <p:cNvSpPr>
              <a:spLocks noChangeShapeType="1"/>
            </p:cNvSpPr>
            <p:nvPr/>
          </p:nvSpPr>
          <p:spPr bwMode="auto">
            <a:xfrm flipV="1">
              <a:off x="2112" y="2160"/>
              <a:ext cx="624" cy="0"/>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589" name="Line 166"/>
            <p:cNvSpPr>
              <a:spLocks noChangeShapeType="1"/>
            </p:cNvSpPr>
            <p:nvPr/>
          </p:nvSpPr>
          <p:spPr bwMode="auto">
            <a:xfrm>
              <a:off x="2112" y="2448"/>
              <a:ext cx="624" cy="192"/>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590" name="AutoShape 167"/>
            <p:cNvSpPr>
              <a:spLocks noChangeArrowheads="1"/>
            </p:cNvSpPr>
            <p:nvPr/>
          </p:nvSpPr>
          <p:spPr bwMode="auto">
            <a:xfrm>
              <a:off x="2736" y="148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91" name="AutoShape 168"/>
            <p:cNvSpPr>
              <a:spLocks noChangeArrowheads="1"/>
            </p:cNvSpPr>
            <p:nvPr/>
          </p:nvSpPr>
          <p:spPr bwMode="auto">
            <a:xfrm>
              <a:off x="2928" y="153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92" name="AutoShape 169"/>
            <p:cNvSpPr>
              <a:spLocks noChangeArrowheads="1"/>
            </p:cNvSpPr>
            <p:nvPr/>
          </p:nvSpPr>
          <p:spPr bwMode="auto">
            <a:xfrm>
              <a:off x="2736" y="168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93" name="AutoShape 170"/>
            <p:cNvSpPr>
              <a:spLocks noChangeArrowheads="1"/>
            </p:cNvSpPr>
            <p:nvPr/>
          </p:nvSpPr>
          <p:spPr bwMode="auto">
            <a:xfrm>
              <a:off x="2928" y="172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94" name="Oval 171"/>
            <p:cNvSpPr>
              <a:spLocks noChangeArrowheads="1"/>
            </p:cNvSpPr>
            <p:nvPr/>
          </p:nvSpPr>
          <p:spPr bwMode="auto">
            <a:xfrm>
              <a:off x="2736" y="2016"/>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95" name="Oval 172"/>
            <p:cNvSpPr>
              <a:spLocks noChangeArrowheads="1"/>
            </p:cNvSpPr>
            <p:nvPr/>
          </p:nvSpPr>
          <p:spPr bwMode="auto">
            <a:xfrm>
              <a:off x="2880" y="2160"/>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596" name="AutoShape 173"/>
            <p:cNvSpPr>
              <a:spLocks noChangeArrowheads="1"/>
            </p:cNvSpPr>
            <p:nvPr/>
          </p:nvSpPr>
          <p:spPr bwMode="auto">
            <a:xfrm>
              <a:off x="2808" y="2496"/>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97" name="AutoShape 174"/>
            <p:cNvSpPr>
              <a:spLocks noChangeArrowheads="1"/>
            </p:cNvSpPr>
            <p:nvPr/>
          </p:nvSpPr>
          <p:spPr bwMode="auto">
            <a:xfrm>
              <a:off x="2976" y="2400"/>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98" name="AutoShape 175"/>
            <p:cNvSpPr>
              <a:spLocks noChangeArrowheads="1"/>
            </p:cNvSpPr>
            <p:nvPr/>
          </p:nvSpPr>
          <p:spPr bwMode="auto">
            <a:xfrm>
              <a:off x="2880" y="2640"/>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599" name="AutoShape 176"/>
            <p:cNvSpPr>
              <a:spLocks noChangeArrowheads="1"/>
            </p:cNvSpPr>
            <p:nvPr/>
          </p:nvSpPr>
          <p:spPr bwMode="auto">
            <a:xfrm>
              <a:off x="3072" y="2592"/>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grpSp>
      <p:grpSp>
        <p:nvGrpSpPr>
          <p:cNvPr id="6" name="Group 216"/>
          <p:cNvGrpSpPr>
            <a:grpSpLocks/>
          </p:cNvGrpSpPr>
          <p:nvPr/>
        </p:nvGrpSpPr>
        <p:grpSpPr bwMode="auto">
          <a:xfrm>
            <a:off x="10170651" y="5232402"/>
            <a:ext cx="1334001" cy="698500"/>
            <a:chOff x="672" y="912"/>
            <a:chExt cx="2688" cy="1536"/>
          </a:xfrm>
        </p:grpSpPr>
        <p:sp>
          <p:nvSpPr>
            <p:cNvPr id="640" name="AutoShape 217"/>
            <p:cNvSpPr>
              <a:spLocks noChangeArrowheads="1"/>
            </p:cNvSpPr>
            <p:nvPr/>
          </p:nvSpPr>
          <p:spPr bwMode="auto">
            <a:xfrm>
              <a:off x="960" y="1680"/>
              <a:ext cx="144" cy="144"/>
            </a:xfrm>
            <a:prstGeom prst="parallelogram">
              <a:avLst>
                <a:gd name="adj" fmla="val 25000"/>
              </a:avLst>
            </a:prstGeom>
            <a:solidFill>
              <a:srgbClr val="FF7373"/>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41" name="Line 218"/>
            <p:cNvSpPr>
              <a:spLocks noChangeShapeType="1"/>
            </p:cNvSpPr>
            <p:nvPr/>
          </p:nvSpPr>
          <p:spPr bwMode="auto">
            <a:xfrm flipV="1">
              <a:off x="2304" y="1344"/>
              <a:ext cx="432" cy="144"/>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642" name="Rectangle 219"/>
            <p:cNvSpPr>
              <a:spLocks noChangeArrowheads="1"/>
            </p:cNvSpPr>
            <p:nvPr/>
          </p:nvSpPr>
          <p:spPr bwMode="auto">
            <a:xfrm>
              <a:off x="1104" y="1056"/>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43" name="AutoShape 220"/>
            <p:cNvSpPr>
              <a:spLocks noChangeArrowheads="1"/>
            </p:cNvSpPr>
            <p:nvPr/>
          </p:nvSpPr>
          <p:spPr bwMode="auto">
            <a:xfrm>
              <a:off x="912" y="1584"/>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44" name="Oval 221"/>
            <p:cNvSpPr>
              <a:spLocks noChangeArrowheads="1"/>
            </p:cNvSpPr>
            <p:nvPr/>
          </p:nvSpPr>
          <p:spPr bwMode="auto">
            <a:xfrm>
              <a:off x="2808" y="1824"/>
              <a:ext cx="144" cy="144"/>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45" name="Rectangle 222"/>
            <p:cNvSpPr>
              <a:spLocks noChangeArrowheads="1"/>
            </p:cNvSpPr>
            <p:nvPr/>
          </p:nvSpPr>
          <p:spPr bwMode="auto">
            <a:xfrm>
              <a:off x="960" y="2112"/>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46" name="Oval 223"/>
            <p:cNvSpPr>
              <a:spLocks noChangeArrowheads="1"/>
            </p:cNvSpPr>
            <p:nvPr/>
          </p:nvSpPr>
          <p:spPr bwMode="auto">
            <a:xfrm>
              <a:off x="1920" y="1104"/>
              <a:ext cx="144" cy="144"/>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47" name="Oval 224"/>
            <p:cNvSpPr>
              <a:spLocks noChangeArrowheads="1"/>
            </p:cNvSpPr>
            <p:nvPr/>
          </p:nvSpPr>
          <p:spPr bwMode="auto">
            <a:xfrm>
              <a:off x="1584" y="1776"/>
              <a:ext cx="144" cy="144"/>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48" name="Oval 225"/>
            <p:cNvSpPr>
              <a:spLocks noChangeArrowheads="1"/>
            </p:cNvSpPr>
            <p:nvPr/>
          </p:nvSpPr>
          <p:spPr bwMode="auto">
            <a:xfrm>
              <a:off x="2016" y="1248"/>
              <a:ext cx="144" cy="144"/>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49" name="AutoShape 226"/>
            <p:cNvSpPr>
              <a:spLocks noChangeArrowheads="1"/>
            </p:cNvSpPr>
            <p:nvPr/>
          </p:nvSpPr>
          <p:spPr bwMode="auto">
            <a:xfrm>
              <a:off x="1632" y="1248"/>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50" name="AutoShape 227"/>
            <p:cNvSpPr>
              <a:spLocks noChangeArrowheads="1"/>
            </p:cNvSpPr>
            <p:nvPr/>
          </p:nvSpPr>
          <p:spPr bwMode="auto">
            <a:xfrm>
              <a:off x="2808" y="1536"/>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51" name="AutoShape 228"/>
            <p:cNvSpPr>
              <a:spLocks noChangeArrowheads="1"/>
            </p:cNvSpPr>
            <p:nvPr/>
          </p:nvSpPr>
          <p:spPr bwMode="auto">
            <a:xfrm>
              <a:off x="3216" y="182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52" name="AutoShape 229"/>
            <p:cNvSpPr>
              <a:spLocks noChangeArrowheads="1"/>
            </p:cNvSpPr>
            <p:nvPr/>
          </p:nvSpPr>
          <p:spPr bwMode="auto">
            <a:xfrm>
              <a:off x="1776" y="134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53" name="Oval 230"/>
            <p:cNvSpPr>
              <a:spLocks noChangeArrowheads="1"/>
            </p:cNvSpPr>
            <p:nvPr/>
          </p:nvSpPr>
          <p:spPr bwMode="auto">
            <a:xfrm>
              <a:off x="3024" y="1824"/>
              <a:ext cx="144" cy="144"/>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54" name="Oval 231"/>
            <p:cNvSpPr>
              <a:spLocks noChangeArrowheads="1"/>
            </p:cNvSpPr>
            <p:nvPr/>
          </p:nvSpPr>
          <p:spPr bwMode="auto">
            <a:xfrm>
              <a:off x="720" y="1584"/>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55" name="AutoShape 232"/>
            <p:cNvSpPr>
              <a:spLocks noChangeArrowheads="1"/>
            </p:cNvSpPr>
            <p:nvPr/>
          </p:nvSpPr>
          <p:spPr bwMode="auto">
            <a:xfrm>
              <a:off x="960" y="110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56" name="Oval 233"/>
            <p:cNvSpPr>
              <a:spLocks noChangeArrowheads="1"/>
            </p:cNvSpPr>
            <p:nvPr/>
          </p:nvSpPr>
          <p:spPr bwMode="auto">
            <a:xfrm>
              <a:off x="1008" y="960"/>
              <a:ext cx="144" cy="144"/>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57" name="Oval 234"/>
            <p:cNvSpPr>
              <a:spLocks noChangeArrowheads="1"/>
            </p:cNvSpPr>
            <p:nvPr/>
          </p:nvSpPr>
          <p:spPr bwMode="auto">
            <a:xfrm>
              <a:off x="1728" y="1152"/>
              <a:ext cx="144" cy="144"/>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58" name="Oval 235"/>
            <p:cNvSpPr>
              <a:spLocks noChangeArrowheads="1"/>
            </p:cNvSpPr>
            <p:nvPr/>
          </p:nvSpPr>
          <p:spPr bwMode="auto">
            <a:xfrm>
              <a:off x="2112" y="1824"/>
              <a:ext cx="144" cy="144"/>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59" name="Rectangle 236"/>
            <p:cNvSpPr>
              <a:spLocks noChangeArrowheads="1"/>
            </p:cNvSpPr>
            <p:nvPr/>
          </p:nvSpPr>
          <p:spPr bwMode="auto">
            <a:xfrm>
              <a:off x="1824" y="1248"/>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60" name="AutoShape 237"/>
            <p:cNvSpPr>
              <a:spLocks noChangeArrowheads="1"/>
            </p:cNvSpPr>
            <p:nvPr/>
          </p:nvSpPr>
          <p:spPr bwMode="auto">
            <a:xfrm>
              <a:off x="672" y="912"/>
              <a:ext cx="720" cy="432"/>
            </a:xfrm>
            <a:prstGeom prst="cube">
              <a:avLst>
                <a:gd name="adj" fmla="val 25000"/>
              </a:avLst>
            </a:prstGeom>
            <a:noFill/>
            <a:ln w="9525">
              <a:solidFill>
                <a:schemeClr val="tx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61" name="AutoShape 238"/>
            <p:cNvSpPr>
              <a:spLocks noChangeArrowheads="1"/>
            </p:cNvSpPr>
            <p:nvPr/>
          </p:nvSpPr>
          <p:spPr bwMode="auto">
            <a:xfrm>
              <a:off x="768" y="1248"/>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62" name="AutoShape 239"/>
            <p:cNvSpPr>
              <a:spLocks noChangeArrowheads="1"/>
            </p:cNvSpPr>
            <p:nvPr/>
          </p:nvSpPr>
          <p:spPr bwMode="auto">
            <a:xfrm>
              <a:off x="1056" y="1248"/>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63" name="Rectangle 240"/>
            <p:cNvSpPr>
              <a:spLocks noChangeArrowheads="1"/>
            </p:cNvSpPr>
            <p:nvPr/>
          </p:nvSpPr>
          <p:spPr bwMode="auto">
            <a:xfrm>
              <a:off x="1104" y="1584"/>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64" name="AutoShape 241"/>
            <p:cNvSpPr>
              <a:spLocks noChangeArrowheads="1"/>
            </p:cNvSpPr>
            <p:nvPr/>
          </p:nvSpPr>
          <p:spPr bwMode="auto">
            <a:xfrm>
              <a:off x="2064" y="168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65" name="AutoShape 242"/>
            <p:cNvSpPr>
              <a:spLocks noChangeArrowheads="1"/>
            </p:cNvSpPr>
            <p:nvPr/>
          </p:nvSpPr>
          <p:spPr bwMode="auto">
            <a:xfrm>
              <a:off x="672" y="1440"/>
              <a:ext cx="720" cy="432"/>
            </a:xfrm>
            <a:prstGeom prst="cube">
              <a:avLst>
                <a:gd name="adj" fmla="val 25000"/>
              </a:avLst>
            </a:prstGeom>
            <a:noFill/>
            <a:ln w="9525">
              <a:solidFill>
                <a:schemeClr val="tx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66" name="AutoShape 243"/>
            <p:cNvSpPr>
              <a:spLocks noChangeArrowheads="1"/>
            </p:cNvSpPr>
            <p:nvPr/>
          </p:nvSpPr>
          <p:spPr bwMode="auto">
            <a:xfrm>
              <a:off x="768" y="1776"/>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67" name="AutoShape 244"/>
            <p:cNvSpPr>
              <a:spLocks noChangeArrowheads="1"/>
            </p:cNvSpPr>
            <p:nvPr/>
          </p:nvSpPr>
          <p:spPr bwMode="auto">
            <a:xfrm>
              <a:off x="1056" y="1776"/>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68" name="AutoShape 245"/>
            <p:cNvSpPr>
              <a:spLocks noChangeArrowheads="1"/>
            </p:cNvSpPr>
            <p:nvPr/>
          </p:nvSpPr>
          <p:spPr bwMode="auto">
            <a:xfrm>
              <a:off x="768" y="2112"/>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69" name="AutoShape 246"/>
            <p:cNvSpPr>
              <a:spLocks noChangeArrowheads="1"/>
            </p:cNvSpPr>
            <p:nvPr/>
          </p:nvSpPr>
          <p:spPr bwMode="auto">
            <a:xfrm>
              <a:off x="1104" y="2112"/>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70" name="AutoShape 247"/>
            <p:cNvSpPr>
              <a:spLocks noChangeArrowheads="1"/>
            </p:cNvSpPr>
            <p:nvPr/>
          </p:nvSpPr>
          <p:spPr bwMode="auto">
            <a:xfrm>
              <a:off x="672" y="1968"/>
              <a:ext cx="720" cy="432"/>
            </a:xfrm>
            <a:prstGeom prst="cube">
              <a:avLst>
                <a:gd name="adj" fmla="val 25000"/>
              </a:avLst>
            </a:prstGeom>
            <a:noFill/>
            <a:ln w="9525">
              <a:solidFill>
                <a:schemeClr val="tx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71" name="AutoShape 248"/>
            <p:cNvSpPr>
              <a:spLocks noChangeArrowheads="1"/>
            </p:cNvSpPr>
            <p:nvPr/>
          </p:nvSpPr>
          <p:spPr bwMode="auto">
            <a:xfrm>
              <a:off x="768" y="2304"/>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72" name="AutoShape 249"/>
            <p:cNvSpPr>
              <a:spLocks noChangeArrowheads="1"/>
            </p:cNvSpPr>
            <p:nvPr/>
          </p:nvSpPr>
          <p:spPr bwMode="auto">
            <a:xfrm>
              <a:off x="1056" y="2304"/>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73" name="Rectangle 250"/>
            <p:cNvSpPr>
              <a:spLocks noChangeArrowheads="1"/>
            </p:cNvSpPr>
            <p:nvPr/>
          </p:nvSpPr>
          <p:spPr bwMode="auto">
            <a:xfrm>
              <a:off x="1680" y="1824"/>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74" name="AutoShape 251"/>
            <p:cNvSpPr>
              <a:spLocks noChangeArrowheads="1"/>
            </p:cNvSpPr>
            <p:nvPr/>
          </p:nvSpPr>
          <p:spPr bwMode="auto">
            <a:xfrm>
              <a:off x="1968" y="182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75" name="AutoShape 252"/>
            <p:cNvSpPr>
              <a:spLocks noChangeArrowheads="1"/>
            </p:cNvSpPr>
            <p:nvPr/>
          </p:nvSpPr>
          <p:spPr bwMode="auto">
            <a:xfrm>
              <a:off x="1776" y="182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76" name="Oval 253"/>
            <p:cNvSpPr>
              <a:spLocks noChangeArrowheads="1"/>
            </p:cNvSpPr>
            <p:nvPr/>
          </p:nvSpPr>
          <p:spPr bwMode="auto">
            <a:xfrm>
              <a:off x="1872" y="1728"/>
              <a:ext cx="144" cy="144"/>
            </a:xfrm>
            <a:prstGeom prst="ellipse">
              <a:avLst/>
            </a:prstGeom>
            <a:solidFill>
              <a:srgbClr val="00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77" name="AutoShape 254"/>
            <p:cNvSpPr>
              <a:spLocks noChangeArrowheads="1"/>
            </p:cNvSpPr>
            <p:nvPr/>
          </p:nvSpPr>
          <p:spPr bwMode="auto">
            <a:xfrm>
              <a:off x="1536" y="1680"/>
              <a:ext cx="720" cy="432"/>
            </a:xfrm>
            <a:prstGeom prst="cube">
              <a:avLst>
                <a:gd name="adj" fmla="val 25000"/>
              </a:avLst>
            </a:prstGeom>
            <a:noFill/>
            <a:ln w="9525">
              <a:solidFill>
                <a:schemeClr val="tx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78" name="AutoShape 255"/>
            <p:cNvSpPr>
              <a:spLocks noChangeArrowheads="1"/>
            </p:cNvSpPr>
            <p:nvPr/>
          </p:nvSpPr>
          <p:spPr bwMode="auto">
            <a:xfrm>
              <a:off x="1632" y="2016"/>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79" name="AutoShape 256"/>
            <p:cNvSpPr>
              <a:spLocks noChangeArrowheads="1"/>
            </p:cNvSpPr>
            <p:nvPr/>
          </p:nvSpPr>
          <p:spPr bwMode="auto">
            <a:xfrm>
              <a:off x="1920" y="2016"/>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80" name="AutoShape 257"/>
            <p:cNvSpPr>
              <a:spLocks noChangeArrowheads="1"/>
            </p:cNvSpPr>
            <p:nvPr/>
          </p:nvSpPr>
          <p:spPr bwMode="auto">
            <a:xfrm>
              <a:off x="1536" y="1104"/>
              <a:ext cx="720" cy="432"/>
            </a:xfrm>
            <a:prstGeom prst="cube">
              <a:avLst>
                <a:gd name="adj" fmla="val 25000"/>
              </a:avLst>
            </a:prstGeom>
            <a:noFill/>
            <a:ln w="9525">
              <a:solidFill>
                <a:schemeClr val="tx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81" name="AutoShape 258"/>
            <p:cNvSpPr>
              <a:spLocks noChangeArrowheads="1"/>
            </p:cNvSpPr>
            <p:nvPr/>
          </p:nvSpPr>
          <p:spPr bwMode="auto">
            <a:xfrm>
              <a:off x="1632" y="1440"/>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82" name="AutoShape 259"/>
            <p:cNvSpPr>
              <a:spLocks noChangeArrowheads="1"/>
            </p:cNvSpPr>
            <p:nvPr/>
          </p:nvSpPr>
          <p:spPr bwMode="auto">
            <a:xfrm>
              <a:off x="1920" y="1440"/>
              <a:ext cx="144" cy="144"/>
            </a:xfrm>
            <a:custGeom>
              <a:avLst/>
              <a:gdLst>
                <a:gd name="T0" fmla="*/ 72 w 21600"/>
                <a:gd name="T1" fmla="*/ 0 h 21600"/>
                <a:gd name="T2" fmla="*/ 21 w 21600"/>
                <a:gd name="T3" fmla="*/ 21 h 21600"/>
                <a:gd name="T4" fmla="*/ 0 w 21600"/>
                <a:gd name="T5" fmla="*/ 72 h 21600"/>
                <a:gd name="T6" fmla="*/ 21 w 21600"/>
                <a:gd name="T7" fmla="*/ 123 h 21600"/>
                <a:gd name="T8" fmla="*/ 72 w 21600"/>
                <a:gd name="T9" fmla="*/ 144 h 21600"/>
                <a:gd name="T10" fmla="*/ 123 w 21600"/>
                <a:gd name="T11" fmla="*/ 123 h 21600"/>
                <a:gd name="T12" fmla="*/ 144 w 21600"/>
                <a:gd name="T13" fmla="*/ 72 h 21600"/>
                <a:gd name="T14" fmla="*/ 123 w 21600"/>
                <a:gd name="T15" fmla="*/ 21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EAEAEA"/>
            </a:solidFill>
            <a:ln w="952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683" name="Rectangle 260"/>
            <p:cNvSpPr>
              <a:spLocks noChangeArrowheads="1"/>
            </p:cNvSpPr>
            <p:nvPr/>
          </p:nvSpPr>
          <p:spPr bwMode="auto">
            <a:xfrm>
              <a:off x="2976" y="1536"/>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84" name="Rectangle 261"/>
            <p:cNvSpPr>
              <a:spLocks noChangeArrowheads="1"/>
            </p:cNvSpPr>
            <p:nvPr/>
          </p:nvSpPr>
          <p:spPr bwMode="auto">
            <a:xfrm>
              <a:off x="2976" y="1200"/>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85" name="AutoShape 262"/>
            <p:cNvSpPr>
              <a:spLocks noChangeArrowheads="1"/>
            </p:cNvSpPr>
            <p:nvPr/>
          </p:nvSpPr>
          <p:spPr bwMode="auto">
            <a:xfrm>
              <a:off x="2784" y="120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86" name="AutoShape 263"/>
            <p:cNvSpPr>
              <a:spLocks noChangeArrowheads="1"/>
            </p:cNvSpPr>
            <p:nvPr/>
          </p:nvSpPr>
          <p:spPr bwMode="auto">
            <a:xfrm>
              <a:off x="1248" y="1584"/>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87" name="AutoShape 264"/>
            <p:cNvSpPr>
              <a:spLocks noChangeArrowheads="1"/>
            </p:cNvSpPr>
            <p:nvPr/>
          </p:nvSpPr>
          <p:spPr bwMode="auto">
            <a:xfrm>
              <a:off x="960" y="1440"/>
              <a:ext cx="144" cy="144"/>
            </a:xfrm>
            <a:prstGeom prst="plus">
              <a:avLst>
                <a:gd name="adj" fmla="val 25000"/>
              </a:avLst>
            </a:prstGeom>
            <a:solidFill>
              <a:srgbClr val="A200DC"/>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88" name="Rectangle 265"/>
            <p:cNvSpPr>
              <a:spLocks noChangeArrowheads="1"/>
            </p:cNvSpPr>
            <p:nvPr/>
          </p:nvSpPr>
          <p:spPr bwMode="auto">
            <a:xfrm>
              <a:off x="720" y="960"/>
              <a:ext cx="144" cy="144"/>
            </a:xfrm>
            <a:prstGeom prst="rect">
              <a:avLst/>
            </a:prstGeom>
            <a:solidFill>
              <a:schemeClr val="accent1"/>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89" name="AutoShape 266"/>
            <p:cNvSpPr>
              <a:spLocks noChangeArrowheads="1"/>
            </p:cNvSpPr>
            <p:nvPr/>
          </p:nvSpPr>
          <p:spPr bwMode="auto">
            <a:xfrm>
              <a:off x="768"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90" name="Line 267"/>
            <p:cNvSpPr>
              <a:spLocks noChangeShapeType="1"/>
            </p:cNvSpPr>
            <p:nvPr/>
          </p:nvSpPr>
          <p:spPr bwMode="auto">
            <a:xfrm flipV="1">
              <a:off x="2304" y="1632"/>
              <a:ext cx="432" cy="0"/>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691" name="Line 268"/>
            <p:cNvSpPr>
              <a:spLocks noChangeShapeType="1"/>
            </p:cNvSpPr>
            <p:nvPr/>
          </p:nvSpPr>
          <p:spPr bwMode="auto">
            <a:xfrm>
              <a:off x="2304" y="1776"/>
              <a:ext cx="432" cy="144"/>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692" name="AutoShape 269"/>
            <p:cNvSpPr>
              <a:spLocks noChangeArrowheads="1"/>
            </p:cNvSpPr>
            <p:nvPr/>
          </p:nvSpPr>
          <p:spPr bwMode="auto">
            <a:xfrm>
              <a:off x="1152" y="148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693" name="Oval 270"/>
            <p:cNvSpPr>
              <a:spLocks noChangeArrowheads="1"/>
            </p:cNvSpPr>
            <p:nvPr/>
          </p:nvSpPr>
          <p:spPr bwMode="auto">
            <a:xfrm>
              <a:off x="864" y="1056"/>
              <a:ext cx="144" cy="144"/>
            </a:xfrm>
            <a:prstGeom prst="ellipse">
              <a:avLst/>
            </a:prstGeom>
            <a:solidFill>
              <a:srgbClr val="FFFF00"/>
            </a:solidFill>
            <a:ln w="9525">
              <a:solidFill>
                <a:schemeClr val="bg1"/>
              </a:solidFill>
              <a:round/>
              <a:headEnd/>
              <a:tailEnd/>
            </a:ln>
          </p:spPr>
          <p:txBody>
            <a:bodyPr wrap="none" anchor="ctr"/>
            <a:lstStyle/>
            <a:p>
              <a:endParaRPr lang="en-US" sz="700" dirty="0">
                <a:solidFill>
                  <a:srgbClr val="000000"/>
                </a:solidFill>
                <a:ea typeface="ＭＳ Ｐゴシック" pitchFamily="34" charset="-128"/>
              </a:endParaRPr>
            </a:p>
          </p:txBody>
        </p:sp>
      </p:grpSp>
      <p:pic>
        <p:nvPicPr>
          <p:cNvPr id="208" name="Picture 5"/>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10133052" y="4318002"/>
            <a:ext cx="1295400" cy="816429"/>
          </a:xfrm>
          <a:prstGeom prst="rect">
            <a:avLst/>
          </a:prstGeom>
          <a:noFill/>
          <a:ln w="9525">
            <a:noFill/>
            <a:miter lim="800000"/>
            <a:headEnd type="none" w="sm" len="sm"/>
            <a:tailEnd type="none" w="sm" len="sm"/>
          </a:ln>
        </p:spPr>
      </p:pic>
      <p:cxnSp>
        <p:nvCxnSpPr>
          <p:cNvPr id="210" name="Straight Arrow Connector 209"/>
          <p:cNvCxnSpPr/>
          <p:nvPr/>
        </p:nvCxnSpPr>
        <p:spPr>
          <a:xfrm flipV="1">
            <a:off x="8557799" y="1562506"/>
            <a:ext cx="1509030" cy="300183"/>
          </a:xfrm>
          <a:prstGeom prst="straightConnector1">
            <a:avLst/>
          </a:prstGeom>
          <a:ln w="19050">
            <a:solidFill>
              <a:schemeClr val="accent1"/>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11" name="Straight Arrow Connector 210"/>
          <p:cNvCxnSpPr/>
          <p:nvPr/>
        </p:nvCxnSpPr>
        <p:spPr>
          <a:xfrm flipV="1">
            <a:off x="7237412" y="2097884"/>
            <a:ext cx="2850559" cy="246461"/>
          </a:xfrm>
          <a:prstGeom prst="straightConnector1">
            <a:avLst/>
          </a:prstGeom>
          <a:ln w="19050">
            <a:solidFill>
              <a:schemeClr val="accent1"/>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17" name="Straight Arrow Connector 216"/>
          <p:cNvCxnSpPr/>
          <p:nvPr/>
        </p:nvCxnSpPr>
        <p:spPr>
          <a:xfrm>
            <a:off x="7466012" y="2897983"/>
            <a:ext cx="2621959" cy="114302"/>
          </a:xfrm>
          <a:prstGeom prst="straightConnector1">
            <a:avLst/>
          </a:prstGeom>
          <a:ln w="19050">
            <a:solidFill>
              <a:schemeClr val="accent1"/>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20" name="Straight Arrow Connector 219"/>
          <p:cNvCxnSpPr/>
          <p:nvPr/>
        </p:nvCxnSpPr>
        <p:spPr>
          <a:xfrm>
            <a:off x="6519025" y="3833050"/>
            <a:ext cx="3568946" cy="169833"/>
          </a:xfrm>
          <a:prstGeom prst="straightConnector1">
            <a:avLst/>
          </a:prstGeom>
          <a:ln w="19050">
            <a:solidFill>
              <a:schemeClr val="accent1"/>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a:endCxn id="205" idx="1"/>
          </p:cNvCxnSpPr>
          <p:nvPr/>
        </p:nvCxnSpPr>
        <p:spPr>
          <a:xfrm>
            <a:off x="8557799" y="4330701"/>
            <a:ext cx="1358358" cy="431801"/>
          </a:xfrm>
          <a:prstGeom prst="straightConnector1">
            <a:avLst/>
          </a:prstGeom>
          <a:ln w="19050">
            <a:solidFill>
              <a:schemeClr val="accent1"/>
            </a:solidFill>
            <a:miter lim="800000"/>
            <a:tailEnd type="arrow"/>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a:off x="9212329" y="5029200"/>
            <a:ext cx="811147" cy="421483"/>
          </a:xfrm>
          <a:prstGeom prst="straightConnector1">
            <a:avLst/>
          </a:prstGeom>
          <a:ln w="19050">
            <a:solidFill>
              <a:schemeClr val="accent1"/>
            </a:solidFill>
            <a:miter lim="80000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516378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supervised machine learning</a:t>
            </a:r>
            <a:r>
              <a:rPr lang="hr-HR" dirty="0" smtClean="0"/>
              <a:t> - </a:t>
            </a:r>
            <a:r>
              <a:rPr lang="hr-HR" dirty="0" err="1" smtClean="0"/>
              <a:t>clustering</a:t>
            </a: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3812" y="1333500"/>
            <a:ext cx="9299466" cy="4727457"/>
          </a:xfrm>
          <a:prstGeom prst="rect">
            <a:avLst/>
          </a:prstGeom>
        </p:spPr>
      </p:pic>
      <p:sp>
        <p:nvSpPr>
          <p:cNvPr id="3" name="TextBox 2"/>
          <p:cNvSpPr txBox="1"/>
          <p:nvPr/>
        </p:nvSpPr>
        <p:spPr>
          <a:xfrm>
            <a:off x="10133012" y="2819400"/>
            <a:ext cx="1600200" cy="914400"/>
          </a:xfrm>
          <a:prstGeom prst="rect">
            <a:avLst/>
          </a:prstGeom>
          <a:noFill/>
        </p:spPr>
        <p:txBody>
          <a:bodyPr wrap="none" lIns="0" tIns="0" rIns="0" bIns="0" rtlCol="0">
            <a:noAutofit/>
          </a:bodyPr>
          <a:lstStyle/>
          <a:p>
            <a:pPr>
              <a:lnSpc>
                <a:spcPct val="90000"/>
              </a:lnSpc>
            </a:pPr>
            <a:r>
              <a:rPr lang="hr-HR" dirty="0" err="1" smtClean="0"/>
              <a:t>Find</a:t>
            </a:r>
            <a:r>
              <a:rPr lang="hr-HR" dirty="0" smtClean="0"/>
              <a:t> </a:t>
            </a:r>
            <a:r>
              <a:rPr lang="hr-HR" dirty="0" err="1" smtClean="0"/>
              <a:t>similar</a:t>
            </a:r>
            <a:r>
              <a:rPr lang="hr-HR" dirty="0" smtClean="0"/>
              <a:t>!</a:t>
            </a:r>
            <a:endParaRPr lang="en-US" dirty="0"/>
          </a:p>
        </p:txBody>
      </p:sp>
    </p:spTree>
    <p:extLst>
      <p:ext uri="{BB962C8B-B14F-4D97-AF65-F5344CB8AC3E}">
        <p14:creationId xmlns:p14="http://schemas.microsoft.com/office/powerpoint/2010/main" val="110132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 a conclusion (</a:t>
            </a:r>
            <a:r>
              <a:rPr lang="hr-HR" dirty="0" err="1" smtClean="0"/>
              <a:t>so</a:t>
            </a:r>
            <a:r>
              <a:rPr lang="hr-HR" dirty="0" smtClean="0"/>
              <a:t> far</a:t>
            </a:r>
            <a:r>
              <a:rPr lang="en-US" dirty="0" smtClean="0"/>
              <a:t>)</a:t>
            </a:r>
            <a:endParaRPr lang="en-US" dirty="0"/>
          </a:p>
        </p:txBody>
      </p:sp>
      <p:sp>
        <p:nvSpPr>
          <p:cNvPr id="3" name="Content Placeholder 2"/>
          <p:cNvSpPr>
            <a:spLocks noGrp="1"/>
          </p:cNvSpPr>
          <p:nvPr>
            <p:ph idx="1"/>
          </p:nvPr>
        </p:nvSpPr>
        <p:spPr/>
        <p:txBody>
          <a:bodyPr/>
          <a:lstStyle/>
          <a:p>
            <a:r>
              <a:rPr lang="en-US" dirty="0" smtClean="0"/>
              <a:t>Machine Learning in general is a complex subject area which requires highly skilled people – data scientists </a:t>
            </a:r>
          </a:p>
          <a:p>
            <a:pPr lvl="1"/>
            <a:r>
              <a:rPr lang="en-US" dirty="0" smtClean="0"/>
              <a:t>combination of IT and mathematical/statistical skills</a:t>
            </a:r>
          </a:p>
          <a:p>
            <a:r>
              <a:rPr lang="en-US" dirty="0" smtClean="0"/>
              <a:t>Majority of technologies and implementations are batch</a:t>
            </a:r>
            <a:r>
              <a:rPr lang="hr-HR" dirty="0" smtClean="0"/>
              <a:t> (</a:t>
            </a:r>
            <a:r>
              <a:rPr lang="hr-HR" dirty="0" err="1" smtClean="0"/>
              <a:t>slow</a:t>
            </a:r>
            <a:r>
              <a:rPr lang="hr-HR" dirty="0" smtClean="0"/>
              <a:t>)</a:t>
            </a:r>
            <a:r>
              <a:rPr lang="en-US" dirty="0" smtClean="0"/>
              <a:t> or recently near real-time, specially related to the „learning” process of ML</a:t>
            </a:r>
          </a:p>
          <a:p>
            <a:endParaRPr lang="en-US" dirty="0" smtClean="0"/>
          </a:p>
          <a:p>
            <a:r>
              <a:rPr lang="en-US" dirty="0" smtClean="0"/>
              <a:t>Can we simplify it?</a:t>
            </a:r>
          </a:p>
          <a:p>
            <a:r>
              <a:rPr lang="en-US" dirty="0" smtClean="0"/>
              <a:t>Can we do it in real-time?</a:t>
            </a:r>
          </a:p>
          <a:p>
            <a:endParaRPr lang="en-US" dirty="0" smtClean="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2012" y="3874138"/>
            <a:ext cx="3671887" cy="244347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3412" y="3810000"/>
            <a:ext cx="4294997" cy="2571750"/>
          </a:xfrm>
          <a:prstGeom prst="rect">
            <a:avLst/>
          </a:prstGeom>
        </p:spPr>
      </p:pic>
    </p:spTree>
    <p:extLst>
      <p:ext uri="{BB962C8B-B14F-4D97-AF65-F5344CB8AC3E}">
        <p14:creationId xmlns:p14="http://schemas.microsoft.com/office/powerpoint/2010/main" val="2751735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1015735" y="838200"/>
            <a:ext cx="10868369" cy="586317"/>
          </a:xfrm>
        </p:spPr>
        <p:txBody>
          <a:bodyPr/>
          <a:lstStyle/>
          <a:p>
            <a:r>
              <a:rPr lang="en-US" altLang="en-US" dirty="0" smtClean="0">
                <a:latin typeface="Arial" charset="0"/>
                <a:cs typeface="Arial" charset="0"/>
              </a:rPr>
              <a:t>Data Miner Survey 2016 by </a:t>
            </a:r>
            <a:r>
              <a:rPr lang="en-US" altLang="en-US" dirty="0" err="1" smtClean="0">
                <a:latin typeface="Arial" charset="0"/>
                <a:cs typeface="Arial" charset="0"/>
              </a:rPr>
              <a:t>Rexer</a:t>
            </a:r>
            <a:r>
              <a:rPr lang="en-US" altLang="en-US" dirty="0" smtClean="0">
                <a:latin typeface="Arial" charset="0"/>
                <a:cs typeface="Arial" charset="0"/>
              </a:rPr>
              <a:t> Analytics</a:t>
            </a:r>
          </a:p>
        </p:txBody>
      </p:sp>
      <p:pic>
        <p:nvPicPr>
          <p:cNvPr id="4101" name="Picture 5"/>
          <p:cNvPicPr>
            <a:picLocks noChangeAspect="1" noChangeArrowheads="1"/>
          </p:cNvPicPr>
          <p:nvPr/>
        </p:nvPicPr>
        <p:blipFill>
          <a:blip r:embed="rId3" cstate="print"/>
          <a:srcRect/>
          <a:stretch>
            <a:fillRect/>
          </a:stretch>
        </p:blipFill>
        <p:spPr bwMode="auto">
          <a:xfrm>
            <a:off x="1000924" y="2705100"/>
            <a:ext cx="9873795" cy="3276600"/>
          </a:xfrm>
          <a:prstGeom prst="rect">
            <a:avLst/>
          </a:prstGeom>
          <a:noFill/>
          <a:ln w="9525">
            <a:noFill/>
            <a:miter lim="800000"/>
            <a:headEnd/>
            <a:tailEnd/>
          </a:ln>
        </p:spPr>
      </p:pic>
      <p:sp>
        <p:nvSpPr>
          <p:cNvPr id="2" name="TextBox 1"/>
          <p:cNvSpPr txBox="1">
            <a:spLocks noChangeArrowheads="1"/>
          </p:cNvSpPr>
          <p:nvPr/>
        </p:nvSpPr>
        <p:spPr bwMode="auto">
          <a:xfrm>
            <a:off x="1000924" y="1295402"/>
            <a:ext cx="9969021" cy="1231080"/>
          </a:xfrm>
          <a:prstGeom prst="rect">
            <a:avLst/>
          </a:prstGeom>
          <a:noFill/>
          <a:ln w="9525">
            <a:noFill/>
            <a:miter lim="800000"/>
            <a:headEnd/>
            <a:tailEnd/>
          </a:ln>
        </p:spPr>
        <p:txBody>
          <a:bodyPr wrap="square" lIns="121893" tIns="60947" rIns="121893" bIns="60947">
            <a:spAutoFit/>
          </a:bodyPr>
          <a:lstStyle/>
          <a:p>
            <a:pPr defTabSz="1216820" fontAlgn="base">
              <a:spcBef>
                <a:spcPct val="0"/>
              </a:spcBef>
              <a:spcAft>
                <a:spcPct val="0"/>
              </a:spcAft>
            </a:pPr>
            <a:r>
              <a:rPr lang="en-US" altLang="en-US" sz="2400" dirty="0">
                <a:solidFill>
                  <a:srgbClr val="333333"/>
                </a:solidFill>
                <a:latin typeface="Arial Narrow" pitchFamily="34" charset="0"/>
                <a:cs typeface="Arial" charset="0"/>
              </a:rPr>
              <a:t>While 6 out 10 data miners report the data is available for analysis within days of capture, the time to deploy the models takes substantially longer.   </a:t>
            </a:r>
            <a:r>
              <a:rPr lang="en-US" altLang="en-US" sz="2400" dirty="0">
                <a:solidFill>
                  <a:srgbClr val="0070C0"/>
                </a:solidFill>
                <a:latin typeface="Arial Narrow" pitchFamily="34" charset="0"/>
                <a:cs typeface="Arial" charset="0"/>
              </a:rPr>
              <a:t>For 60% of the respondents  the deployment time will range between 3 weeks and 1year. </a:t>
            </a:r>
          </a:p>
        </p:txBody>
      </p:sp>
      <p:cxnSp>
        <p:nvCxnSpPr>
          <p:cNvPr id="6" name="Straight Arrow Connector 5"/>
          <p:cNvCxnSpPr>
            <a:stCxn id="7" idx="1"/>
          </p:cNvCxnSpPr>
          <p:nvPr/>
        </p:nvCxnSpPr>
        <p:spPr>
          <a:xfrm flipH="1">
            <a:off x="9132524" y="3229521"/>
            <a:ext cx="1246171" cy="528163"/>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0378694" y="2429302"/>
            <a:ext cx="1682786" cy="1600439"/>
          </a:xfrm>
          <a:prstGeom prst="rect">
            <a:avLst/>
          </a:prstGeom>
          <a:noFill/>
        </p:spPr>
        <p:txBody>
          <a:bodyPr wrap="square" lIns="121893" tIns="60947" rIns="121893" bIns="60947" rtlCol="0">
            <a:spAutoFit/>
          </a:bodyPr>
          <a:lstStyle/>
          <a:p>
            <a:pPr defTabSz="1216820" fontAlgn="base">
              <a:spcBef>
                <a:spcPct val="0"/>
              </a:spcBef>
              <a:spcAft>
                <a:spcPct val="0"/>
              </a:spcAft>
            </a:pPr>
            <a:r>
              <a:rPr lang="en-US" sz="1600" b="1" dirty="0" smtClean="0">
                <a:solidFill>
                  <a:srgbClr val="FF0000"/>
                </a:solidFill>
                <a:latin typeface="Arial" pitchFamily="34" charset="0"/>
                <a:cs typeface="Arial" pitchFamily="34" charset="0"/>
              </a:rPr>
              <a:t>Everyone forgets about deployment – but is most important component!</a:t>
            </a:r>
            <a:endParaRPr lang="en-US" sz="1600" b="1" dirty="0">
              <a:solidFill>
                <a:srgbClr val="FF0000"/>
              </a:solidFill>
              <a:latin typeface="Arial" pitchFamily="34" charset="0"/>
              <a:cs typeface="Arial" pitchFamily="34" charset="0"/>
            </a:endParaRPr>
          </a:p>
        </p:txBody>
      </p:sp>
      <p:cxnSp>
        <p:nvCxnSpPr>
          <p:cNvPr id="10" name="Straight Connector 9"/>
          <p:cNvCxnSpPr/>
          <p:nvPr/>
        </p:nvCxnSpPr>
        <p:spPr>
          <a:xfrm>
            <a:off x="5637212" y="2590800"/>
            <a:ext cx="0" cy="365760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920286"/>
      </p:ext>
    </p:extLst>
  </p:cSld>
  <p:clrMapOvr>
    <a:masterClrMapping/>
  </p:clrMapOvr>
  <p:transition spd="med" advClick="0">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51EAA63-D034-42AE-91FA-B13B9518C7BE}" type="slidenum">
              <a:rPr lang="en-US" smtClean="0"/>
              <a:pPr/>
              <a:t>2</a:t>
            </a:fld>
            <a:endParaRPr lang="en-US" dirty="0"/>
          </a:p>
        </p:txBody>
      </p:sp>
    </p:spTree>
    <p:extLst>
      <p:ext uri="{BB962C8B-B14F-4D97-AF65-F5344CB8AC3E}">
        <p14:creationId xmlns:p14="http://schemas.microsoft.com/office/powerpoint/2010/main" val="3085319792"/>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chor="t" anchorCtr="0"/>
          <a:lstStyle/>
          <a:p>
            <a:r>
              <a:rPr lang="en-US" dirty="0" smtClean="0"/>
              <a:t>Traditional vs. Oracle Machine Learning/Predictive </a:t>
            </a:r>
            <a:r>
              <a:rPr lang="en-US" dirty="0" err="1" smtClean="0"/>
              <a:t>Analtyics</a:t>
            </a:r>
            <a:endParaRPr lang="en-US" dirty="0"/>
          </a:p>
        </p:txBody>
      </p:sp>
      <p:sp>
        <p:nvSpPr>
          <p:cNvPr id="10" name="Content Placeholder 9"/>
          <p:cNvSpPr>
            <a:spLocks noGrp="1"/>
          </p:cNvSpPr>
          <p:nvPr>
            <p:ph sz="half" idx="1"/>
          </p:nvPr>
        </p:nvSpPr>
        <p:spPr>
          <a:xfrm>
            <a:off x="531813" y="1143000"/>
            <a:ext cx="5410199" cy="4419600"/>
          </a:xfrm>
        </p:spPr>
        <p:txBody>
          <a:bodyPr/>
          <a:lstStyle/>
          <a:p>
            <a:r>
              <a:rPr lang="en-US" b="1" dirty="0" smtClean="0"/>
              <a:t>Traditional</a:t>
            </a:r>
            <a:r>
              <a:rPr lang="en-US" i="1" dirty="0" smtClean="0"/>
              <a:t>— “Move the data”</a:t>
            </a:r>
            <a:endParaRPr lang="en-US" i="1" dirty="0"/>
          </a:p>
        </p:txBody>
      </p:sp>
      <p:sp>
        <p:nvSpPr>
          <p:cNvPr id="11" name="Content Placeholder 10"/>
          <p:cNvSpPr>
            <a:spLocks noGrp="1"/>
          </p:cNvSpPr>
          <p:nvPr>
            <p:ph sz="half" idx="2"/>
          </p:nvPr>
        </p:nvSpPr>
        <p:spPr>
          <a:xfrm>
            <a:off x="6246814" y="1143000"/>
            <a:ext cx="5714998" cy="4419600"/>
          </a:xfrm>
        </p:spPr>
        <p:txBody>
          <a:bodyPr/>
          <a:lstStyle/>
          <a:p>
            <a:pPr>
              <a:buNone/>
            </a:pPr>
            <a:r>
              <a:rPr lang="en-US" dirty="0" smtClean="0"/>
              <a:t>                        </a:t>
            </a:r>
            <a:r>
              <a:rPr lang="en-US" i="1" dirty="0" smtClean="0"/>
              <a:t>—“Don’t move the data!”</a:t>
            </a:r>
            <a:endParaRPr lang="en-US" i="1" dirty="0"/>
          </a:p>
        </p:txBody>
      </p:sp>
      <p:sp>
        <p:nvSpPr>
          <p:cNvPr id="2" name="Footer Placeholder 1"/>
          <p:cNvSpPr>
            <a:spLocks noGrp="1"/>
          </p:cNvSpPr>
          <p:nvPr>
            <p:ph type="ftr" sz="quarter" idx="11"/>
          </p:nvPr>
        </p:nvSpPr>
        <p:spPr/>
        <p:txBody>
          <a:bodyPr/>
          <a:lstStyle/>
          <a:p>
            <a:r>
              <a:rPr lang="en-US" smtClean="0">
                <a:solidFill>
                  <a:srgbClr val="58595B"/>
                </a:solidFill>
              </a:rPr>
              <a:t>Oracle Confidential – Internal/Restricted/Highly Restricted</a:t>
            </a:r>
            <a:endParaRPr lang="en-US" dirty="0">
              <a:solidFill>
                <a:srgbClr val="58595B"/>
              </a:solidFill>
            </a:endParaRPr>
          </a:p>
        </p:txBody>
      </p:sp>
      <p:sp>
        <p:nvSpPr>
          <p:cNvPr id="3" name="Slide Number Placeholder 2"/>
          <p:cNvSpPr>
            <a:spLocks noGrp="1"/>
          </p:cNvSpPr>
          <p:nvPr>
            <p:ph type="sldNum" sz="quarter" idx="12"/>
          </p:nvPr>
        </p:nvSpPr>
        <p:spPr/>
        <p:txBody>
          <a:bodyPr/>
          <a:lstStyle/>
          <a:p>
            <a:fld id="{C51EAA63-D034-42AE-91FA-B13B9518C7BE}" type="slidenum">
              <a:rPr lang="en-US" smtClean="0">
                <a:solidFill>
                  <a:srgbClr val="58595B"/>
                </a:solidFill>
              </a:rPr>
              <a:pPr/>
              <a:t>20</a:t>
            </a:fld>
            <a:endParaRPr lang="en-US" dirty="0">
              <a:solidFill>
                <a:srgbClr val="58595B"/>
              </a:solidFill>
            </a:endParaRPr>
          </a:p>
        </p:txBody>
      </p:sp>
      <p:pic>
        <p:nvPicPr>
          <p:cNvPr id="367618" name="Picture 2"/>
          <p:cNvPicPr>
            <a:picLocks noChangeAspect="1" noChangeArrowheads="1"/>
          </p:cNvPicPr>
          <p:nvPr/>
        </p:nvPicPr>
        <p:blipFill>
          <a:blip r:embed="rId3" cstate="print"/>
          <a:srcRect/>
          <a:stretch>
            <a:fillRect/>
          </a:stretch>
        </p:blipFill>
        <p:spPr bwMode="auto">
          <a:xfrm>
            <a:off x="379412" y="2057400"/>
            <a:ext cx="5476875" cy="2834258"/>
          </a:xfrm>
          <a:prstGeom prst="rect">
            <a:avLst/>
          </a:prstGeom>
          <a:noFill/>
          <a:ln w="9525">
            <a:noFill/>
            <a:miter lim="800000"/>
            <a:headEnd/>
            <a:tailEnd/>
          </a:ln>
        </p:spPr>
      </p:pic>
      <p:grpSp>
        <p:nvGrpSpPr>
          <p:cNvPr id="4" name="Group 49"/>
          <p:cNvGrpSpPr/>
          <p:nvPr/>
        </p:nvGrpSpPr>
        <p:grpSpPr>
          <a:xfrm>
            <a:off x="6170612" y="762000"/>
            <a:ext cx="3617953" cy="3668606"/>
            <a:chOff x="6170612" y="762000"/>
            <a:chExt cx="3617953" cy="3668606"/>
          </a:xfrm>
        </p:grpSpPr>
        <p:pic>
          <p:nvPicPr>
            <p:cNvPr id="34" name="Picture 33" descr="ic-Database-red.png"/>
            <p:cNvPicPr>
              <a:picLocks noChangeAspect="1"/>
            </p:cNvPicPr>
            <p:nvPr/>
          </p:nvPicPr>
          <p:blipFill>
            <a:blip r:embed="rId4" cstate="print"/>
            <a:stretch>
              <a:fillRect/>
            </a:stretch>
          </p:blipFill>
          <p:spPr>
            <a:xfrm>
              <a:off x="7923212" y="2667000"/>
              <a:ext cx="1865353" cy="1763606"/>
            </a:xfrm>
            <a:prstGeom prst="rect">
              <a:avLst/>
            </a:prstGeom>
          </p:spPr>
        </p:pic>
        <p:pic>
          <p:nvPicPr>
            <p:cNvPr id="367620" name="Picture 4" descr="http://kalypso.com/uploads/logos/Logo-Oracle.png"/>
            <p:cNvPicPr>
              <a:picLocks noChangeAspect="1" noChangeArrowheads="1"/>
            </p:cNvPicPr>
            <p:nvPr/>
          </p:nvPicPr>
          <p:blipFill>
            <a:blip r:embed="rId5" cstate="print"/>
            <a:srcRect/>
            <a:stretch>
              <a:fillRect/>
            </a:stretch>
          </p:blipFill>
          <p:spPr bwMode="auto">
            <a:xfrm>
              <a:off x="6170612" y="762000"/>
              <a:ext cx="2133600" cy="1066800"/>
            </a:xfrm>
            <a:prstGeom prst="rect">
              <a:avLst/>
            </a:prstGeom>
            <a:noFill/>
          </p:spPr>
        </p:pic>
      </p:grpSp>
    </p:spTree>
    <p:extLst>
      <p:ext uri="{BB962C8B-B14F-4D97-AF65-F5344CB8AC3E}">
        <p14:creationId xmlns:p14="http://schemas.microsoft.com/office/powerpoint/2010/main" val="2698931939"/>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descr="ic-Database-red.png"/>
          <p:cNvPicPr>
            <a:picLocks noChangeAspect="1"/>
          </p:cNvPicPr>
          <p:nvPr/>
        </p:nvPicPr>
        <p:blipFill>
          <a:blip r:embed="rId3" cstate="print"/>
          <a:stretch>
            <a:fillRect/>
          </a:stretch>
        </p:blipFill>
        <p:spPr>
          <a:xfrm>
            <a:off x="7923212" y="2667000"/>
            <a:ext cx="1865353" cy="1763606"/>
          </a:xfrm>
          <a:prstGeom prst="rect">
            <a:avLst/>
          </a:prstGeom>
        </p:spPr>
      </p:pic>
      <p:sp>
        <p:nvSpPr>
          <p:cNvPr id="9" name="Title 8"/>
          <p:cNvSpPr>
            <a:spLocks noGrp="1"/>
          </p:cNvSpPr>
          <p:nvPr>
            <p:ph type="title"/>
          </p:nvPr>
        </p:nvSpPr>
        <p:spPr/>
        <p:txBody>
          <a:bodyPr anchor="t" anchorCtr="0"/>
          <a:lstStyle/>
          <a:p>
            <a:r>
              <a:rPr lang="en-US" dirty="0" smtClean="0"/>
              <a:t>Traditional vs. Oracle Machine Learning/Predictive </a:t>
            </a:r>
            <a:r>
              <a:rPr lang="en-US" dirty="0" err="1" smtClean="0"/>
              <a:t>Analtyics</a:t>
            </a:r>
            <a:endParaRPr lang="en-US" dirty="0"/>
          </a:p>
        </p:txBody>
      </p:sp>
      <p:sp>
        <p:nvSpPr>
          <p:cNvPr id="10" name="Content Placeholder 9"/>
          <p:cNvSpPr>
            <a:spLocks noGrp="1"/>
          </p:cNvSpPr>
          <p:nvPr>
            <p:ph sz="half" idx="1"/>
          </p:nvPr>
        </p:nvSpPr>
        <p:spPr>
          <a:xfrm>
            <a:off x="531813" y="1143000"/>
            <a:ext cx="5410199" cy="4419600"/>
          </a:xfrm>
        </p:spPr>
        <p:txBody>
          <a:bodyPr/>
          <a:lstStyle/>
          <a:p>
            <a:r>
              <a:rPr lang="en-US" b="1" dirty="0" smtClean="0"/>
              <a:t>Traditional</a:t>
            </a:r>
            <a:r>
              <a:rPr lang="en-US" i="1" dirty="0" smtClean="0"/>
              <a:t>— “Move the data”</a:t>
            </a:r>
            <a:endParaRPr lang="en-US" i="1" dirty="0"/>
          </a:p>
        </p:txBody>
      </p:sp>
      <p:sp>
        <p:nvSpPr>
          <p:cNvPr id="11" name="Content Placeholder 10"/>
          <p:cNvSpPr>
            <a:spLocks noGrp="1"/>
          </p:cNvSpPr>
          <p:nvPr>
            <p:ph sz="half" idx="2"/>
          </p:nvPr>
        </p:nvSpPr>
        <p:spPr>
          <a:xfrm>
            <a:off x="6246813" y="1143000"/>
            <a:ext cx="5942011" cy="4419600"/>
          </a:xfrm>
        </p:spPr>
        <p:txBody>
          <a:bodyPr/>
          <a:lstStyle/>
          <a:p>
            <a:pPr>
              <a:buNone/>
            </a:pPr>
            <a:r>
              <a:rPr lang="en-US" dirty="0" smtClean="0"/>
              <a:t>                         </a:t>
            </a:r>
            <a:r>
              <a:rPr lang="en-US" i="1" dirty="0" smtClean="0"/>
              <a:t>— “Move the algorithms”</a:t>
            </a:r>
            <a:endParaRPr lang="en-US" i="1" dirty="0"/>
          </a:p>
        </p:txBody>
      </p:sp>
      <p:sp>
        <p:nvSpPr>
          <p:cNvPr id="2" name="Footer Placeholder 1"/>
          <p:cNvSpPr>
            <a:spLocks noGrp="1"/>
          </p:cNvSpPr>
          <p:nvPr>
            <p:ph type="ftr" sz="quarter" idx="11"/>
          </p:nvPr>
        </p:nvSpPr>
        <p:spPr/>
        <p:txBody>
          <a:bodyPr/>
          <a:lstStyle/>
          <a:p>
            <a:r>
              <a:rPr lang="en-US" smtClean="0">
                <a:solidFill>
                  <a:srgbClr val="58595B"/>
                </a:solidFill>
              </a:rPr>
              <a:t>Oracle Confidential – Internal/Restricted/Highly Restricted</a:t>
            </a:r>
            <a:endParaRPr lang="en-US" dirty="0">
              <a:solidFill>
                <a:srgbClr val="58595B"/>
              </a:solidFill>
            </a:endParaRPr>
          </a:p>
        </p:txBody>
      </p:sp>
      <p:sp>
        <p:nvSpPr>
          <p:cNvPr id="3" name="Slide Number Placeholder 2"/>
          <p:cNvSpPr>
            <a:spLocks noGrp="1"/>
          </p:cNvSpPr>
          <p:nvPr>
            <p:ph type="sldNum" sz="quarter" idx="12"/>
          </p:nvPr>
        </p:nvSpPr>
        <p:spPr/>
        <p:txBody>
          <a:bodyPr/>
          <a:lstStyle/>
          <a:p>
            <a:fld id="{C51EAA63-D034-42AE-91FA-B13B9518C7BE}" type="slidenum">
              <a:rPr lang="en-US" smtClean="0">
                <a:solidFill>
                  <a:srgbClr val="58595B"/>
                </a:solidFill>
              </a:rPr>
              <a:pPr/>
              <a:t>21</a:t>
            </a:fld>
            <a:endParaRPr lang="en-US" dirty="0">
              <a:solidFill>
                <a:srgbClr val="58595B"/>
              </a:solidFill>
            </a:endParaRPr>
          </a:p>
        </p:txBody>
      </p:sp>
      <p:cxnSp>
        <p:nvCxnSpPr>
          <p:cNvPr id="13" name="Straight Connector 12"/>
          <p:cNvCxnSpPr>
            <a:stCxn id="9" idx="2"/>
          </p:cNvCxnSpPr>
          <p:nvPr/>
        </p:nvCxnSpPr>
        <p:spPr>
          <a:xfrm>
            <a:off x="6094412" y="1295400"/>
            <a:ext cx="0" cy="4724400"/>
          </a:xfrm>
          <a:prstGeom prst="line">
            <a:avLst/>
          </a:prstGeom>
          <a:ln w="31750">
            <a:solidFill>
              <a:schemeClr val="bg2">
                <a:lumMod val="90000"/>
              </a:schemeClr>
            </a:solidFill>
            <a:miter lim="800000"/>
          </a:ln>
        </p:spPr>
        <p:style>
          <a:lnRef idx="1">
            <a:schemeClr val="accent1"/>
          </a:lnRef>
          <a:fillRef idx="0">
            <a:schemeClr val="accent1"/>
          </a:fillRef>
          <a:effectRef idx="0">
            <a:schemeClr val="accent1"/>
          </a:effectRef>
          <a:fontRef idx="minor">
            <a:schemeClr val="tx1"/>
          </a:fontRef>
        </p:style>
      </p:cxnSp>
      <p:pic>
        <p:nvPicPr>
          <p:cNvPr id="34" name="Picture 33" descr="ic-Database-red.png"/>
          <p:cNvPicPr>
            <a:picLocks noChangeAspect="1"/>
          </p:cNvPicPr>
          <p:nvPr/>
        </p:nvPicPr>
        <p:blipFill>
          <a:blip r:embed="rId3" cstate="print"/>
          <a:stretch>
            <a:fillRect/>
          </a:stretch>
        </p:blipFill>
        <p:spPr>
          <a:xfrm>
            <a:off x="7923212" y="2667000"/>
            <a:ext cx="1865353" cy="1763606"/>
          </a:xfrm>
          <a:prstGeom prst="rect">
            <a:avLst/>
          </a:prstGeom>
        </p:spPr>
      </p:pic>
      <p:pic>
        <p:nvPicPr>
          <p:cNvPr id="367618" name="Picture 2"/>
          <p:cNvPicPr>
            <a:picLocks noChangeAspect="1" noChangeArrowheads="1"/>
          </p:cNvPicPr>
          <p:nvPr/>
        </p:nvPicPr>
        <p:blipFill>
          <a:blip r:embed="rId4" cstate="print"/>
          <a:srcRect/>
          <a:stretch>
            <a:fillRect/>
          </a:stretch>
        </p:blipFill>
        <p:spPr bwMode="auto">
          <a:xfrm>
            <a:off x="379412" y="2057400"/>
            <a:ext cx="5476875" cy="2834258"/>
          </a:xfrm>
          <a:prstGeom prst="rect">
            <a:avLst/>
          </a:prstGeom>
          <a:noFill/>
          <a:ln w="9525">
            <a:noFill/>
            <a:miter lim="800000"/>
            <a:headEnd/>
            <a:tailEnd/>
          </a:ln>
        </p:spPr>
      </p:pic>
      <p:grpSp>
        <p:nvGrpSpPr>
          <p:cNvPr id="4" name="Group 52"/>
          <p:cNvGrpSpPr/>
          <p:nvPr/>
        </p:nvGrpSpPr>
        <p:grpSpPr>
          <a:xfrm>
            <a:off x="379412" y="1524000"/>
            <a:ext cx="5483038" cy="4457700"/>
            <a:chOff x="379412" y="1524000"/>
            <a:chExt cx="5483038" cy="4457700"/>
          </a:xfrm>
        </p:grpSpPr>
        <p:grpSp>
          <p:nvGrpSpPr>
            <p:cNvPr id="5" name="Group 49"/>
            <p:cNvGrpSpPr/>
            <p:nvPr/>
          </p:nvGrpSpPr>
          <p:grpSpPr>
            <a:xfrm>
              <a:off x="379412" y="1524000"/>
              <a:ext cx="5483038" cy="4457700"/>
              <a:chOff x="379412" y="1524000"/>
              <a:chExt cx="5483038" cy="4457700"/>
            </a:xfrm>
          </p:grpSpPr>
          <p:pic>
            <p:nvPicPr>
              <p:cNvPr id="31" name="Picture 4"/>
              <p:cNvPicPr>
                <a:picLocks noChangeAspect="1" noChangeArrowheads="1"/>
              </p:cNvPicPr>
              <p:nvPr/>
            </p:nvPicPr>
            <p:blipFill>
              <a:blip r:embed="rId5" cstate="print"/>
              <a:srcRect/>
              <a:stretch>
                <a:fillRect/>
              </a:stretch>
            </p:blipFill>
            <p:spPr bwMode="auto">
              <a:xfrm>
                <a:off x="608012" y="1600200"/>
                <a:ext cx="752475" cy="561975"/>
              </a:xfrm>
              <a:prstGeom prst="rect">
                <a:avLst/>
              </a:prstGeom>
              <a:noFill/>
              <a:ln w="9525">
                <a:noFill/>
                <a:miter lim="800000"/>
                <a:headEnd/>
                <a:tailEnd/>
              </a:ln>
            </p:spPr>
          </p:pic>
          <p:pic>
            <p:nvPicPr>
              <p:cNvPr id="36" name="Picture 5"/>
              <p:cNvPicPr>
                <a:picLocks noChangeAspect="1" noChangeArrowheads="1"/>
              </p:cNvPicPr>
              <p:nvPr/>
            </p:nvPicPr>
            <p:blipFill>
              <a:blip r:embed="rId6" cstate="print"/>
              <a:srcRect/>
              <a:stretch>
                <a:fillRect/>
              </a:stretch>
            </p:blipFill>
            <p:spPr bwMode="auto">
              <a:xfrm>
                <a:off x="2284412" y="3657600"/>
                <a:ext cx="627888" cy="826168"/>
              </a:xfrm>
              <a:prstGeom prst="rect">
                <a:avLst/>
              </a:prstGeom>
              <a:noFill/>
              <a:ln w="9525">
                <a:noFill/>
                <a:miter lim="800000"/>
                <a:headEnd/>
                <a:tailEnd/>
              </a:ln>
            </p:spPr>
          </p:pic>
          <p:pic>
            <p:nvPicPr>
              <p:cNvPr id="37" name="Picture 7"/>
              <p:cNvPicPr>
                <a:picLocks noChangeAspect="1" noChangeArrowheads="1"/>
              </p:cNvPicPr>
              <p:nvPr/>
            </p:nvPicPr>
            <p:blipFill>
              <a:blip r:embed="rId7" cstate="print"/>
              <a:srcRect/>
              <a:stretch>
                <a:fillRect/>
              </a:stretch>
            </p:blipFill>
            <p:spPr bwMode="auto">
              <a:xfrm>
                <a:off x="2436812" y="1524000"/>
                <a:ext cx="638175" cy="628650"/>
              </a:xfrm>
              <a:prstGeom prst="rect">
                <a:avLst/>
              </a:prstGeom>
              <a:noFill/>
              <a:ln w="9525">
                <a:noFill/>
                <a:miter lim="800000"/>
                <a:headEnd/>
                <a:tailEnd/>
              </a:ln>
            </p:spPr>
          </p:pic>
          <p:pic>
            <p:nvPicPr>
              <p:cNvPr id="38" name="Picture 8"/>
              <p:cNvPicPr>
                <a:picLocks noChangeAspect="1" noChangeArrowheads="1"/>
              </p:cNvPicPr>
              <p:nvPr/>
            </p:nvPicPr>
            <p:blipFill>
              <a:blip r:embed="rId8" cstate="print"/>
              <a:srcRect/>
              <a:stretch>
                <a:fillRect/>
              </a:stretch>
            </p:blipFill>
            <p:spPr bwMode="auto">
              <a:xfrm>
                <a:off x="3579812" y="4724400"/>
                <a:ext cx="628650" cy="628650"/>
              </a:xfrm>
              <a:prstGeom prst="rect">
                <a:avLst/>
              </a:prstGeom>
              <a:noFill/>
              <a:ln w="9525">
                <a:noFill/>
                <a:miter lim="800000"/>
                <a:headEnd/>
                <a:tailEnd/>
              </a:ln>
            </p:spPr>
          </p:pic>
          <p:pic>
            <p:nvPicPr>
              <p:cNvPr id="39" name="Picture 9"/>
              <p:cNvPicPr>
                <a:picLocks noChangeAspect="1" noChangeArrowheads="1"/>
              </p:cNvPicPr>
              <p:nvPr/>
            </p:nvPicPr>
            <p:blipFill>
              <a:blip r:embed="rId9" cstate="print"/>
              <a:srcRect/>
              <a:stretch>
                <a:fillRect/>
              </a:stretch>
            </p:blipFill>
            <p:spPr bwMode="auto">
              <a:xfrm>
                <a:off x="1065212" y="4114800"/>
                <a:ext cx="685800" cy="666750"/>
              </a:xfrm>
              <a:prstGeom prst="rect">
                <a:avLst/>
              </a:prstGeom>
              <a:noFill/>
              <a:ln w="9525">
                <a:noFill/>
                <a:miter lim="800000"/>
                <a:headEnd/>
                <a:tailEnd/>
              </a:ln>
            </p:spPr>
          </p:pic>
          <p:pic>
            <p:nvPicPr>
              <p:cNvPr id="40" name="Picture 10"/>
              <p:cNvPicPr>
                <a:picLocks noChangeAspect="1" noChangeArrowheads="1"/>
              </p:cNvPicPr>
              <p:nvPr/>
            </p:nvPicPr>
            <p:blipFill>
              <a:blip r:embed="rId10" cstate="print"/>
              <a:srcRect/>
              <a:stretch>
                <a:fillRect/>
              </a:stretch>
            </p:blipFill>
            <p:spPr bwMode="auto">
              <a:xfrm>
                <a:off x="2360612" y="4648200"/>
                <a:ext cx="771525" cy="552450"/>
              </a:xfrm>
              <a:prstGeom prst="rect">
                <a:avLst/>
              </a:prstGeom>
              <a:noFill/>
              <a:ln w="9525">
                <a:noFill/>
                <a:miter lim="800000"/>
                <a:headEnd/>
                <a:tailEnd/>
              </a:ln>
            </p:spPr>
          </p:pic>
          <p:pic>
            <p:nvPicPr>
              <p:cNvPr id="41" name="Picture 11"/>
              <p:cNvPicPr>
                <a:picLocks noChangeAspect="1" noChangeArrowheads="1"/>
              </p:cNvPicPr>
              <p:nvPr/>
            </p:nvPicPr>
            <p:blipFill>
              <a:blip r:embed="rId11" cstate="print"/>
              <a:srcRect/>
              <a:stretch>
                <a:fillRect/>
              </a:stretch>
            </p:blipFill>
            <p:spPr bwMode="auto">
              <a:xfrm>
                <a:off x="3656012" y="1600200"/>
                <a:ext cx="714375" cy="561975"/>
              </a:xfrm>
              <a:prstGeom prst="rect">
                <a:avLst/>
              </a:prstGeom>
              <a:noFill/>
              <a:ln w="9525">
                <a:noFill/>
                <a:miter lim="800000"/>
                <a:headEnd/>
                <a:tailEnd/>
              </a:ln>
            </p:spPr>
          </p:pic>
          <p:pic>
            <p:nvPicPr>
              <p:cNvPr id="42" name="Picture 13"/>
              <p:cNvPicPr>
                <a:picLocks noChangeAspect="1" noChangeArrowheads="1"/>
              </p:cNvPicPr>
              <p:nvPr/>
            </p:nvPicPr>
            <p:blipFill>
              <a:blip r:embed="rId12" cstate="print"/>
              <a:srcRect/>
              <a:stretch>
                <a:fillRect/>
              </a:stretch>
            </p:blipFill>
            <p:spPr bwMode="auto">
              <a:xfrm>
                <a:off x="1446212" y="3048000"/>
                <a:ext cx="828675" cy="857250"/>
              </a:xfrm>
              <a:prstGeom prst="rect">
                <a:avLst/>
              </a:prstGeom>
              <a:noFill/>
              <a:ln w="9525">
                <a:noFill/>
                <a:miter lim="800000"/>
                <a:headEnd/>
                <a:tailEnd/>
              </a:ln>
            </p:spPr>
          </p:pic>
          <p:pic>
            <p:nvPicPr>
              <p:cNvPr id="43" name="Picture 12"/>
              <p:cNvPicPr>
                <a:picLocks noChangeAspect="1" noChangeArrowheads="1"/>
              </p:cNvPicPr>
              <p:nvPr/>
            </p:nvPicPr>
            <p:blipFill>
              <a:blip r:embed="rId13" cstate="print"/>
              <a:srcRect/>
              <a:stretch>
                <a:fillRect/>
              </a:stretch>
            </p:blipFill>
            <p:spPr bwMode="auto">
              <a:xfrm>
                <a:off x="989012" y="4648200"/>
                <a:ext cx="1130959" cy="1104900"/>
              </a:xfrm>
              <a:prstGeom prst="rect">
                <a:avLst/>
              </a:prstGeom>
              <a:noFill/>
              <a:ln w="9525">
                <a:noFill/>
                <a:miter lim="800000"/>
                <a:headEnd/>
                <a:tailEnd/>
              </a:ln>
            </p:spPr>
          </p:pic>
          <p:pic>
            <p:nvPicPr>
              <p:cNvPr id="45" name="Picture 5"/>
              <p:cNvPicPr>
                <a:picLocks noChangeAspect="1" noChangeArrowheads="1"/>
              </p:cNvPicPr>
              <p:nvPr/>
            </p:nvPicPr>
            <p:blipFill>
              <a:blip r:embed="rId14" cstate="print"/>
              <a:srcRect/>
              <a:stretch>
                <a:fillRect/>
              </a:stretch>
            </p:blipFill>
            <p:spPr bwMode="auto">
              <a:xfrm>
                <a:off x="379412" y="3657600"/>
                <a:ext cx="685800" cy="832757"/>
              </a:xfrm>
              <a:prstGeom prst="rect">
                <a:avLst/>
              </a:prstGeom>
              <a:noFill/>
              <a:ln w="9525">
                <a:noFill/>
                <a:miter lim="800000"/>
                <a:headEnd/>
                <a:tailEnd/>
              </a:ln>
            </p:spPr>
          </p:pic>
          <p:pic>
            <p:nvPicPr>
              <p:cNvPr id="46" name="Picture 2"/>
              <p:cNvPicPr>
                <a:picLocks noChangeAspect="1" noChangeArrowheads="1"/>
              </p:cNvPicPr>
              <p:nvPr/>
            </p:nvPicPr>
            <p:blipFill>
              <a:blip r:embed="rId15" cstate="print"/>
              <a:srcRect/>
              <a:stretch>
                <a:fillRect/>
              </a:stretch>
            </p:blipFill>
            <p:spPr bwMode="auto">
              <a:xfrm>
                <a:off x="2894012" y="3505200"/>
                <a:ext cx="1044315" cy="838200"/>
              </a:xfrm>
              <a:prstGeom prst="rect">
                <a:avLst/>
              </a:prstGeom>
              <a:noFill/>
              <a:ln w="9525">
                <a:noFill/>
                <a:miter lim="800000"/>
                <a:headEnd/>
                <a:tailEnd/>
              </a:ln>
            </p:spPr>
          </p:pic>
          <p:pic>
            <p:nvPicPr>
              <p:cNvPr id="47" name="Picture 3"/>
              <p:cNvPicPr>
                <a:picLocks noChangeAspect="1" noChangeArrowheads="1"/>
              </p:cNvPicPr>
              <p:nvPr/>
            </p:nvPicPr>
            <p:blipFill>
              <a:blip r:embed="rId16" cstate="print"/>
              <a:srcRect/>
              <a:stretch>
                <a:fillRect/>
              </a:stretch>
            </p:blipFill>
            <p:spPr bwMode="auto">
              <a:xfrm>
                <a:off x="4646612" y="4800600"/>
                <a:ext cx="1215838" cy="1181100"/>
              </a:xfrm>
              <a:prstGeom prst="rect">
                <a:avLst/>
              </a:prstGeom>
              <a:noFill/>
              <a:ln w="9525">
                <a:noFill/>
                <a:miter lim="800000"/>
                <a:headEnd/>
                <a:tailEnd/>
              </a:ln>
            </p:spPr>
          </p:pic>
          <p:pic>
            <p:nvPicPr>
              <p:cNvPr id="48" name="Picture 12"/>
              <p:cNvPicPr>
                <a:picLocks noChangeAspect="1" noChangeArrowheads="1"/>
              </p:cNvPicPr>
              <p:nvPr/>
            </p:nvPicPr>
            <p:blipFill>
              <a:blip r:embed="rId17" cstate="print"/>
              <a:srcRect/>
              <a:stretch>
                <a:fillRect/>
              </a:stretch>
            </p:blipFill>
            <p:spPr bwMode="auto">
              <a:xfrm>
                <a:off x="1522412" y="2390775"/>
                <a:ext cx="638175" cy="657225"/>
              </a:xfrm>
              <a:prstGeom prst="rect">
                <a:avLst/>
              </a:prstGeom>
              <a:noFill/>
              <a:ln w="9525">
                <a:noFill/>
                <a:miter lim="800000"/>
                <a:headEnd/>
                <a:tailEnd/>
              </a:ln>
            </p:spPr>
          </p:pic>
          <p:pic>
            <p:nvPicPr>
              <p:cNvPr id="44" name="Picture 15" descr="https://www.r-project.org/Rlogo.png"/>
              <p:cNvPicPr>
                <a:picLocks noChangeAspect="1" noChangeArrowheads="1"/>
              </p:cNvPicPr>
              <p:nvPr/>
            </p:nvPicPr>
            <p:blipFill>
              <a:blip r:embed="rId18" cstate="print"/>
              <a:srcRect/>
              <a:stretch>
                <a:fillRect/>
              </a:stretch>
            </p:blipFill>
            <p:spPr bwMode="auto">
              <a:xfrm>
                <a:off x="3808412" y="4114800"/>
                <a:ext cx="762000" cy="590550"/>
              </a:xfrm>
              <a:prstGeom prst="rect">
                <a:avLst/>
              </a:prstGeom>
              <a:noFill/>
            </p:spPr>
          </p:pic>
        </p:grpSp>
        <p:pic>
          <p:nvPicPr>
            <p:cNvPr id="51" name="Picture 4"/>
            <p:cNvPicPr>
              <a:picLocks noChangeAspect="1" noChangeArrowheads="1"/>
            </p:cNvPicPr>
            <p:nvPr/>
          </p:nvPicPr>
          <p:blipFill>
            <a:blip r:embed="rId19" cstate="print"/>
            <a:srcRect/>
            <a:stretch>
              <a:fillRect/>
            </a:stretch>
          </p:blipFill>
          <p:spPr bwMode="auto">
            <a:xfrm>
              <a:off x="3427412" y="2438400"/>
              <a:ext cx="609600" cy="609600"/>
            </a:xfrm>
            <a:prstGeom prst="rect">
              <a:avLst/>
            </a:prstGeom>
            <a:noFill/>
            <a:ln w="9525">
              <a:noFill/>
              <a:miter lim="800000"/>
              <a:headEnd/>
              <a:tailEnd/>
            </a:ln>
          </p:spPr>
        </p:pic>
      </p:grpSp>
      <p:grpSp>
        <p:nvGrpSpPr>
          <p:cNvPr id="6" name="Group 53"/>
          <p:cNvGrpSpPr/>
          <p:nvPr/>
        </p:nvGrpSpPr>
        <p:grpSpPr>
          <a:xfrm>
            <a:off x="7618412" y="2438400"/>
            <a:ext cx="2590800" cy="2228850"/>
            <a:chOff x="7618412" y="2438400"/>
            <a:chExt cx="2590800" cy="2228850"/>
          </a:xfrm>
        </p:grpSpPr>
        <p:pic>
          <p:nvPicPr>
            <p:cNvPr id="52" name="Picture 4"/>
            <p:cNvPicPr>
              <a:picLocks noChangeAspect="1" noChangeArrowheads="1"/>
            </p:cNvPicPr>
            <p:nvPr/>
          </p:nvPicPr>
          <p:blipFill>
            <a:blip r:embed="rId19" cstate="print"/>
            <a:srcRect/>
            <a:stretch>
              <a:fillRect/>
            </a:stretch>
          </p:blipFill>
          <p:spPr bwMode="auto">
            <a:xfrm>
              <a:off x="9599612" y="3810000"/>
              <a:ext cx="609600" cy="609600"/>
            </a:xfrm>
            <a:prstGeom prst="rect">
              <a:avLst/>
            </a:prstGeom>
            <a:noFill/>
            <a:ln w="9525">
              <a:noFill/>
              <a:miter lim="800000"/>
              <a:headEnd/>
              <a:tailEnd/>
            </a:ln>
          </p:spPr>
        </p:pic>
        <p:grpSp>
          <p:nvGrpSpPr>
            <p:cNvPr id="7" name="Group 48"/>
            <p:cNvGrpSpPr/>
            <p:nvPr/>
          </p:nvGrpSpPr>
          <p:grpSpPr>
            <a:xfrm>
              <a:off x="7618412" y="2438400"/>
              <a:ext cx="2400300" cy="2228850"/>
              <a:chOff x="7618412" y="2438400"/>
              <a:chExt cx="2400300" cy="2228850"/>
            </a:xfrm>
          </p:grpSpPr>
          <p:pic>
            <p:nvPicPr>
              <p:cNvPr id="24" name="Picture 7"/>
              <p:cNvPicPr>
                <a:picLocks noChangeAspect="1" noChangeArrowheads="1"/>
              </p:cNvPicPr>
              <p:nvPr/>
            </p:nvPicPr>
            <p:blipFill>
              <a:blip r:embed="rId7" cstate="print"/>
              <a:srcRect/>
              <a:stretch>
                <a:fillRect/>
              </a:stretch>
            </p:blipFill>
            <p:spPr bwMode="auto">
              <a:xfrm>
                <a:off x="7999412" y="4038600"/>
                <a:ext cx="638175" cy="628650"/>
              </a:xfrm>
              <a:prstGeom prst="rect">
                <a:avLst/>
              </a:prstGeom>
              <a:noFill/>
              <a:ln w="9525">
                <a:noFill/>
                <a:miter lim="800000"/>
                <a:headEnd/>
                <a:tailEnd/>
              </a:ln>
            </p:spPr>
          </p:pic>
          <p:pic>
            <p:nvPicPr>
              <p:cNvPr id="25" name="Picture 12"/>
              <p:cNvPicPr>
                <a:picLocks noChangeAspect="1" noChangeArrowheads="1"/>
              </p:cNvPicPr>
              <p:nvPr/>
            </p:nvPicPr>
            <p:blipFill>
              <a:blip r:embed="rId17" cstate="print"/>
              <a:srcRect/>
              <a:stretch>
                <a:fillRect/>
              </a:stretch>
            </p:blipFill>
            <p:spPr bwMode="auto">
              <a:xfrm>
                <a:off x="8609012" y="3962400"/>
                <a:ext cx="638175" cy="657225"/>
              </a:xfrm>
              <a:prstGeom prst="rect">
                <a:avLst/>
              </a:prstGeom>
              <a:noFill/>
              <a:ln w="9525">
                <a:noFill/>
                <a:miter lim="800000"/>
                <a:headEnd/>
                <a:tailEnd/>
              </a:ln>
            </p:spPr>
          </p:pic>
          <p:pic>
            <p:nvPicPr>
              <p:cNvPr id="26" name="Picture 8"/>
              <p:cNvPicPr>
                <a:picLocks noChangeAspect="1" noChangeArrowheads="1"/>
              </p:cNvPicPr>
              <p:nvPr/>
            </p:nvPicPr>
            <p:blipFill>
              <a:blip r:embed="rId8" cstate="print"/>
              <a:srcRect/>
              <a:stretch>
                <a:fillRect/>
              </a:stretch>
            </p:blipFill>
            <p:spPr bwMode="auto">
              <a:xfrm>
                <a:off x="7694612" y="3200400"/>
                <a:ext cx="628650" cy="628650"/>
              </a:xfrm>
              <a:prstGeom prst="rect">
                <a:avLst/>
              </a:prstGeom>
              <a:noFill/>
              <a:ln w="9525">
                <a:noFill/>
                <a:miter lim="800000"/>
                <a:headEnd/>
                <a:tailEnd/>
              </a:ln>
            </p:spPr>
          </p:pic>
          <p:pic>
            <p:nvPicPr>
              <p:cNvPr id="27" name="Picture 6"/>
              <p:cNvPicPr>
                <a:picLocks noChangeAspect="1" noChangeArrowheads="1"/>
              </p:cNvPicPr>
              <p:nvPr/>
            </p:nvPicPr>
            <p:blipFill>
              <a:blip r:embed="rId20" cstate="print"/>
              <a:srcRect/>
              <a:stretch>
                <a:fillRect/>
              </a:stretch>
            </p:blipFill>
            <p:spPr bwMode="auto">
              <a:xfrm>
                <a:off x="9294812" y="3124200"/>
                <a:ext cx="723900" cy="619125"/>
              </a:xfrm>
              <a:prstGeom prst="rect">
                <a:avLst/>
              </a:prstGeom>
              <a:noFill/>
              <a:ln w="9525">
                <a:noFill/>
                <a:miter lim="800000"/>
                <a:headEnd/>
                <a:tailEnd/>
              </a:ln>
            </p:spPr>
          </p:pic>
          <p:pic>
            <p:nvPicPr>
              <p:cNvPr id="28" name="Picture 5"/>
              <p:cNvPicPr>
                <a:picLocks noChangeAspect="1" noChangeArrowheads="1"/>
              </p:cNvPicPr>
              <p:nvPr/>
            </p:nvPicPr>
            <p:blipFill>
              <a:blip r:embed="rId6" cstate="print"/>
              <a:srcRect/>
              <a:stretch>
                <a:fillRect/>
              </a:stretch>
            </p:blipFill>
            <p:spPr bwMode="auto">
              <a:xfrm>
                <a:off x="7923212" y="2667000"/>
                <a:ext cx="533400" cy="701842"/>
              </a:xfrm>
              <a:prstGeom prst="rect">
                <a:avLst/>
              </a:prstGeom>
              <a:noFill/>
              <a:ln w="9525">
                <a:noFill/>
                <a:miter lim="800000"/>
                <a:headEnd/>
                <a:tailEnd/>
              </a:ln>
            </p:spPr>
          </p:pic>
          <p:pic>
            <p:nvPicPr>
              <p:cNvPr id="29" name="Picture 4"/>
              <p:cNvPicPr>
                <a:picLocks noChangeAspect="1" noChangeArrowheads="1"/>
              </p:cNvPicPr>
              <p:nvPr/>
            </p:nvPicPr>
            <p:blipFill>
              <a:blip r:embed="rId5" cstate="print"/>
              <a:srcRect/>
              <a:stretch>
                <a:fillRect/>
              </a:stretch>
            </p:blipFill>
            <p:spPr bwMode="auto">
              <a:xfrm>
                <a:off x="8456612" y="2438400"/>
                <a:ext cx="752475" cy="561975"/>
              </a:xfrm>
              <a:prstGeom prst="rect">
                <a:avLst/>
              </a:prstGeom>
              <a:noFill/>
              <a:ln w="9525">
                <a:noFill/>
                <a:miter lim="800000"/>
                <a:headEnd/>
                <a:tailEnd/>
              </a:ln>
            </p:spPr>
          </p:pic>
          <p:pic>
            <p:nvPicPr>
              <p:cNvPr id="30" name="Picture 11"/>
              <p:cNvPicPr>
                <a:picLocks noChangeAspect="1" noChangeArrowheads="1"/>
              </p:cNvPicPr>
              <p:nvPr/>
            </p:nvPicPr>
            <p:blipFill>
              <a:blip r:embed="rId11" cstate="print"/>
              <a:srcRect/>
              <a:stretch>
                <a:fillRect/>
              </a:stretch>
            </p:blipFill>
            <p:spPr bwMode="auto">
              <a:xfrm>
                <a:off x="9218612" y="2590800"/>
                <a:ext cx="714375" cy="561975"/>
              </a:xfrm>
              <a:prstGeom prst="rect">
                <a:avLst/>
              </a:prstGeom>
              <a:noFill/>
              <a:ln w="9525">
                <a:noFill/>
                <a:miter lim="800000"/>
                <a:headEnd/>
                <a:tailEnd/>
              </a:ln>
            </p:spPr>
          </p:pic>
          <p:pic>
            <p:nvPicPr>
              <p:cNvPr id="32" name="Picture 31" descr="ic-Database-red.png"/>
              <p:cNvPicPr>
                <a:picLocks noChangeAspect="1"/>
              </p:cNvPicPr>
              <p:nvPr/>
            </p:nvPicPr>
            <p:blipFill>
              <a:blip r:embed="rId3" cstate="print"/>
              <a:stretch>
                <a:fillRect/>
              </a:stretch>
            </p:blipFill>
            <p:spPr>
              <a:xfrm>
                <a:off x="7923212" y="2667000"/>
                <a:ext cx="1865353" cy="1763606"/>
              </a:xfrm>
              <a:prstGeom prst="rect">
                <a:avLst/>
              </a:prstGeom>
            </p:spPr>
          </p:pic>
          <p:pic>
            <p:nvPicPr>
              <p:cNvPr id="33" name="Picture 3"/>
              <p:cNvPicPr>
                <a:picLocks noChangeAspect="1" noChangeArrowheads="1"/>
              </p:cNvPicPr>
              <p:nvPr/>
            </p:nvPicPr>
            <p:blipFill>
              <a:blip r:embed="rId21" cstate="print"/>
              <a:srcRect/>
              <a:stretch>
                <a:fillRect/>
              </a:stretch>
            </p:blipFill>
            <p:spPr bwMode="auto">
              <a:xfrm>
                <a:off x="9142412" y="3886200"/>
                <a:ext cx="455448" cy="450273"/>
              </a:xfrm>
              <a:prstGeom prst="rect">
                <a:avLst/>
              </a:prstGeom>
              <a:noFill/>
              <a:ln w="9525">
                <a:noFill/>
                <a:miter lim="800000"/>
                <a:headEnd/>
                <a:tailEnd/>
              </a:ln>
            </p:spPr>
          </p:pic>
          <p:pic>
            <p:nvPicPr>
              <p:cNvPr id="35" name="48A3F5A6-995C-459E-801B-04ED0F67E9FA" descr="E68B87C3-4119-4E3E-ADD4-C40DF263F308@us"/>
              <p:cNvPicPr>
                <a:picLocks noChangeAspect="1" noChangeArrowheads="1"/>
              </p:cNvPicPr>
              <p:nvPr/>
            </p:nvPicPr>
            <p:blipFill>
              <a:blip r:embed="rId22" cstate="print"/>
              <a:srcRect/>
              <a:stretch>
                <a:fillRect/>
              </a:stretch>
            </p:blipFill>
            <p:spPr bwMode="auto">
              <a:xfrm>
                <a:off x="7618412" y="3733800"/>
                <a:ext cx="685800" cy="685800"/>
              </a:xfrm>
              <a:prstGeom prst="rect">
                <a:avLst/>
              </a:prstGeom>
              <a:noFill/>
              <a:ln w="9525">
                <a:noFill/>
                <a:miter lim="800000"/>
                <a:headEnd/>
                <a:tailEnd/>
              </a:ln>
            </p:spPr>
          </p:pic>
        </p:grpSp>
      </p:grpSp>
      <p:pic>
        <p:nvPicPr>
          <p:cNvPr id="55" name="Picture 4" descr="http://kalypso.com/uploads/logos/Logo-Oracle.png"/>
          <p:cNvPicPr>
            <a:picLocks noChangeAspect="1" noChangeArrowheads="1"/>
          </p:cNvPicPr>
          <p:nvPr/>
        </p:nvPicPr>
        <p:blipFill>
          <a:blip r:embed="rId23" cstate="print"/>
          <a:srcRect/>
          <a:stretch>
            <a:fillRect/>
          </a:stretch>
        </p:blipFill>
        <p:spPr bwMode="auto">
          <a:xfrm>
            <a:off x="6170612" y="762000"/>
            <a:ext cx="2133600" cy="1066800"/>
          </a:xfrm>
          <a:prstGeom prst="rect">
            <a:avLst/>
          </a:prstGeom>
          <a:noFill/>
        </p:spPr>
      </p:pic>
      <p:sp>
        <p:nvSpPr>
          <p:cNvPr id="50" name="TextBox 49"/>
          <p:cNvSpPr txBox="1"/>
          <p:nvPr/>
        </p:nvSpPr>
        <p:spPr>
          <a:xfrm>
            <a:off x="6170612" y="5029200"/>
            <a:ext cx="5867400" cy="1066800"/>
          </a:xfrm>
          <a:prstGeom prst="rect">
            <a:avLst/>
          </a:prstGeom>
          <a:noFill/>
        </p:spPr>
        <p:txBody>
          <a:bodyPr wrap="square" lIns="0" tIns="0" rIns="0" bIns="0" rtlCol="0">
            <a:noAutofit/>
          </a:bodyPr>
          <a:lstStyle/>
          <a:p>
            <a:pPr algn="ctr" defTabSz="914400">
              <a:lnSpc>
                <a:spcPct val="90000"/>
              </a:lnSpc>
            </a:pPr>
            <a:r>
              <a:rPr lang="en-US" sz="2400" i="1" dirty="0" smtClean="0">
                <a:solidFill>
                  <a:srgbClr val="58595B"/>
                </a:solidFill>
              </a:rPr>
              <a:t>Simpler, Smarter </a:t>
            </a:r>
            <a:r>
              <a:rPr lang="en-US" sz="2400" dirty="0" smtClean="0">
                <a:solidFill>
                  <a:srgbClr val="58595B"/>
                </a:solidFill>
              </a:rPr>
              <a:t>Data Management </a:t>
            </a:r>
            <a:br>
              <a:rPr lang="en-US" sz="2400" dirty="0" smtClean="0">
                <a:solidFill>
                  <a:srgbClr val="58595B"/>
                </a:solidFill>
              </a:rPr>
            </a:br>
            <a:r>
              <a:rPr lang="en-US" sz="2400" b="1" dirty="0" smtClean="0">
                <a:solidFill>
                  <a:srgbClr val="58595B"/>
                </a:solidFill>
              </a:rPr>
              <a:t>+</a:t>
            </a:r>
            <a:r>
              <a:rPr lang="en-US" sz="2400" dirty="0" smtClean="0">
                <a:solidFill>
                  <a:srgbClr val="58595B"/>
                </a:solidFill>
              </a:rPr>
              <a:t> Analytics / Machine Learning Architecture</a:t>
            </a:r>
          </a:p>
          <a:p>
            <a:pPr algn="ctr" defTabSz="914400">
              <a:lnSpc>
                <a:spcPct val="90000"/>
              </a:lnSpc>
            </a:pPr>
            <a:endParaRPr lang="en-US" sz="1800" dirty="0">
              <a:solidFill>
                <a:srgbClr val="58595B"/>
              </a:solidFill>
            </a:endParaRPr>
          </a:p>
        </p:txBody>
      </p:sp>
    </p:spTree>
    <p:extLst>
      <p:ext uri="{BB962C8B-B14F-4D97-AF65-F5344CB8AC3E}">
        <p14:creationId xmlns:p14="http://schemas.microsoft.com/office/powerpoint/2010/main" val="220128999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 0 C 0.11858 -0.0088 0.23716 -0.01759 0.30688 -0.00972 C 0.3766 -0.00185 0.39119 0.02801 0.4183 0.04699 C 0.4454 0.06597 0.46065 0.09444 0.46912 0.10393 " pathEditMode="relative" ptsTypes="aaaA">
                                      <p:cBhvr>
                                        <p:cTn id="6" dur="2000" fill="hold"/>
                                        <p:tgtEl>
                                          <p:spTgt spid="4"/>
                                        </p:tgtEl>
                                        <p:attrNameLst>
                                          <p:attrName>ppt_x</p:attrName>
                                          <p:attrName>ppt_y</p:attrName>
                                        </p:attrNameLst>
                                      </p:cBhvr>
                                    </p:animMotion>
                                  </p:childTnLst>
                                  <p:subTnLst>
                                    <p:set>
                                      <p:cBhvr override="childStyle">
                                        <p:cTn dur="1" fill="hold" display="0" masterRel="sameClick" afterEffect="1">
                                          <p:stCondLst>
                                            <p:cond evt="end" delay="0">
                                              <p:tn val="5"/>
                                            </p:cond>
                                          </p:stCondLst>
                                        </p:cTn>
                                        <p:tgtEl>
                                          <p:spTgt spid="4"/>
                                        </p:tgtEl>
                                        <p:attrNameLst>
                                          <p:attrName>style.visibility</p:attrName>
                                        </p:attrNameLst>
                                      </p:cBhvr>
                                      <p:to>
                                        <p:strVal val="hidden"/>
                                      </p:to>
                                    </p:set>
                                  </p:subTnLst>
                                </p:cTn>
                              </p:par>
                              <p:par>
                                <p:cTn id="7" presetID="0" presetClass="path" presetSubtype="0" accel="50000" decel="50000" fill="hold" nodeType="withEffect">
                                  <p:stCondLst>
                                    <p:cond delay="0"/>
                                  </p:stCondLst>
                                  <p:childTnLst>
                                    <p:animMotion origin="layout" path="M 0.00039 -0.01111 C 0.11893 -0.01991 0.23759 -0.0287 0.30728 -0.02083 C 0.37697 -0.01296 0.39156 0.0169 0.41865 0.03588 C 0.44575 0.05486 0.46099 0.08333 0.46945 0.09283 " pathEditMode="relative" rAng="0" ptsTypes="aaaA">
                                      <p:cBhvr>
                                        <p:cTn id="8" dur="2000" fill="hold"/>
                                        <p:tgtEl>
                                          <p:spTgt spid="367618"/>
                                        </p:tgtEl>
                                        <p:attrNameLst>
                                          <p:attrName>ppt_x</p:attrName>
                                          <p:attrName>ppt_y</p:attrName>
                                        </p:attrNameLst>
                                      </p:cBhvr>
                                      <p:rCtr x="23400" y="4300"/>
                                    </p:animMotion>
                                  </p:childTnLst>
                                  <p:subTnLst>
                                    <p:set>
                                      <p:cBhvr override="childStyle">
                                        <p:cTn dur="1" fill="hold" display="0" masterRel="sameClick" afterEffect="1">
                                          <p:stCondLst>
                                            <p:cond evt="end" delay="0">
                                              <p:tn val="7"/>
                                            </p:cond>
                                          </p:stCondLst>
                                        </p:cTn>
                                        <p:tgtEl>
                                          <p:spTgt spid="367618"/>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Zagrebačka</a:t>
            </a:r>
            <a:r>
              <a:rPr lang="en-US" dirty="0" smtClean="0"/>
              <a:t> Bank </a:t>
            </a:r>
            <a:r>
              <a:rPr lang="en-US" sz="2400" dirty="0" smtClean="0"/>
              <a:t>(biggest bank in Croatia)</a:t>
            </a:r>
            <a:endParaRPr lang="en-US" dirty="0" smtClean="0"/>
          </a:p>
        </p:txBody>
      </p:sp>
      <p:sp>
        <p:nvSpPr>
          <p:cNvPr id="4" name="Text Placeholder 3"/>
          <p:cNvSpPr>
            <a:spLocks noGrp="1"/>
          </p:cNvSpPr>
          <p:nvPr>
            <p:ph type="body" sz="quarter" idx="13"/>
          </p:nvPr>
        </p:nvSpPr>
        <p:spPr>
          <a:xfrm>
            <a:off x="1072183" y="762000"/>
            <a:ext cx="10969943" cy="406400"/>
          </a:xfrm>
        </p:spPr>
        <p:txBody>
          <a:bodyPr/>
          <a:lstStyle/>
          <a:p>
            <a:r>
              <a:rPr lang="en-US" dirty="0" smtClean="0"/>
              <a:t>Increases Cash Loans by 15% Within 18 Months of Deployment</a:t>
            </a:r>
          </a:p>
          <a:p>
            <a:pPr lvl="0"/>
            <a:r>
              <a:rPr lang="en-US" altLang="en-US" dirty="0" smtClean="0">
                <a:latin typeface="Arial" charset="0"/>
                <a:cs typeface="Arial" charset="0"/>
              </a:rPr>
              <a:t/>
            </a:r>
            <a:br>
              <a:rPr lang="en-US" altLang="en-US" dirty="0" smtClean="0">
                <a:latin typeface="Arial" charset="0"/>
                <a:cs typeface="Arial" charset="0"/>
              </a:rPr>
            </a:br>
            <a:endParaRPr lang="en-US" dirty="0"/>
          </a:p>
        </p:txBody>
      </p:sp>
      <p:sp>
        <p:nvSpPr>
          <p:cNvPr id="6" name="Rectangle 5"/>
          <p:cNvSpPr/>
          <p:nvPr/>
        </p:nvSpPr>
        <p:spPr>
          <a:xfrm>
            <a:off x="-1" y="2009897"/>
            <a:ext cx="5710690" cy="1161067"/>
          </a:xfrm>
          <a:prstGeom prst="rect">
            <a:avLst/>
          </a:prstGeom>
          <a:noFill/>
          <a:ln w="3175">
            <a:solidFill>
              <a:schemeClr val="bg1">
                <a:lumMod val="85000"/>
              </a:schemeClr>
            </a:solid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60941" rtlCol="0" anchor="ctr"/>
          <a:lstStyle/>
          <a:p>
            <a:pPr algn="ctr" defTabSz="914400"/>
            <a:endParaRPr lang="en-US" sz="2400" dirty="0">
              <a:solidFill>
                <a:prstClr val="white"/>
              </a:solidFill>
            </a:endParaRPr>
          </a:p>
        </p:txBody>
      </p:sp>
      <p:sp>
        <p:nvSpPr>
          <p:cNvPr id="7" name="Rectangle 6"/>
          <p:cNvSpPr/>
          <p:nvPr/>
        </p:nvSpPr>
        <p:spPr bwMode="auto">
          <a:xfrm>
            <a:off x="2031" y="1542199"/>
            <a:ext cx="5719945" cy="466580"/>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1" tIns="61365" rIns="122731" bIns="61365" anchor="ctr"/>
          <a:lstStyle/>
          <a:p>
            <a:pPr marL="158703" indent="-158703" algn="ctr" defTabSz="914400">
              <a:defRPr/>
            </a:pPr>
            <a:endParaRPr lang="en-US" sz="5300" b="1" dirty="0">
              <a:solidFill>
                <a:srgbClr val="FFFFFF"/>
              </a:solidFill>
              <a:latin typeface="Arial" pitchFamily="-106" charset="0"/>
            </a:endParaRPr>
          </a:p>
        </p:txBody>
      </p:sp>
      <p:sp>
        <p:nvSpPr>
          <p:cNvPr id="10" name="Text Placeholder 22"/>
          <p:cNvSpPr txBox="1">
            <a:spLocks/>
          </p:cNvSpPr>
          <p:nvPr/>
        </p:nvSpPr>
        <p:spPr bwMode="white">
          <a:xfrm>
            <a:off x="198915" y="1559397"/>
            <a:ext cx="4548239" cy="445672"/>
          </a:xfrm>
          <a:prstGeom prst="rect">
            <a:avLst/>
          </a:prstGeom>
          <a:noFill/>
        </p:spPr>
        <p:txBody>
          <a:bodyPr lIns="0" tIns="0" rIns="0" bIns="0" anchor="ctr" anchorCtr="0">
            <a:noAutofit/>
          </a:bodyPr>
          <a:lstStyle>
            <a:lvl1pPr marL="0" indent="0">
              <a:spcAft>
                <a:spcPts val="0"/>
              </a:spcAft>
              <a:buNone/>
              <a:defRPr sz="2000" b="1" cap="none" baseline="0">
                <a:solidFill>
                  <a:schemeClr val="bg1"/>
                </a:solidFill>
              </a:defRPr>
            </a:lvl1pPr>
          </a:lstStyle>
          <a:p>
            <a:pPr defTabSz="304711">
              <a:buClr>
                <a:srgbClr val="FF0000"/>
              </a:buClr>
              <a:buSzPct val="85000"/>
              <a:defRPr/>
            </a:pPr>
            <a:r>
              <a:rPr lang="en-US" sz="2100" dirty="0" smtClean="0">
                <a:solidFill>
                  <a:prstClr val="white"/>
                </a:solidFill>
              </a:rPr>
              <a:t>Objectives</a:t>
            </a:r>
          </a:p>
        </p:txBody>
      </p:sp>
      <p:sp>
        <p:nvSpPr>
          <p:cNvPr id="13" name="Text Placeholder 6"/>
          <p:cNvSpPr txBox="1">
            <a:spLocks/>
          </p:cNvSpPr>
          <p:nvPr/>
        </p:nvSpPr>
        <p:spPr>
          <a:xfrm>
            <a:off x="140923" y="2078511"/>
            <a:ext cx="5558487" cy="1079556"/>
          </a:xfrm>
          <a:prstGeom prst="rect">
            <a:avLst/>
          </a:prstGeom>
        </p:spPr>
        <p:txBody>
          <a:bodyPr vert="horz" lIns="0" tIns="0" rIns="0" bIns="0" rtlCol="0" anchor="t" anchorCtr="0">
            <a:noAutofit/>
          </a:bodyPr>
          <a:lstStyle/>
          <a:p>
            <a:pPr marL="304711" indent="-219390" defTabSz="304711">
              <a:spcAft>
                <a:spcPts val="400"/>
              </a:spcAft>
              <a:buClr>
                <a:srgbClr val="FF0000"/>
              </a:buClr>
              <a:buSzPct val="85000"/>
              <a:buFont typeface="Wingdings" pitchFamily="2" charset="2"/>
              <a:buChar char="§"/>
              <a:defRPr/>
            </a:pPr>
            <a:endParaRPr lang="en-US" sz="2100" dirty="0" smtClean="0">
              <a:solidFill>
                <a:srgbClr val="5F5F5F"/>
              </a:solidFill>
            </a:endParaRPr>
          </a:p>
        </p:txBody>
      </p:sp>
      <p:sp>
        <p:nvSpPr>
          <p:cNvPr id="15" name="Rectangle 14"/>
          <p:cNvSpPr/>
          <p:nvPr/>
        </p:nvSpPr>
        <p:spPr bwMode="auto">
          <a:xfrm>
            <a:off x="2034" y="3162187"/>
            <a:ext cx="5719945" cy="466580"/>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122731" tIns="61365" rIns="122731" bIns="61365" anchor="ctr"/>
          <a:lstStyle/>
          <a:p>
            <a:pPr marL="158703" indent="-158703" algn="ctr" defTabSz="914400">
              <a:defRPr/>
            </a:pPr>
            <a:endParaRPr lang="en-US" sz="5300" b="1" dirty="0">
              <a:solidFill>
                <a:srgbClr val="FFFFFF"/>
              </a:solidFill>
              <a:latin typeface="Arial" pitchFamily="-106" charset="0"/>
            </a:endParaRPr>
          </a:p>
        </p:txBody>
      </p:sp>
      <p:sp>
        <p:nvSpPr>
          <p:cNvPr id="16" name="Text Placeholder 22"/>
          <p:cNvSpPr txBox="1">
            <a:spLocks/>
          </p:cNvSpPr>
          <p:nvPr/>
        </p:nvSpPr>
        <p:spPr bwMode="white">
          <a:xfrm>
            <a:off x="198916" y="3179387"/>
            <a:ext cx="4548239" cy="445672"/>
          </a:xfrm>
          <a:prstGeom prst="rect">
            <a:avLst/>
          </a:prstGeom>
          <a:noFill/>
        </p:spPr>
        <p:txBody>
          <a:bodyPr lIns="0" tIns="0" rIns="0" bIns="0" anchor="ctr" anchorCtr="0">
            <a:noAutofit/>
          </a:bodyPr>
          <a:lstStyle>
            <a:lvl1pPr marL="0" indent="0">
              <a:spcAft>
                <a:spcPts val="0"/>
              </a:spcAft>
              <a:buNone/>
              <a:defRPr sz="2000" b="1" cap="none" baseline="0">
                <a:solidFill>
                  <a:schemeClr val="bg1"/>
                </a:solidFill>
              </a:defRPr>
            </a:lvl1pPr>
          </a:lstStyle>
          <a:p>
            <a:pPr defTabSz="304711">
              <a:buClr>
                <a:srgbClr val="FF0000"/>
              </a:buClr>
              <a:buSzPct val="85000"/>
              <a:defRPr/>
            </a:pPr>
            <a:r>
              <a:rPr lang="en-US" sz="2100" dirty="0" smtClean="0">
                <a:solidFill>
                  <a:prstClr val="white"/>
                </a:solidFill>
              </a:rPr>
              <a:t>Solution</a:t>
            </a:r>
          </a:p>
        </p:txBody>
      </p:sp>
      <p:sp>
        <p:nvSpPr>
          <p:cNvPr id="17" name="Text Placeholder 6"/>
          <p:cNvSpPr txBox="1">
            <a:spLocks/>
          </p:cNvSpPr>
          <p:nvPr/>
        </p:nvSpPr>
        <p:spPr>
          <a:xfrm>
            <a:off x="139664" y="3698501"/>
            <a:ext cx="5604884" cy="2626099"/>
          </a:xfrm>
          <a:prstGeom prst="rect">
            <a:avLst/>
          </a:prstGeom>
        </p:spPr>
        <p:txBody>
          <a:bodyPr vert="horz" lIns="0" tIns="0" rIns="0" bIns="0" rtlCol="0" anchor="t" anchorCtr="0">
            <a:noAutofit/>
          </a:bodyPr>
          <a:lstStyle/>
          <a:p>
            <a:pPr marL="304711" indent="-219390" defTabSz="304711">
              <a:spcAft>
                <a:spcPts val="400"/>
              </a:spcAft>
              <a:buClr>
                <a:srgbClr val="FF0000"/>
              </a:buClr>
              <a:buSzPct val="85000"/>
              <a:buFont typeface="Wingdings" pitchFamily="2" charset="2"/>
              <a:buChar char="§"/>
            </a:pPr>
            <a:endParaRPr lang="en-US" sz="2100" dirty="0" smtClean="0">
              <a:solidFill>
                <a:srgbClr val="5F5F5F"/>
              </a:solidFill>
            </a:endParaRPr>
          </a:p>
        </p:txBody>
      </p:sp>
      <p:sp>
        <p:nvSpPr>
          <p:cNvPr id="18" name="Rectangle 17"/>
          <p:cNvSpPr>
            <a:spLocks noChangeArrowheads="1"/>
          </p:cNvSpPr>
          <p:nvPr/>
        </p:nvSpPr>
        <p:spPr bwMode="auto">
          <a:xfrm>
            <a:off x="5884495" y="1547289"/>
            <a:ext cx="6077317" cy="1912921"/>
          </a:xfrm>
          <a:prstGeom prst="rect">
            <a:avLst/>
          </a:prstGeom>
          <a:gradFill rotWithShape="1">
            <a:gsLst>
              <a:gs pos="0">
                <a:srgbClr val="FF1414"/>
              </a:gs>
              <a:gs pos="100000">
                <a:srgbClr val="AA0000"/>
              </a:gs>
            </a:gsLst>
            <a:lin ang="5400000"/>
          </a:gradFill>
          <a:ln w="25400">
            <a:noFill/>
            <a:miter lim="800000"/>
            <a:headEnd/>
            <a:tailEnd/>
          </a:ln>
          <a:effectLst>
            <a:outerShdw dist="63500" dir="2700000" algn="tl" rotWithShape="0">
              <a:srgbClr val="808080">
                <a:alpha val="39999"/>
              </a:srgbClr>
            </a:outerShdw>
          </a:effectLst>
        </p:spPr>
        <p:txBody>
          <a:bodyPr lIns="121883" tIns="60941" rIns="121883" bIns="60941" anchor="ctr"/>
          <a:lstStyle/>
          <a:p>
            <a:pPr algn="ctr" defTabSz="914400">
              <a:defRPr/>
            </a:pPr>
            <a:endParaRPr lang="en-US" sz="2400" dirty="0">
              <a:solidFill>
                <a:prstClr val="white"/>
              </a:solidFill>
              <a:latin typeface="Arial"/>
            </a:endParaRPr>
          </a:p>
        </p:txBody>
      </p:sp>
      <p:sp>
        <p:nvSpPr>
          <p:cNvPr id="20" name="Text Placeholder 2"/>
          <p:cNvSpPr txBox="1">
            <a:spLocks/>
          </p:cNvSpPr>
          <p:nvPr/>
        </p:nvSpPr>
        <p:spPr>
          <a:xfrm>
            <a:off x="5637212" y="1561944"/>
            <a:ext cx="6427207" cy="2118945"/>
          </a:xfrm>
          <a:prstGeom prst="rect">
            <a:avLst/>
          </a:prstGeom>
        </p:spPr>
        <p:txBody>
          <a:bodyPr lIns="121883" tIns="60941" rIns="121883" bIns="60941"/>
          <a:lstStyle>
            <a:lvl1pPr marL="228600" indent="-168275" algn="l" defTabSz="228600" rtl="0" eaLnBrk="0" fontAlgn="base" hangingPunct="0">
              <a:spcBef>
                <a:spcPct val="0"/>
              </a:spcBef>
              <a:spcAft>
                <a:spcPts val="600"/>
              </a:spcAft>
              <a:buClr>
                <a:srgbClr val="FF0000"/>
              </a:buClr>
              <a:buSzPct val="85000"/>
              <a:buFont typeface="Wingdings" pitchFamily="2" charset="2"/>
              <a:buChar char="§"/>
              <a:defRPr sz="2000" kern="1200">
                <a:solidFill>
                  <a:schemeClr val="tx1"/>
                </a:solidFill>
                <a:latin typeface="Arial" pitchFamily="34" charset="0"/>
                <a:ea typeface="ＭＳ Ｐゴシック" charset="0"/>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charset="0"/>
                <a:cs typeface="Arial" pitchFamily="34" charset="0"/>
              </a:defRPr>
            </a:lvl2pPr>
            <a:lvl3pPr marL="974725" indent="-174625" algn="l" defTabSz="228600" rtl="0" eaLnBrk="0" fontAlgn="base" hangingPunct="0">
              <a:spcBef>
                <a:spcPct val="0"/>
              </a:spcBef>
              <a:spcAft>
                <a:spcPts val="600"/>
              </a:spcAft>
              <a:buClr>
                <a:srgbClr val="FF0000"/>
              </a:buClr>
              <a:buSzPct val="85000"/>
              <a:buFont typeface="Wingdings" pitchFamily="2" charset="2"/>
              <a:buChar char="§"/>
              <a:defRPr kern="1200">
                <a:solidFill>
                  <a:schemeClr val="tx1"/>
                </a:solidFill>
                <a:latin typeface="Arial" pitchFamily="34" charset="0"/>
                <a:ea typeface="ＭＳ Ｐゴシック" charset="0"/>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charset="0"/>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smtClean="0">
                <a:solidFill>
                  <a:srgbClr val="FFFFFF"/>
                </a:solidFill>
                <a:ea typeface="ＭＳ Ｐゴシック" pitchFamily="34" charset="-128"/>
                <a:sym typeface="Arial" pitchFamily="34" charset="0"/>
              </a:rPr>
              <a:t>“With Oracle Advanced Analytics we execute computations on thousands of attributes in parallel—impossible with open-source R. Analyzing in Oracle Database without moving data increases our agility. Oracle Advanced Analytics enables us to make quality decisions on time, increasing our cash loans business 15%.” </a:t>
            </a:r>
          </a:p>
          <a:p>
            <a:pPr lvl="1">
              <a:buFont typeface="Arial" pitchFamily="34" charset="0"/>
              <a:buNone/>
            </a:pPr>
            <a:r>
              <a:rPr lang="en-US" sz="1500" dirty="0" smtClean="0">
                <a:solidFill>
                  <a:srgbClr val="FFFFFF"/>
                </a:solidFill>
                <a:ea typeface="ＭＳ Ｐゴシック" pitchFamily="34" charset="-128"/>
                <a:sym typeface="Arial" pitchFamily="34" charset="0"/>
              </a:rPr>
              <a:t>	– </a:t>
            </a:r>
            <a:r>
              <a:rPr lang="en-US" sz="1500" dirty="0" err="1" smtClean="0">
                <a:solidFill>
                  <a:srgbClr val="FFFFFF"/>
                </a:solidFill>
                <a:ea typeface="ＭＳ Ｐゴシック" pitchFamily="34" charset="-128"/>
                <a:sym typeface="Arial" pitchFamily="34" charset="0"/>
              </a:rPr>
              <a:t>Jadranka</a:t>
            </a:r>
            <a:r>
              <a:rPr lang="en-US" sz="1500" dirty="0" smtClean="0">
                <a:solidFill>
                  <a:srgbClr val="FFFFFF"/>
                </a:solidFill>
                <a:ea typeface="ＭＳ Ｐゴシック" pitchFamily="34" charset="-128"/>
                <a:sym typeface="Arial" pitchFamily="34" charset="0"/>
              </a:rPr>
              <a:t> </a:t>
            </a:r>
            <a:r>
              <a:rPr lang="en-US" sz="1500" dirty="0" err="1" smtClean="0">
                <a:solidFill>
                  <a:srgbClr val="FFFFFF"/>
                </a:solidFill>
                <a:ea typeface="ＭＳ Ｐゴシック" pitchFamily="34" charset="-128"/>
                <a:sym typeface="Arial" pitchFamily="34" charset="0"/>
              </a:rPr>
              <a:t>Novoselovic</a:t>
            </a:r>
            <a:r>
              <a:rPr lang="en-US" sz="1500" dirty="0" smtClean="0">
                <a:solidFill>
                  <a:srgbClr val="FFFFFF"/>
                </a:solidFill>
                <a:ea typeface="ＭＳ Ｐゴシック" pitchFamily="34" charset="-128"/>
                <a:sym typeface="Arial" pitchFamily="34" charset="0"/>
              </a:rPr>
              <a:t>, Head of BI Dev., </a:t>
            </a:r>
            <a:r>
              <a:rPr lang="en-US" sz="1500" dirty="0" err="1" smtClean="0">
                <a:solidFill>
                  <a:srgbClr val="FFFFFF"/>
                </a:solidFill>
                <a:ea typeface="ＭＳ Ｐゴシック" pitchFamily="34" charset="-128"/>
                <a:sym typeface="Arial" pitchFamily="34" charset="0"/>
              </a:rPr>
              <a:t>Zagrebačka</a:t>
            </a:r>
            <a:r>
              <a:rPr lang="en-US" sz="1500" dirty="0" smtClean="0">
                <a:solidFill>
                  <a:srgbClr val="FFFFFF"/>
                </a:solidFill>
                <a:ea typeface="ＭＳ Ｐゴシック" pitchFamily="34" charset="-128"/>
                <a:sym typeface="Arial" pitchFamily="34" charset="0"/>
              </a:rPr>
              <a:t> Bank</a:t>
            </a:r>
            <a:br>
              <a:rPr lang="en-US" sz="1500" dirty="0" smtClean="0">
                <a:solidFill>
                  <a:srgbClr val="FFFFFF"/>
                </a:solidFill>
                <a:ea typeface="ＭＳ Ｐゴシック" pitchFamily="34" charset="-128"/>
                <a:sym typeface="Arial" pitchFamily="34" charset="0"/>
              </a:rPr>
            </a:br>
            <a:endParaRPr lang="en-US" sz="1500" dirty="0" smtClean="0">
              <a:solidFill>
                <a:srgbClr val="FFFFFF"/>
              </a:solidFill>
              <a:ea typeface="ＭＳ Ｐゴシック" pitchFamily="34" charset="-128"/>
              <a:sym typeface="Arial" pitchFamily="34" charset="0"/>
            </a:endParaRPr>
          </a:p>
          <a:p>
            <a:endParaRPr lang="en-US" sz="1500" dirty="0" smtClean="0">
              <a:solidFill>
                <a:srgbClr val="FFFFFF"/>
              </a:solidFill>
              <a:latin typeface="Arial" charset="0"/>
              <a:cs typeface="Arial" charset="0"/>
              <a:sym typeface="Arial" pitchFamily="34" charset="0"/>
            </a:endParaRPr>
          </a:p>
          <a:p>
            <a:endParaRPr lang="en-US" sz="1500" dirty="0" smtClean="0">
              <a:solidFill>
                <a:srgbClr val="FFFFFF"/>
              </a:solidFill>
              <a:latin typeface="Arial" charset="0"/>
              <a:cs typeface="Arial" charset="0"/>
              <a:sym typeface="Arial" pitchFamily="34" charset="0"/>
            </a:endParaRPr>
          </a:p>
        </p:txBody>
      </p:sp>
      <p:sp>
        <p:nvSpPr>
          <p:cNvPr id="21" name="Rectangle 20"/>
          <p:cNvSpPr/>
          <p:nvPr/>
        </p:nvSpPr>
        <p:spPr>
          <a:xfrm>
            <a:off x="3" y="3647021"/>
            <a:ext cx="5710690" cy="2677579"/>
          </a:xfrm>
          <a:prstGeom prst="rect">
            <a:avLst/>
          </a:prstGeom>
          <a:noFill/>
          <a:ln w="3175">
            <a:solidFill>
              <a:schemeClr val="bg1">
                <a:lumMod val="85000"/>
              </a:schemeClr>
            </a:solid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60941" rtlCol="0" anchor="ctr"/>
          <a:lstStyle/>
          <a:p>
            <a:pPr algn="ctr" defTabSz="914400"/>
            <a:endParaRPr lang="en-US" sz="2400" dirty="0">
              <a:solidFill>
                <a:prstClr val="white"/>
              </a:solidFill>
            </a:endParaRPr>
          </a:p>
        </p:txBody>
      </p:sp>
      <p:pic>
        <p:nvPicPr>
          <p:cNvPr id="1028" name="Picture 4"/>
          <p:cNvPicPr>
            <a:picLocks noChangeAspect="1" noChangeArrowheads="1"/>
          </p:cNvPicPr>
          <p:nvPr/>
        </p:nvPicPr>
        <p:blipFill>
          <a:blip r:embed="rId3" cstate="print"/>
          <a:stretch>
            <a:fillRect/>
          </a:stretch>
        </p:blipFill>
        <p:spPr bwMode="auto">
          <a:xfrm>
            <a:off x="9371012" y="304800"/>
            <a:ext cx="2545597" cy="600584"/>
          </a:xfrm>
          <a:prstGeom prst="rect">
            <a:avLst/>
          </a:prstGeom>
          <a:noFill/>
          <a:ln w="9525">
            <a:noFill/>
            <a:miter lim="800000"/>
            <a:headEnd/>
            <a:tailEnd/>
          </a:ln>
        </p:spPr>
      </p:pic>
      <p:sp>
        <p:nvSpPr>
          <p:cNvPr id="35" name="Text Placeholder 6"/>
          <p:cNvSpPr txBox="1">
            <a:spLocks/>
          </p:cNvSpPr>
          <p:nvPr/>
        </p:nvSpPr>
        <p:spPr>
          <a:xfrm>
            <a:off x="140918" y="2006083"/>
            <a:ext cx="5572494" cy="1194317"/>
          </a:xfrm>
          <a:prstGeom prst="rect">
            <a:avLst/>
          </a:prstGeom>
        </p:spPr>
        <p:txBody>
          <a:bodyPr vert="horz" lIns="0" tIns="0" rIns="0" bIns="0" rtlCol="0" anchor="t" anchorCtr="0">
            <a:noAutofit/>
          </a:bodyPr>
          <a:lstStyle/>
          <a:p>
            <a:pPr marL="304711" indent="-219390" defTabSz="304711">
              <a:spcAft>
                <a:spcPts val="300"/>
              </a:spcAft>
              <a:buClr>
                <a:srgbClr val="FF0000"/>
              </a:buClr>
              <a:buSzPct val="85000"/>
              <a:buFont typeface="Wingdings" pitchFamily="2" charset="2"/>
              <a:buChar char="§"/>
              <a:defRPr/>
            </a:pPr>
            <a:r>
              <a:rPr lang="en-US" sz="1800" dirty="0" smtClean="0">
                <a:solidFill>
                  <a:srgbClr val="58595B"/>
                </a:solidFill>
              </a:rPr>
              <a:t>Needed to s</a:t>
            </a:r>
            <a:r>
              <a:rPr lang="en-US" sz="1800" dirty="0" smtClean="0">
                <a:solidFill>
                  <a:srgbClr val="5F5F5F"/>
                </a:solidFill>
              </a:rPr>
              <a:t>peed up entire advanced analytics process;  data prep was taking 3 days; model building 24 hours</a:t>
            </a:r>
          </a:p>
          <a:p>
            <a:pPr marL="304711" indent="-219390" defTabSz="304711">
              <a:spcAft>
                <a:spcPts val="300"/>
              </a:spcAft>
              <a:buClr>
                <a:srgbClr val="FF0000"/>
              </a:buClr>
              <a:buSzPct val="85000"/>
              <a:buFont typeface="Wingdings" pitchFamily="2" charset="2"/>
              <a:buChar char="§"/>
              <a:defRPr/>
            </a:pPr>
            <a:r>
              <a:rPr lang="en-US" sz="1800" dirty="0" smtClean="0">
                <a:solidFill>
                  <a:srgbClr val="5F5F5F"/>
                </a:solidFill>
              </a:rPr>
              <a:t>Faster time to “actionable analytics” for Credit Risk Modeling and Targeted Customer Campaigns</a:t>
            </a:r>
          </a:p>
        </p:txBody>
      </p:sp>
      <p:sp>
        <p:nvSpPr>
          <p:cNvPr id="37" name="Rectangle 36"/>
          <p:cNvSpPr/>
          <p:nvPr/>
        </p:nvSpPr>
        <p:spPr>
          <a:xfrm>
            <a:off x="5789613" y="6019800"/>
            <a:ext cx="4648200" cy="384721"/>
          </a:xfrm>
          <a:prstGeom prst="rect">
            <a:avLst/>
          </a:prstGeom>
        </p:spPr>
        <p:txBody>
          <a:bodyPr wrap="square">
            <a:spAutoFit/>
          </a:bodyPr>
          <a:lstStyle/>
          <a:p>
            <a:pPr defTabSz="914400" fontAlgn="t"/>
            <a:r>
              <a:rPr lang="en-US" sz="1800" dirty="0" err="1" smtClean="0">
                <a:solidFill>
                  <a:srgbClr val="5F5F5F"/>
                </a:solidFill>
                <a:hlinkClick r:id="rId4"/>
              </a:rPr>
              <a:t>ZabaBank</a:t>
            </a:r>
            <a:r>
              <a:rPr lang="en-US" sz="1800" dirty="0" smtClean="0">
                <a:solidFill>
                  <a:srgbClr val="5F5F5F"/>
                </a:solidFill>
                <a:hlinkClick r:id="rId4"/>
              </a:rPr>
              <a:t> Oracle Customer Snapshot on OTN</a:t>
            </a:r>
            <a:endParaRPr lang="en-US" sz="1800" dirty="0">
              <a:solidFill>
                <a:srgbClr val="5F5F5F"/>
              </a:solidFill>
            </a:endParaRPr>
          </a:p>
        </p:txBody>
      </p:sp>
      <p:sp>
        <p:nvSpPr>
          <p:cNvPr id="36" name="Text Placeholder 6"/>
          <p:cNvSpPr txBox="1">
            <a:spLocks/>
          </p:cNvSpPr>
          <p:nvPr/>
        </p:nvSpPr>
        <p:spPr>
          <a:xfrm>
            <a:off x="139664" y="3657601"/>
            <a:ext cx="5573748" cy="2590800"/>
          </a:xfrm>
          <a:prstGeom prst="rect">
            <a:avLst/>
          </a:prstGeom>
        </p:spPr>
        <p:txBody>
          <a:bodyPr vert="horz" lIns="0" tIns="0" rIns="0" bIns="0" rtlCol="0" anchor="t" anchorCtr="0">
            <a:noAutofit/>
          </a:bodyPr>
          <a:lstStyle/>
          <a:p>
            <a:pPr marL="304711" indent="-219390" defTabSz="304711">
              <a:spcAft>
                <a:spcPts val="400"/>
              </a:spcAft>
              <a:buClr>
                <a:srgbClr val="FF0000"/>
              </a:buClr>
              <a:buSzPct val="85000"/>
              <a:buFont typeface="Wingdings" pitchFamily="2" charset="2"/>
              <a:buChar char="§"/>
              <a:defRPr/>
            </a:pPr>
            <a:r>
              <a:rPr lang="en-US" sz="1800" dirty="0" err="1" smtClean="0">
                <a:solidFill>
                  <a:srgbClr val="58595B"/>
                </a:solidFill>
              </a:rPr>
              <a:t>Zaba</a:t>
            </a:r>
            <a:r>
              <a:rPr lang="en-US" sz="1800" dirty="0" smtClean="0">
                <a:solidFill>
                  <a:srgbClr val="58595B"/>
                </a:solidFill>
              </a:rPr>
              <a:t> migrated from SAS to the Oracle Advanced Analytics platform for statistical modeling and predictive analytics</a:t>
            </a:r>
          </a:p>
          <a:p>
            <a:pPr marL="304711" indent="-219390" defTabSz="304711">
              <a:spcAft>
                <a:spcPts val="400"/>
              </a:spcAft>
              <a:buClr>
                <a:srgbClr val="FF0000"/>
              </a:buClr>
              <a:buSzPct val="85000"/>
              <a:buFont typeface="Wingdings" pitchFamily="2" charset="2"/>
              <a:buChar char="§"/>
              <a:defRPr/>
            </a:pPr>
            <a:r>
              <a:rPr lang="en-US" sz="1800" dirty="0" smtClean="0">
                <a:solidFill>
                  <a:srgbClr val="58595B"/>
                </a:solidFill>
              </a:rPr>
              <a:t>Increased prediction performance by leveraging the security, reliability, performance, and scalability of Oracle Database and Oracle Advanced Analytics for predictive analytics—running data preparation, transformation, model building, and model scoring within the database</a:t>
            </a:r>
          </a:p>
        </p:txBody>
      </p:sp>
      <p:sp>
        <p:nvSpPr>
          <p:cNvPr id="38" name="Text Placeholder 6"/>
          <p:cNvSpPr txBox="1">
            <a:spLocks/>
          </p:cNvSpPr>
          <p:nvPr/>
        </p:nvSpPr>
        <p:spPr>
          <a:xfrm>
            <a:off x="5865812" y="3581400"/>
            <a:ext cx="5943600" cy="3124205"/>
          </a:xfrm>
          <a:prstGeom prst="rect">
            <a:avLst/>
          </a:prstGeom>
        </p:spPr>
        <p:txBody>
          <a:bodyPr vert="horz" lIns="0" tIns="0" rIns="0" bIns="0" rtlCol="0" anchor="t" anchorCtr="0">
            <a:noAutofit/>
          </a:bodyPr>
          <a:lstStyle/>
          <a:p>
            <a:pPr defTabSz="304711">
              <a:spcAft>
                <a:spcPts val="400"/>
              </a:spcAft>
              <a:buClr>
                <a:srgbClr val="FF0000"/>
              </a:buClr>
              <a:buSzPct val="85000"/>
              <a:defRPr/>
            </a:pPr>
            <a:r>
              <a:rPr lang="en-US" sz="1600" dirty="0" smtClean="0">
                <a:solidFill>
                  <a:srgbClr val="58595B"/>
                </a:solidFill>
              </a:rPr>
              <a:t>“We chose Oracle because our entire data modeling process runs on the same machine with the highest performance and level of integration. With Oracle Database we simply switched on the Oracle Advanced Analytics option and </a:t>
            </a:r>
            <a:br>
              <a:rPr lang="en-US" sz="1600" dirty="0" smtClean="0">
                <a:solidFill>
                  <a:srgbClr val="58595B"/>
                </a:solidFill>
              </a:rPr>
            </a:br>
            <a:r>
              <a:rPr lang="en-US" sz="1600" dirty="0" smtClean="0">
                <a:solidFill>
                  <a:srgbClr val="58595B"/>
                </a:solidFill>
              </a:rPr>
              <a:t>needed no new tools,” </a:t>
            </a:r>
          </a:p>
          <a:p>
            <a:pPr marL="0" lvl="1" defTabSz="304711">
              <a:spcAft>
                <a:spcPts val="400"/>
              </a:spcAft>
              <a:buClr>
                <a:srgbClr val="FF0000"/>
              </a:buClr>
              <a:buSzPct val="85000"/>
              <a:defRPr/>
            </a:pPr>
            <a:r>
              <a:rPr lang="en-US" sz="1600" dirty="0" smtClean="0">
                <a:solidFill>
                  <a:srgbClr val="58595B"/>
                </a:solidFill>
                <a:sym typeface="Arial" pitchFamily="34" charset="0"/>
              </a:rPr>
              <a:t>– </a:t>
            </a:r>
            <a:r>
              <a:rPr lang="en-US" sz="1600" dirty="0" smtClean="0">
                <a:solidFill>
                  <a:srgbClr val="58595B"/>
                </a:solidFill>
              </a:rPr>
              <a:t>Sinisa Behin, ICT coordinator </a:t>
            </a:r>
            <a:br>
              <a:rPr lang="en-US" sz="1600" dirty="0" smtClean="0">
                <a:solidFill>
                  <a:srgbClr val="58595B"/>
                </a:solidFill>
              </a:rPr>
            </a:br>
            <a:r>
              <a:rPr lang="en-US" sz="1600" dirty="0" smtClean="0">
                <a:solidFill>
                  <a:srgbClr val="58595B"/>
                </a:solidFill>
              </a:rPr>
              <a:t>at BI Dev. </a:t>
            </a:r>
            <a:r>
              <a:rPr lang="en-US" sz="1600" dirty="0" err="1" smtClean="0">
                <a:solidFill>
                  <a:srgbClr val="58595B"/>
                </a:solidFill>
              </a:rPr>
              <a:t>Zagrebačka</a:t>
            </a:r>
            <a:r>
              <a:rPr lang="en-US" sz="1600" dirty="0" smtClean="0">
                <a:solidFill>
                  <a:srgbClr val="58595B"/>
                </a:solidFill>
              </a:rPr>
              <a:t> Bank</a:t>
            </a:r>
          </a:p>
        </p:txBody>
      </p:sp>
      <p:pic>
        <p:nvPicPr>
          <p:cNvPr id="2051" name="Picture 3"/>
          <p:cNvPicPr>
            <a:picLocks noChangeAspect="1" noChangeArrowheads="1"/>
          </p:cNvPicPr>
          <p:nvPr/>
        </p:nvPicPr>
        <p:blipFill>
          <a:blip r:embed="rId5" cstate="print"/>
          <a:srcRect/>
          <a:stretch>
            <a:fillRect/>
          </a:stretch>
        </p:blipFill>
        <p:spPr bwMode="auto">
          <a:xfrm>
            <a:off x="8761412" y="4419600"/>
            <a:ext cx="2979684" cy="1676400"/>
          </a:xfrm>
          <a:prstGeom prst="rect">
            <a:avLst/>
          </a:prstGeom>
          <a:noFill/>
          <a:ln w="9525">
            <a:noFill/>
            <a:miter lim="800000"/>
            <a:headEnd/>
            <a:tailEnd/>
          </a:ln>
        </p:spPr>
      </p:pic>
      <p:pic>
        <p:nvPicPr>
          <p:cNvPr id="39" name="48A3F5A6-995C-459E-801B-04ED0F67E9FA" descr="E68B87C3-4119-4E3E-ADD4-C40DF263F308@us"/>
          <p:cNvPicPr>
            <a:picLocks noChangeAspect="1" noChangeArrowheads="1"/>
          </p:cNvPicPr>
          <p:nvPr/>
        </p:nvPicPr>
        <p:blipFill>
          <a:blip r:embed="rId6" cstate="print"/>
          <a:srcRect/>
          <a:stretch>
            <a:fillRect/>
          </a:stretch>
        </p:blipFill>
        <p:spPr bwMode="auto">
          <a:xfrm>
            <a:off x="6856412" y="5410200"/>
            <a:ext cx="762000" cy="762000"/>
          </a:xfrm>
          <a:prstGeom prst="rect">
            <a:avLst/>
          </a:prstGeom>
          <a:noFill/>
          <a:ln w="9525">
            <a:noFill/>
            <a:miter lim="800000"/>
            <a:headEnd/>
            <a:tailEnd/>
          </a:ln>
        </p:spPr>
      </p:pic>
    </p:spTree>
    <p:extLst>
      <p:ext uri="{BB962C8B-B14F-4D97-AF65-F5344CB8AC3E}">
        <p14:creationId xmlns:p14="http://schemas.microsoft.com/office/powerpoint/2010/main" val="1642378063"/>
      </p:ext>
    </p:extLst>
  </p:cSld>
  <p:clrMapOvr>
    <a:masterClrMapping/>
  </p:clrMapOvr>
  <p:transition spd="med" advClick="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3619" name="AutoShape 3"/>
          <p:cNvSpPr>
            <a:spLocks noChangeArrowheads="1"/>
          </p:cNvSpPr>
          <p:nvPr/>
        </p:nvSpPr>
        <p:spPr bwMode="auto">
          <a:xfrm>
            <a:off x="966788" y="2393950"/>
            <a:ext cx="577850" cy="612775"/>
          </a:xfrm>
          <a:prstGeom prst="can">
            <a:avLst>
              <a:gd name="adj" fmla="val 25000"/>
            </a:avLst>
          </a:prstGeom>
          <a:solidFill>
            <a:srgbClr val="C0C0C0"/>
          </a:solidFill>
          <a:ln w="28575">
            <a:solidFill>
              <a:schemeClr val="tx1"/>
            </a:solidFill>
            <a:round/>
            <a:headEnd/>
            <a:tailEnd/>
          </a:ln>
          <a:effectLst/>
        </p:spPr>
        <p:txBody>
          <a:bodyPr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20" name="AutoShape 4"/>
          <p:cNvSpPr>
            <a:spLocks noChangeArrowheads="1"/>
          </p:cNvSpPr>
          <p:nvPr/>
        </p:nvSpPr>
        <p:spPr bwMode="auto">
          <a:xfrm>
            <a:off x="3249613" y="2393950"/>
            <a:ext cx="577850" cy="612775"/>
          </a:xfrm>
          <a:prstGeom prst="can">
            <a:avLst>
              <a:gd name="adj" fmla="val 25000"/>
            </a:avLst>
          </a:prstGeom>
          <a:solidFill>
            <a:srgbClr val="C0C0C0"/>
          </a:solidFill>
          <a:ln w="28575">
            <a:solidFill>
              <a:schemeClr val="tx1"/>
            </a:solidFill>
            <a:round/>
            <a:headEnd/>
            <a:tailEnd/>
          </a:ln>
          <a:effectLst/>
        </p:spPr>
        <p:txBody>
          <a:bodyPr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21" name="AutoShape 5"/>
          <p:cNvSpPr>
            <a:spLocks noChangeArrowheads="1"/>
          </p:cNvSpPr>
          <p:nvPr/>
        </p:nvSpPr>
        <p:spPr bwMode="auto">
          <a:xfrm>
            <a:off x="5586413" y="2498725"/>
            <a:ext cx="1117600" cy="401638"/>
          </a:xfrm>
          <a:prstGeom prst="flowChartPredefinedProcess">
            <a:avLst/>
          </a:prstGeom>
          <a:solidFill>
            <a:srgbClr val="C0C0C0"/>
          </a:solidFill>
          <a:ln w="28575">
            <a:solidFill>
              <a:schemeClr val="tx1"/>
            </a:solidFill>
            <a:miter lim="800000"/>
            <a:headEnd/>
            <a:tailEnd/>
          </a:ln>
          <a:effectLst/>
        </p:spPr>
        <p:txBody>
          <a:bodyPr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22" name="Text Box 6"/>
          <p:cNvSpPr txBox="1">
            <a:spLocks noChangeArrowheads="1"/>
          </p:cNvSpPr>
          <p:nvPr/>
        </p:nvSpPr>
        <p:spPr bwMode="auto">
          <a:xfrm>
            <a:off x="711200" y="1671638"/>
            <a:ext cx="1039813" cy="585787"/>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1600" dirty="0">
                <a:solidFill>
                  <a:srgbClr val="5F5F5F"/>
                </a:solidFill>
                <a:latin typeface="Calibri"/>
                <a:cs typeface="+mn-cs"/>
              </a:rPr>
              <a:t>Source</a:t>
            </a:r>
            <a:br>
              <a:rPr lang="en-US" sz="1600" dirty="0">
                <a:solidFill>
                  <a:srgbClr val="5F5F5F"/>
                </a:solidFill>
                <a:latin typeface="Calibri"/>
                <a:cs typeface="+mn-cs"/>
              </a:rPr>
            </a:br>
            <a:r>
              <a:rPr lang="en-US" sz="1600" dirty="0">
                <a:solidFill>
                  <a:srgbClr val="5F5F5F"/>
                </a:solidFill>
                <a:latin typeface="Calibri"/>
                <a:cs typeface="+mn-cs"/>
              </a:rPr>
              <a:t>Databases</a:t>
            </a:r>
          </a:p>
        </p:txBody>
      </p:sp>
      <p:sp>
        <p:nvSpPr>
          <p:cNvPr id="1263623" name="Text Box 7"/>
          <p:cNvSpPr txBox="1">
            <a:spLocks noChangeArrowheads="1"/>
          </p:cNvSpPr>
          <p:nvPr/>
        </p:nvSpPr>
        <p:spPr bwMode="auto">
          <a:xfrm>
            <a:off x="2998788" y="1671638"/>
            <a:ext cx="996950" cy="585787"/>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1600" dirty="0">
                <a:solidFill>
                  <a:srgbClr val="5F5F5F"/>
                </a:solidFill>
                <a:latin typeface="Calibri"/>
                <a:cs typeface="+mn-cs"/>
              </a:rPr>
              <a:t>Analytical</a:t>
            </a:r>
            <a:br>
              <a:rPr lang="en-US" sz="1600" dirty="0">
                <a:solidFill>
                  <a:srgbClr val="5F5F5F"/>
                </a:solidFill>
                <a:latin typeface="Calibri"/>
                <a:cs typeface="+mn-cs"/>
              </a:rPr>
            </a:br>
            <a:r>
              <a:rPr lang="en-US" sz="1600" dirty="0">
                <a:solidFill>
                  <a:srgbClr val="5F5F5F"/>
                </a:solidFill>
                <a:latin typeface="Calibri"/>
                <a:cs typeface="+mn-cs"/>
              </a:rPr>
              <a:t>Mart</a:t>
            </a:r>
          </a:p>
        </p:txBody>
      </p:sp>
      <p:sp>
        <p:nvSpPr>
          <p:cNvPr id="1263624" name="Text Box 8"/>
          <p:cNvSpPr txBox="1">
            <a:spLocks noChangeArrowheads="1"/>
          </p:cNvSpPr>
          <p:nvPr/>
        </p:nvSpPr>
        <p:spPr bwMode="auto">
          <a:xfrm>
            <a:off x="5295900" y="1671638"/>
            <a:ext cx="1201738" cy="585787"/>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1600" dirty="0">
                <a:solidFill>
                  <a:srgbClr val="5F5F5F"/>
                </a:solidFill>
                <a:latin typeface="Calibri"/>
                <a:cs typeface="+mn-cs"/>
              </a:rPr>
              <a:t>Data Mining</a:t>
            </a:r>
            <a:br>
              <a:rPr lang="en-US" sz="1600" dirty="0">
                <a:solidFill>
                  <a:srgbClr val="5F5F5F"/>
                </a:solidFill>
                <a:latin typeface="Calibri"/>
                <a:cs typeface="+mn-cs"/>
              </a:rPr>
            </a:br>
            <a:r>
              <a:rPr lang="en-US" sz="1600" dirty="0">
                <a:solidFill>
                  <a:srgbClr val="5F5F5F"/>
                </a:solidFill>
                <a:latin typeface="Calibri"/>
                <a:cs typeface="+mn-cs"/>
              </a:rPr>
              <a:t>Tools</a:t>
            </a:r>
          </a:p>
        </p:txBody>
      </p:sp>
      <p:sp>
        <p:nvSpPr>
          <p:cNvPr id="1263625" name="AutoShape 9"/>
          <p:cNvSpPr>
            <a:spLocks noChangeArrowheads="1"/>
          </p:cNvSpPr>
          <p:nvPr/>
        </p:nvSpPr>
        <p:spPr bwMode="auto">
          <a:xfrm>
            <a:off x="7821613" y="2393950"/>
            <a:ext cx="576262" cy="612775"/>
          </a:xfrm>
          <a:prstGeom prst="can">
            <a:avLst>
              <a:gd name="adj" fmla="val 25000"/>
            </a:avLst>
          </a:prstGeom>
          <a:solidFill>
            <a:srgbClr val="C0C0C0"/>
          </a:solidFill>
          <a:ln w="28575">
            <a:solidFill>
              <a:schemeClr val="tx1"/>
            </a:solidFill>
            <a:round/>
            <a:headEnd/>
            <a:tailEnd/>
          </a:ln>
          <a:effectLst/>
        </p:spPr>
        <p:txBody>
          <a:bodyPr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26" name="Text Box 10"/>
          <p:cNvSpPr txBox="1">
            <a:spLocks noChangeArrowheads="1"/>
          </p:cNvSpPr>
          <p:nvPr/>
        </p:nvSpPr>
        <p:spPr bwMode="auto">
          <a:xfrm>
            <a:off x="7645400" y="1671638"/>
            <a:ext cx="904875" cy="585787"/>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1600" dirty="0">
                <a:solidFill>
                  <a:srgbClr val="5F5F5F"/>
                </a:solidFill>
                <a:latin typeface="Calibri"/>
                <a:cs typeface="+mn-cs"/>
              </a:rPr>
              <a:t>Scores</a:t>
            </a:r>
            <a:br>
              <a:rPr lang="en-US" sz="1600" dirty="0">
                <a:solidFill>
                  <a:srgbClr val="5F5F5F"/>
                </a:solidFill>
                <a:latin typeface="Calibri"/>
                <a:cs typeface="+mn-cs"/>
              </a:rPr>
            </a:br>
            <a:r>
              <a:rPr lang="en-US" sz="1600" dirty="0">
                <a:solidFill>
                  <a:srgbClr val="5F5F5F"/>
                </a:solidFill>
                <a:latin typeface="Calibri"/>
                <a:cs typeface="+mn-cs"/>
              </a:rPr>
              <a:t>and Lists</a:t>
            </a:r>
          </a:p>
        </p:txBody>
      </p:sp>
      <p:sp>
        <p:nvSpPr>
          <p:cNvPr id="1263627" name="AutoShape 11"/>
          <p:cNvSpPr>
            <a:spLocks noChangeArrowheads="1"/>
          </p:cNvSpPr>
          <p:nvPr/>
        </p:nvSpPr>
        <p:spPr bwMode="auto">
          <a:xfrm>
            <a:off x="9750425" y="2473325"/>
            <a:ext cx="736600" cy="454025"/>
          </a:xfrm>
          <a:prstGeom prst="flowChartInternalStorage">
            <a:avLst/>
          </a:prstGeom>
          <a:solidFill>
            <a:srgbClr val="333333"/>
          </a:solidFill>
          <a:ln w="28575">
            <a:solidFill>
              <a:schemeClr val="bg1"/>
            </a:solidFill>
            <a:miter lim="800000"/>
            <a:headEnd/>
            <a:tailEnd/>
          </a:ln>
          <a:effectLst/>
        </p:spPr>
        <p:txBody>
          <a:bodyPr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28" name="Text Box 12"/>
          <p:cNvSpPr txBox="1">
            <a:spLocks noChangeArrowheads="1"/>
          </p:cNvSpPr>
          <p:nvPr/>
        </p:nvSpPr>
        <p:spPr bwMode="auto">
          <a:xfrm>
            <a:off x="9604375" y="1671638"/>
            <a:ext cx="1204913" cy="585787"/>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1600" dirty="0">
                <a:solidFill>
                  <a:srgbClr val="5F5F5F"/>
                </a:solidFill>
                <a:latin typeface="Calibri"/>
                <a:cs typeface="+mn-cs"/>
              </a:rPr>
              <a:t>Operational</a:t>
            </a:r>
            <a:br>
              <a:rPr lang="en-US" sz="1600" dirty="0">
                <a:solidFill>
                  <a:srgbClr val="5F5F5F"/>
                </a:solidFill>
                <a:latin typeface="Calibri"/>
                <a:cs typeface="+mn-cs"/>
              </a:rPr>
            </a:br>
            <a:r>
              <a:rPr lang="en-US" sz="1600" dirty="0">
                <a:solidFill>
                  <a:srgbClr val="5F5F5F"/>
                </a:solidFill>
                <a:latin typeface="Calibri"/>
                <a:cs typeface="+mn-cs"/>
              </a:rPr>
              <a:t>Applications</a:t>
            </a:r>
          </a:p>
        </p:txBody>
      </p:sp>
      <p:sp>
        <p:nvSpPr>
          <p:cNvPr id="1263629" name="Line 13"/>
          <p:cNvSpPr>
            <a:spLocks noChangeShapeType="1"/>
          </p:cNvSpPr>
          <p:nvPr/>
        </p:nvSpPr>
        <p:spPr bwMode="auto">
          <a:xfrm>
            <a:off x="8939213" y="2667000"/>
            <a:ext cx="608012" cy="0"/>
          </a:xfrm>
          <a:prstGeom prst="line">
            <a:avLst/>
          </a:prstGeom>
          <a:noFill/>
          <a:ln w="28575">
            <a:solidFill>
              <a:schemeClr val="tx1"/>
            </a:solidFill>
            <a:round/>
            <a:headEnd/>
            <a:tailEnd type="triangle" w="med" len="med"/>
          </a:ln>
          <a:effectLst/>
        </p:spPr>
        <p:txBody>
          <a:bodyPr wrap="none"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cxnSp>
        <p:nvCxnSpPr>
          <p:cNvPr id="48141" name="AutoShape 14"/>
          <p:cNvCxnSpPr>
            <a:cxnSpLocks noChangeShapeType="1"/>
            <a:stCxn id="1263627" idx="3"/>
            <a:endCxn id="1263619" idx="3"/>
          </p:cNvCxnSpPr>
          <p:nvPr/>
        </p:nvCxnSpPr>
        <p:spPr bwMode="auto">
          <a:xfrm flipH="1">
            <a:off x="1255713" y="2700338"/>
            <a:ext cx="9231312" cy="306387"/>
          </a:xfrm>
          <a:prstGeom prst="bentConnector4">
            <a:avLst>
              <a:gd name="adj1" fmla="val -2477"/>
              <a:gd name="adj2" fmla="val 174472"/>
            </a:avLst>
          </a:prstGeom>
          <a:noFill/>
          <a:ln w="28575">
            <a:solidFill>
              <a:srgbClr val="000000"/>
            </a:solidFill>
            <a:prstDash val="dash"/>
            <a:miter lim="800000"/>
            <a:headEnd/>
            <a:tailEnd type="triangle" w="med" len="med"/>
          </a:ln>
        </p:spPr>
      </p:cxnSp>
      <p:sp>
        <p:nvSpPr>
          <p:cNvPr id="1263631" name="Text Box 15"/>
          <p:cNvSpPr txBox="1">
            <a:spLocks noChangeArrowheads="1"/>
          </p:cNvSpPr>
          <p:nvPr/>
        </p:nvSpPr>
        <p:spPr bwMode="auto">
          <a:xfrm>
            <a:off x="658813" y="1300163"/>
            <a:ext cx="6299866" cy="400752"/>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2000" b="1" dirty="0">
                <a:solidFill>
                  <a:srgbClr val="000000"/>
                </a:solidFill>
                <a:latin typeface="Calibri"/>
                <a:cs typeface="+mn-cs"/>
              </a:rPr>
              <a:t>Traditional Learning Process:</a:t>
            </a:r>
            <a:r>
              <a:rPr lang="en-US" b="1" dirty="0">
                <a:solidFill>
                  <a:srgbClr val="000000"/>
                </a:solidFill>
                <a:latin typeface="Calibri"/>
                <a:cs typeface="+mn-cs"/>
              </a:rPr>
              <a:t> </a:t>
            </a:r>
            <a:r>
              <a:rPr lang="en-US" b="1" i="1" dirty="0">
                <a:solidFill>
                  <a:srgbClr val="000000"/>
                </a:solidFill>
                <a:latin typeface="Calibri"/>
                <a:cs typeface="+mn-cs"/>
              </a:rPr>
              <a:t>models lag by weeks or months</a:t>
            </a:r>
          </a:p>
        </p:txBody>
      </p:sp>
      <p:sp>
        <p:nvSpPr>
          <p:cNvPr id="1263632" name="Text Box 16"/>
          <p:cNvSpPr txBox="1">
            <a:spLocks noChangeArrowheads="1"/>
          </p:cNvSpPr>
          <p:nvPr/>
        </p:nvSpPr>
        <p:spPr bwMode="auto">
          <a:xfrm>
            <a:off x="658813" y="3775075"/>
            <a:ext cx="6922216" cy="400752"/>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2000" b="1" dirty="0">
                <a:solidFill>
                  <a:srgbClr val="000000"/>
                </a:solidFill>
                <a:latin typeface="Calibri"/>
                <a:cs typeface="+mn-cs"/>
              </a:rPr>
              <a:t>Continuous Self-Learning Process: </a:t>
            </a:r>
            <a:r>
              <a:rPr lang="en-US" b="1" i="1" dirty="0">
                <a:solidFill>
                  <a:srgbClr val="000000"/>
                </a:solidFill>
                <a:latin typeface="Calibri"/>
                <a:cs typeface="+mn-cs"/>
              </a:rPr>
              <a:t>models are updated in real-time</a:t>
            </a:r>
          </a:p>
        </p:txBody>
      </p:sp>
      <p:sp>
        <p:nvSpPr>
          <p:cNvPr id="1263633" name="Text Box 17"/>
          <p:cNvSpPr txBox="1">
            <a:spLocks noChangeArrowheads="1"/>
          </p:cNvSpPr>
          <p:nvPr/>
        </p:nvSpPr>
        <p:spPr bwMode="auto">
          <a:xfrm>
            <a:off x="4910138" y="3282950"/>
            <a:ext cx="2112962" cy="307975"/>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1400" i="1" dirty="0">
                <a:solidFill>
                  <a:srgbClr val="5F5F5F"/>
                </a:solidFill>
                <a:latin typeface="Calibri"/>
                <a:cs typeface="+mn-cs"/>
              </a:rPr>
              <a:t>  feedback: days or weeks  </a:t>
            </a:r>
          </a:p>
        </p:txBody>
      </p:sp>
      <p:sp>
        <p:nvSpPr>
          <p:cNvPr id="1263634" name="AutoShape 18"/>
          <p:cNvSpPr>
            <a:spLocks noChangeArrowheads="1"/>
          </p:cNvSpPr>
          <p:nvPr/>
        </p:nvSpPr>
        <p:spPr bwMode="auto">
          <a:xfrm>
            <a:off x="7031038" y="4754563"/>
            <a:ext cx="819150" cy="720725"/>
          </a:xfrm>
          <a:prstGeom prst="flowChartOr">
            <a:avLst/>
          </a:prstGeom>
          <a:solidFill>
            <a:schemeClr val="accent1"/>
          </a:solidFill>
          <a:ln w="28575">
            <a:solidFill>
              <a:schemeClr val="bg1"/>
            </a:solidFill>
            <a:round/>
            <a:headEnd/>
            <a:tailEnd/>
          </a:ln>
          <a:effectLst/>
        </p:spPr>
        <p:txBody>
          <a:bodyPr lIns="92075" tIns="46038" rIns="92075" bIns="46038" anchor="ctr">
            <a:norm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35" name="AutoShape 19"/>
          <p:cNvSpPr>
            <a:spLocks noChangeArrowheads="1"/>
          </p:cNvSpPr>
          <p:nvPr/>
        </p:nvSpPr>
        <p:spPr bwMode="auto">
          <a:xfrm>
            <a:off x="9750425" y="4868863"/>
            <a:ext cx="736600" cy="555625"/>
          </a:xfrm>
          <a:prstGeom prst="flowChartInternalStorage">
            <a:avLst/>
          </a:prstGeom>
          <a:solidFill>
            <a:srgbClr val="333333"/>
          </a:solidFill>
          <a:ln w="28575">
            <a:solidFill>
              <a:schemeClr val="bg1"/>
            </a:solidFill>
            <a:miter lim="800000"/>
            <a:headEnd/>
            <a:tailEnd/>
          </a:ln>
          <a:effectLst/>
        </p:spPr>
        <p:txBody>
          <a:bodyPr lIns="92075" tIns="46038" rIns="92075" bIns="46038" anchor="ctr">
            <a:norm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36" name="Text Box 20"/>
          <p:cNvSpPr txBox="1">
            <a:spLocks noChangeArrowheads="1"/>
          </p:cNvSpPr>
          <p:nvPr/>
        </p:nvSpPr>
        <p:spPr bwMode="auto">
          <a:xfrm>
            <a:off x="9604375" y="4168775"/>
            <a:ext cx="1204913" cy="585788"/>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1600" dirty="0">
                <a:solidFill>
                  <a:srgbClr val="5F5F5F"/>
                </a:solidFill>
                <a:latin typeface="Calibri"/>
                <a:cs typeface="+mn-cs"/>
              </a:rPr>
              <a:t>Operational</a:t>
            </a:r>
            <a:br>
              <a:rPr lang="en-US" sz="1600" dirty="0">
                <a:solidFill>
                  <a:srgbClr val="5F5F5F"/>
                </a:solidFill>
                <a:latin typeface="Calibri"/>
                <a:cs typeface="+mn-cs"/>
              </a:rPr>
            </a:br>
            <a:r>
              <a:rPr lang="en-US" sz="1600" dirty="0">
                <a:solidFill>
                  <a:srgbClr val="5F5F5F"/>
                </a:solidFill>
                <a:latin typeface="Calibri"/>
                <a:cs typeface="+mn-cs"/>
              </a:rPr>
              <a:t>Applications</a:t>
            </a:r>
          </a:p>
        </p:txBody>
      </p:sp>
      <p:cxnSp>
        <p:nvCxnSpPr>
          <p:cNvPr id="48148" name="AutoShape 21"/>
          <p:cNvCxnSpPr>
            <a:cxnSpLocks noChangeShapeType="1"/>
            <a:stCxn id="1263635" idx="3"/>
            <a:endCxn id="1263634" idx="4"/>
          </p:cNvCxnSpPr>
          <p:nvPr/>
        </p:nvCxnSpPr>
        <p:spPr bwMode="auto">
          <a:xfrm flipH="1">
            <a:off x="7440613" y="5146676"/>
            <a:ext cx="3046412" cy="328612"/>
          </a:xfrm>
          <a:prstGeom prst="bentConnector4">
            <a:avLst>
              <a:gd name="adj1" fmla="val -7504"/>
              <a:gd name="adj2" fmla="val 169565"/>
            </a:avLst>
          </a:prstGeom>
          <a:noFill/>
          <a:ln w="28575">
            <a:solidFill>
              <a:schemeClr val="tx1"/>
            </a:solidFill>
            <a:miter lim="800000"/>
            <a:headEnd/>
            <a:tailEnd type="triangle" w="med" len="med"/>
          </a:ln>
        </p:spPr>
      </p:cxnSp>
      <p:sp>
        <p:nvSpPr>
          <p:cNvPr id="1263638" name="Text Box 22"/>
          <p:cNvSpPr txBox="1">
            <a:spLocks noChangeArrowheads="1"/>
          </p:cNvSpPr>
          <p:nvPr/>
        </p:nvSpPr>
        <p:spPr bwMode="auto">
          <a:xfrm>
            <a:off x="8259763" y="5840413"/>
            <a:ext cx="1784350" cy="307975"/>
          </a:xfrm>
          <a:prstGeom prst="rect">
            <a:avLst/>
          </a:prstGeom>
          <a:noFill/>
          <a:ln w="28575" algn="ctr">
            <a:noFill/>
            <a:miter lim="800000"/>
            <a:headEnd/>
            <a:tailEnd/>
          </a:ln>
          <a:effectLst/>
        </p:spPr>
        <p:txBody>
          <a:bodyPr wrap="none" lIns="45720" tIns="46038" rIns="45720" bIns="46038">
            <a:spAutoFit/>
          </a:bodyPr>
          <a:lstStyle/>
          <a:p>
            <a:pPr indent="3175" fontAlgn="auto">
              <a:spcBef>
                <a:spcPts val="0"/>
              </a:spcBef>
              <a:spcAft>
                <a:spcPct val="50000"/>
              </a:spcAft>
              <a:defRPr/>
            </a:pPr>
            <a:r>
              <a:rPr lang="en-US" sz="1400" i="1" dirty="0">
                <a:solidFill>
                  <a:srgbClr val="5F5F5F"/>
                </a:solidFill>
                <a:latin typeface="Calibri"/>
                <a:cs typeface="+mn-cs"/>
              </a:rPr>
              <a:t>  feedback: immediate  </a:t>
            </a:r>
          </a:p>
        </p:txBody>
      </p:sp>
      <p:sp>
        <p:nvSpPr>
          <p:cNvPr id="1263639" name="Line 23"/>
          <p:cNvSpPr>
            <a:spLocks noChangeShapeType="1"/>
          </p:cNvSpPr>
          <p:nvPr/>
        </p:nvSpPr>
        <p:spPr bwMode="auto">
          <a:xfrm flipH="1">
            <a:off x="7961313" y="5092700"/>
            <a:ext cx="1624012" cy="0"/>
          </a:xfrm>
          <a:prstGeom prst="line">
            <a:avLst/>
          </a:prstGeom>
          <a:noFill/>
          <a:ln w="28575">
            <a:solidFill>
              <a:schemeClr val="tx1"/>
            </a:solidFill>
            <a:round/>
            <a:headEnd/>
            <a:tailEnd type="triangle" w="med" len="med"/>
          </a:ln>
          <a:effectLst/>
        </p:spPr>
        <p:txBody>
          <a:bodyPr wrap="none"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40" name="Line 24"/>
          <p:cNvSpPr>
            <a:spLocks noChangeShapeType="1"/>
          </p:cNvSpPr>
          <p:nvPr/>
        </p:nvSpPr>
        <p:spPr bwMode="auto">
          <a:xfrm flipH="1">
            <a:off x="7967663" y="5348288"/>
            <a:ext cx="1624012" cy="0"/>
          </a:xfrm>
          <a:prstGeom prst="line">
            <a:avLst/>
          </a:prstGeom>
          <a:noFill/>
          <a:ln w="28575">
            <a:solidFill>
              <a:schemeClr val="tx1"/>
            </a:solidFill>
            <a:round/>
            <a:headEnd type="triangle" w="med" len="med"/>
            <a:tailEnd/>
          </a:ln>
          <a:effectLst/>
        </p:spPr>
        <p:txBody>
          <a:bodyPr wrap="none"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41" name="Text Box 25"/>
          <p:cNvSpPr txBox="1">
            <a:spLocks noChangeArrowheads="1"/>
          </p:cNvSpPr>
          <p:nvPr/>
        </p:nvSpPr>
        <p:spPr bwMode="auto">
          <a:xfrm>
            <a:off x="8262938" y="5329238"/>
            <a:ext cx="758825" cy="307975"/>
          </a:xfrm>
          <a:prstGeom prst="rect">
            <a:avLst/>
          </a:prstGeom>
          <a:noFill/>
          <a:ln w="28575" algn="ctr">
            <a:noFill/>
            <a:miter lim="800000"/>
            <a:headEnd/>
            <a:tailEnd/>
          </a:ln>
          <a:effectLst/>
        </p:spPr>
        <p:txBody>
          <a:bodyPr wrap="none" lIns="45720" tIns="46038" rIns="45720" bIns="46038">
            <a:spAutoFit/>
          </a:bodyPr>
          <a:lstStyle/>
          <a:p>
            <a:pPr indent="3175" fontAlgn="auto">
              <a:spcBef>
                <a:spcPts val="0"/>
              </a:spcBef>
              <a:spcAft>
                <a:spcPct val="50000"/>
              </a:spcAft>
              <a:defRPr/>
            </a:pPr>
            <a:r>
              <a:rPr lang="en-US" sz="1400" i="1" dirty="0">
                <a:solidFill>
                  <a:srgbClr val="5F5F5F"/>
                </a:solidFill>
                <a:latin typeface="Calibri"/>
                <a:cs typeface="+mn-cs"/>
              </a:rPr>
              <a:t>decisions</a:t>
            </a:r>
          </a:p>
        </p:txBody>
      </p:sp>
      <p:sp>
        <p:nvSpPr>
          <p:cNvPr id="1263642" name="Text Box 26"/>
          <p:cNvSpPr txBox="1">
            <a:spLocks noChangeArrowheads="1"/>
          </p:cNvSpPr>
          <p:nvPr/>
        </p:nvSpPr>
        <p:spPr bwMode="auto">
          <a:xfrm>
            <a:off x="8374063" y="4816475"/>
            <a:ext cx="566737" cy="307975"/>
          </a:xfrm>
          <a:prstGeom prst="rect">
            <a:avLst/>
          </a:prstGeom>
          <a:noFill/>
          <a:ln w="28575" algn="ctr">
            <a:noFill/>
            <a:miter lim="800000"/>
            <a:headEnd/>
            <a:tailEnd/>
          </a:ln>
          <a:effectLst/>
        </p:spPr>
        <p:txBody>
          <a:bodyPr wrap="none" lIns="45720" tIns="46038" rIns="45720" bIns="46038">
            <a:spAutoFit/>
          </a:bodyPr>
          <a:lstStyle/>
          <a:p>
            <a:pPr indent="3175" fontAlgn="auto">
              <a:spcBef>
                <a:spcPts val="0"/>
              </a:spcBef>
              <a:spcAft>
                <a:spcPct val="50000"/>
              </a:spcAft>
              <a:defRPr/>
            </a:pPr>
            <a:r>
              <a:rPr lang="en-US" sz="1400" i="1" dirty="0">
                <a:solidFill>
                  <a:srgbClr val="5F5F5F"/>
                </a:solidFill>
                <a:latin typeface="Calibri"/>
                <a:cs typeface="+mn-cs"/>
              </a:rPr>
              <a:t>events</a:t>
            </a:r>
          </a:p>
        </p:txBody>
      </p:sp>
      <p:sp>
        <p:nvSpPr>
          <p:cNvPr id="1263643" name="Text Box 27"/>
          <p:cNvSpPr txBox="1">
            <a:spLocks noChangeArrowheads="1"/>
          </p:cNvSpPr>
          <p:nvPr/>
        </p:nvSpPr>
        <p:spPr bwMode="auto">
          <a:xfrm>
            <a:off x="6354763" y="4178300"/>
            <a:ext cx="1274762" cy="585788"/>
          </a:xfrm>
          <a:prstGeom prst="rect">
            <a:avLst/>
          </a:prstGeom>
          <a:noFill/>
          <a:ln w="28575" algn="ctr">
            <a:noFill/>
            <a:miter lim="800000"/>
            <a:headEnd/>
            <a:tailEnd/>
          </a:ln>
          <a:effectLst/>
        </p:spPr>
        <p:txBody>
          <a:bodyPr wrap="none" lIns="92075" tIns="46038" rIns="92075" bIns="46038">
            <a:spAutoFit/>
          </a:bodyPr>
          <a:lstStyle/>
          <a:p>
            <a:pPr indent="3175" fontAlgn="auto">
              <a:spcBef>
                <a:spcPts val="0"/>
              </a:spcBef>
              <a:spcAft>
                <a:spcPct val="50000"/>
              </a:spcAft>
              <a:defRPr/>
            </a:pPr>
            <a:r>
              <a:rPr lang="en-US" sz="1600" dirty="0">
                <a:solidFill>
                  <a:srgbClr val="5F5F5F"/>
                </a:solidFill>
                <a:latin typeface="Calibri"/>
                <a:cs typeface="+mn-cs"/>
              </a:rPr>
              <a:t>Self-Learning</a:t>
            </a:r>
            <a:br>
              <a:rPr lang="en-US" sz="1600" dirty="0">
                <a:solidFill>
                  <a:srgbClr val="5F5F5F"/>
                </a:solidFill>
                <a:latin typeface="Calibri"/>
                <a:cs typeface="+mn-cs"/>
              </a:rPr>
            </a:br>
            <a:r>
              <a:rPr lang="en-US" sz="1600" dirty="0">
                <a:solidFill>
                  <a:srgbClr val="5F5F5F"/>
                </a:solidFill>
                <a:latin typeface="Calibri"/>
                <a:cs typeface="+mn-cs"/>
              </a:rPr>
              <a:t>Analytics</a:t>
            </a:r>
          </a:p>
        </p:txBody>
      </p:sp>
      <p:sp>
        <p:nvSpPr>
          <p:cNvPr id="1263644" name="Line 28"/>
          <p:cNvSpPr>
            <a:spLocks noChangeShapeType="1"/>
          </p:cNvSpPr>
          <p:nvPr/>
        </p:nvSpPr>
        <p:spPr bwMode="auto">
          <a:xfrm>
            <a:off x="88900" y="3738563"/>
            <a:ext cx="11985625" cy="0"/>
          </a:xfrm>
          <a:prstGeom prst="line">
            <a:avLst/>
          </a:prstGeom>
          <a:noFill/>
          <a:ln w="12700">
            <a:solidFill>
              <a:srgbClr val="003366"/>
            </a:solidFill>
            <a:round/>
            <a:headEnd/>
            <a:tailEnd/>
          </a:ln>
          <a:effectLst/>
        </p:spPr>
        <p:txBody>
          <a:bodyPr wrap="none"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45" name="Text Box 29"/>
          <p:cNvSpPr txBox="1">
            <a:spLocks noChangeArrowheads="1"/>
          </p:cNvSpPr>
          <p:nvPr/>
        </p:nvSpPr>
        <p:spPr bwMode="auto">
          <a:xfrm>
            <a:off x="4941888" y="4868863"/>
            <a:ext cx="1249362" cy="739775"/>
          </a:xfrm>
          <a:prstGeom prst="rect">
            <a:avLst/>
          </a:prstGeom>
          <a:noFill/>
          <a:ln w="28575" algn="ctr">
            <a:noFill/>
            <a:miter lim="800000"/>
            <a:headEnd/>
            <a:tailEnd/>
          </a:ln>
          <a:effectLst/>
        </p:spPr>
        <p:txBody>
          <a:bodyPr wrap="none" lIns="45720" tIns="46038" rIns="45720" bIns="46038">
            <a:spAutoFit/>
          </a:bodyPr>
          <a:lstStyle/>
          <a:p>
            <a:pPr indent="3175" fontAlgn="auto">
              <a:spcBef>
                <a:spcPts val="0"/>
              </a:spcBef>
              <a:spcAft>
                <a:spcPct val="50000"/>
              </a:spcAft>
              <a:defRPr/>
            </a:pPr>
            <a:r>
              <a:rPr lang="en-US" sz="1400" i="1" dirty="0">
                <a:solidFill>
                  <a:srgbClr val="5F5F5F"/>
                </a:solidFill>
                <a:latin typeface="Calibri"/>
                <a:cs typeface="+mn-cs"/>
              </a:rPr>
              <a:t>input from</a:t>
            </a:r>
            <a:br>
              <a:rPr lang="en-US" sz="1400" i="1" dirty="0">
                <a:solidFill>
                  <a:srgbClr val="5F5F5F"/>
                </a:solidFill>
                <a:latin typeface="Calibri"/>
                <a:cs typeface="+mn-cs"/>
              </a:rPr>
            </a:br>
            <a:r>
              <a:rPr lang="en-US" sz="1400" i="1" dirty="0">
                <a:solidFill>
                  <a:srgbClr val="5F5F5F"/>
                </a:solidFill>
                <a:latin typeface="Calibri"/>
                <a:cs typeface="+mn-cs"/>
              </a:rPr>
              <a:t>external models</a:t>
            </a:r>
            <a:br>
              <a:rPr lang="en-US" sz="1400" i="1" dirty="0">
                <a:solidFill>
                  <a:srgbClr val="5F5F5F"/>
                </a:solidFill>
                <a:latin typeface="Calibri"/>
                <a:cs typeface="+mn-cs"/>
              </a:rPr>
            </a:br>
            <a:r>
              <a:rPr lang="en-US" sz="1400" i="1" dirty="0">
                <a:solidFill>
                  <a:srgbClr val="5F5F5F"/>
                </a:solidFill>
                <a:latin typeface="Calibri"/>
                <a:cs typeface="+mn-cs"/>
              </a:rPr>
              <a:t>and lists</a:t>
            </a:r>
          </a:p>
        </p:txBody>
      </p:sp>
      <p:sp>
        <p:nvSpPr>
          <p:cNvPr id="1263672" name="Line 56"/>
          <p:cNvSpPr>
            <a:spLocks noChangeShapeType="1"/>
          </p:cNvSpPr>
          <p:nvPr/>
        </p:nvSpPr>
        <p:spPr bwMode="auto">
          <a:xfrm>
            <a:off x="7008813" y="2667000"/>
            <a:ext cx="609600" cy="0"/>
          </a:xfrm>
          <a:prstGeom prst="line">
            <a:avLst/>
          </a:prstGeom>
          <a:noFill/>
          <a:ln w="28575">
            <a:solidFill>
              <a:schemeClr val="tx1"/>
            </a:solidFill>
            <a:round/>
            <a:headEnd/>
            <a:tailEnd type="triangle" w="med" len="med"/>
          </a:ln>
          <a:effectLst/>
        </p:spPr>
        <p:txBody>
          <a:bodyPr wrap="none"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73" name="Line 57"/>
          <p:cNvSpPr>
            <a:spLocks noChangeShapeType="1"/>
          </p:cNvSpPr>
          <p:nvPr/>
        </p:nvSpPr>
        <p:spPr bwMode="auto">
          <a:xfrm>
            <a:off x="4672013" y="2667000"/>
            <a:ext cx="609600" cy="0"/>
          </a:xfrm>
          <a:prstGeom prst="line">
            <a:avLst/>
          </a:prstGeom>
          <a:noFill/>
          <a:ln w="28575">
            <a:solidFill>
              <a:schemeClr val="tx1"/>
            </a:solidFill>
            <a:round/>
            <a:headEnd/>
            <a:tailEnd type="triangle" w="med" len="med"/>
          </a:ln>
          <a:effectLst/>
        </p:spPr>
        <p:txBody>
          <a:bodyPr wrap="none"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74" name="Line 58"/>
          <p:cNvSpPr>
            <a:spLocks noChangeShapeType="1"/>
          </p:cNvSpPr>
          <p:nvPr/>
        </p:nvSpPr>
        <p:spPr bwMode="auto">
          <a:xfrm>
            <a:off x="2235200" y="2667000"/>
            <a:ext cx="609600" cy="0"/>
          </a:xfrm>
          <a:prstGeom prst="line">
            <a:avLst/>
          </a:prstGeom>
          <a:noFill/>
          <a:ln w="28575">
            <a:solidFill>
              <a:schemeClr val="tx1"/>
            </a:solidFill>
            <a:round/>
            <a:headEnd/>
            <a:tailEnd type="triangle" w="med" len="med"/>
          </a:ln>
          <a:effectLst/>
        </p:spPr>
        <p:txBody>
          <a:bodyPr wrap="none"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1263675" name="Text Box 59"/>
          <p:cNvSpPr txBox="1">
            <a:spLocks noChangeArrowheads="1"/>
          </p:cNvSpPr>
          <p:nvPr/>
        </p:nvSpPr>
        <p:spPr bwMode="auto">
          <a:xfrm>
            <a:off x="333773" y="4221088"/>
            <a:ext cx="4536678" cy="2046714"/>
          </a:xfrm>
          <a:prstGeom prst="rect">
            <a:avLst/>
          </a:prstGeom>
          <a:noFill/>
          <a:ln w="28575" algn="ctr">
            <a:noFill/>
            <a:miter lim="800000"/>
            <a:headEnd/>
            <a:tailEnd/>
          </a:ln>
          <a:effectLst/>
        </p:spPr>
        <p:txBody>
          <a:bodyPr wrap="square">
            <a:spAutoFit/>
          </a:bodyPr>
          <a:lstStyle/>
          <a:p>
            <a:pPr indent="3175" fontAlgn="auto">
              <a:spcBef>
                <a:spcPts val="0"/>
              </a:spcBef>
              <a:spcAft>
                <a:spcPct val="50000"/>
              </a:spcAft>
              <a:defRPr/>
            </a:pPr>
            <a:r>
              <a:rPr lang="en-US" u="sng" dirty="0">
                <a:solidFill>
                  <a:srgbClr val="5F5F5F"/>
                </a:solidFill>
                <a:latin typeface="Calibri"/>
                <a:cs typeface="+mn-cs"/>
              </a:rPr>
              <a:t>Advantages</a:t>
            </a:r>
            <a:r>
              <a:rPr lang="en-US" dirty="0">
                <a:solidFill>
                  <a:srgbClr val="5F5F5F"/>
                </a:solidFill>
                <a:latin typeface="Calibri"/>
                <a:cs typeface="+mn-cs"/>
              </a:rPr>
              <a:t>:</a:t>
            </a:r>
            <a:endParaRPr lang="en-US" sz="1600" dirty="0">
              <a:solidFill>
                <a:srgbClr val="5F5F5F"/>
              </a:solidFill>
              <a:latin typeface="+mn-lt"/>
              <a:cs typeface="+mn-cs"/>
            </a:endParaRPr>
          </a:p>
          <a:p>
            <a:pPr indent="3175" fontAlgn="auto">
              <a:spcBef>
                <a:spcPts val="0"/>
              </a:spcBef>
              <a:spcAft>
                <a:spcPts val="600"/>
              </a:spcAft>
              <a:buFontTx/>
              <a:buChar char="•"/>
              <a:defRPr/>
            </a:pPr>
            <a:r>
              <a:rPr lang="en-US" sz="1600" dirty="0">
                <a:solidFill>
                  <a:srgbClr val="5F5F5F"/>
                </a:solidFill>
                <a:latin typeface="+mn-lt"/>
                <a:cs typeface="+mn-cs"/>
              </a:rPr>
              <a:t> Automatic model creation</a:t>
            </a:r>
          </a:p>
          <a:p>
            <a:pPr indent="3175" fontAlgn="auto">
              <a:spcBef>
                <a:spcPts val="0"/>
              </a:spcBef>
              <a:spcAft>
                <a:spcPts val="600"/>
              </a:spcAft>
              <a:buFontTx/>
              <a:buChar char="•"/>
              <a:defRPr/>
            </a:pPr>
            <a:r>
              <a:rPr lang="en-US" sz="1600" dirty="0">
                <a:solidFill>
                  <a:srgbClr val="5F5F5F"/>
                </a:solidFill>
                <a:latin typeface="+mn-lt"/>
                <a:cs typeface="+mn-cs"/>
              </a:rPr>
              <a:t> Quick to react when behavior </a:t>
            </a:r>
            <a:r>
              <a:rPr lang="en-US" sz="1600" dirty="0" smtClean="0">
                <a:solidFill>
                  <a:srgbClr val="5F5F5F"/>
                </a:solidFill>
                <a:latin typeface="+mn-lt"/>
                <a:cs typeface="+mn-cs"/>
              </a:rPr>
              <a:t>changes</a:t>
            </a:r>
            <a:endParaRPr lang="hr-HR" sz="1600" dirty="0">
              <a:solidFill>
                <a:srgbClr val="5F5F5F"/>
              </a:solidFill>
              <a:latin typeface="+mn-lt"/>
              <a:cs typeface="+mn-cs"/>
            </a:endParaRPr>
          </a:p>
          <a:p>
            <a:pPr indent="3175" fontAlgn="auto">
              <a:spcBef>
                <a:spcPts val="0"/>
              </a:spcBef>
              <a:spcAft>
                <a:spcPts val="600"/>
              </a:spcAft>
              <a:buFontTx/>
              <a:buChar char="•"/>
              <a:defRPr/>
            </a:pPr>
            <a:r>
              <a:rPr lang="hr-HR" sz="1600" dirty="0" smtClean="0">
                <a:solidFill>
                  <a:srgbClr val="5F5F5F"/>
                </a:solidFill>
                <a:latin typeface="+mn-lt"/>
                <a:cs typeface="+mn-cs"/>
              </a:rPr>
              <a:t> </a:t>
            </a:r>
            <a:r>
              <a:rPr lang="en-US" sz="1600" dirty="0" smtClean="0">
                <a:latin typeface="+mn-lt"/>
                <a:cs typeface="Arial" charset="0"/>
              </a:rPr>
              <a:t>Both </a:t>
            </a:r>
            <a:r>
              <a:rPr lang="en-US" sz="1600" dirty="0">
                <a:latin typeface="+mn-lt"/>
                <a:cs typeface="Arial" charset="0"/>
              </a:rPr>
              <a:t>learning and scoring in Real-Time</a:t>
            </a:r>
            <a:endParaRPr lang="en-US" sz="1600" kern="0" dirty="0">
              <a:latin typeface="+mn-lt"/>
            </a:endParaRPr>
          </a:p>
          <a:p>
            <a:pPr indent="3175" fontAlgn="auto">
              <a:spcBef>
                <a:spcPts val="0"/>
              </a:spcBef>
              <a:spcAft>
                <a:spcPts val="600"/>
              </a:spcAft>
              <a:buFontTx/>
              <a:buChar char="•"/>
              <a:defRPr/>
            </a:pPr>
            <a:r>
              <a:rPr lang="en-US" sz="1600" dirty="0" smtClean="0">
                <a:solidFill>
                  <a:srgbClr val="5F5F5F"/>
                </a:solidFill>
                <a:latin typeface="+mn-lt"/>
                <a:cs typeface="+mn-cs"/>
              </a:rPr>
              <a:t> </a:t>
            </a:r>
            <a:r>
              <a:rPr lang="en-US" sz="1600" dirty="0">
                <a:solidFill>
                  <a:srgbClr val="5F5F5F"/>
                </a:solidFill>
                <a:latin typeface="+mn-lt"/>
                <a:cs typeface="+mn-cs"/>
              </a:rPr>
              <a:t>Allows broader scope of analysis</a:t>
            </a:r>
          </a:p>
          <a:p>
            <a:pPr indent="3175" fontAlgn="auto">
              <a:spcBef>
                <a:spcPts val="0"/>
              </a:spcBef>
              <a:spcAft>
                <a:spcPts val="600"/>
              </a:spcAft>
              <a:buFontTx/>
              <a:buChar char="•"/>
              <a:defRPr/>
            </a:pPr>
            <a:r>
              <a:rPr lang="en-US" sz="1600" dirty="0">
                <a:solidFill>
                  <a:srgbClr val="5F5F5F"/>
                </a:solidFill>
                <a:latin typeface="+mn-lt"/>
                <a:cs typeface="+mn-cs"/>
              </a:rPr>
              <a:t> Simple to implement and run</a:t>
            </a:r>
          </a:p>
        </p:txBody>
      </p:sp>
      <p:sp>
        <p:nvSpPr>
          <p:cNvPr id="1263676" name="Line 60"/>
          <p:cNvSpPr>
            <a:spLocks noChangeShapeType="1"/>
          </p:cNvSpPr>
          <p:nvPr/>
        </p:nvSpPr>
        <p:spPr bwMode="auto">
          <a:xfrm flipH="1">
            <a:off x="6297613" y="5197475"/>
            <a:ext cx="588962" cy="0"/>
          </a:xfrm>
          <a:prstGeom prst="line">
            <a:avLst/>
          </a:prstGeom>
          <a:noFill/>
          <a:ln w="28575">
            <a:solidFill>
              <a:schemeClr val="tx1"/>
            </a:solidFill>
            <a:round/>
            <a:headEnd type="triangle" w="med" len="med"/>
            <a:tailEnd/>
          </a:ln>
          <a:effectLst/>
        </p:spPr>
        <p:txBody>
          <a:bodyPr lIns="92075" tIns="46038" rIns="92075" bIns="46038" anchor="ctr">
            <a:spAutoFit/>
          </a:bodyPr>
          <a:lstStyle/>
          <a:p>
            <a:pPr fontAlgn="auto">
              <a:spcBef>
                <a:spcPts val="0"/>
              </a:spcBef>
              <a:spcAft>
                <a:spcPts val="0"/>
              </a:spcAft>
              <a:defRPr/>
            </a:pPr>
            <a:endParaRPr lang="en-US" sz="2000" dirty="0">
              <a:solidFill>
                <a:srgbClr val="5F5F5F"/>
              </a:solidFill>
              <a:latin typeface="Calibri"/>
              <a:cs typeface="+mn-cs"/>
            </a:endParaRPr>
          </a:p>
        </p:txBody>
      </p:sp>
      <p:sp>
        <p:nvSpPr>
          <p:cNvPr id="4" name="Title 3"/>
          <p:cNvSpPr>
            <a:spLocks noGrp="1"/>
          </p:cNvSpPr>
          <p:nvPr>
            <p:ph type="title"/>
          </p:nvPr>
        </p:nvSpPr>
        <p:spPr>
          <a:xfrm>
            <a:off x="531812" y="260648"/>
            <a:ext cx="11125200" cy="936104"/>
          </a:xfrm>
        </p:spPr>
        <p:txBody>
          <a:bodyPr/>
          <a:lstStyle/>
          <a:p>
            <a:r>
              <a:rPr lang="en-US" dirty="0" smtClean="0"/>
              <a:t>Oracle RTD Self Learning</a:t>
            </a:r>
            <a:br>
              <a:rPr lang="en-US" dirty="0" smtClean="0"/>
            </a:br>
            <a:endParaRPr lang="en-US" dirty="0"/>
          </a:p>
        </p:txBody>
      </p:sp>
      <p:sp>
        <p:nvSpPr>
          <p:cNvPr id="35" name="Text Placeholder 3"/>
          <p:cNvSpPr txBox="1">
            <a:spLocks/>
          </p:cNvSpPr>
          <p:nvPr/>
        </p:nvSpPr>
        <p:spPr>
          <a:xfrm>
            <a:off x="477788" y="781445"/>
            <a:ext cx="6499225" cy="343299"/>
          </a:xfrm>
          <a:prstGeom prst="rect">
            <a:avLst/>
          </a:prstGeom>
        </p:spPr>
        <p:txBody>
          <a:bodyPr/>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marL="0" indent="0" fontAlgn="auto">
              <a:spcAft>
                <a:spcPts val="0"/>
              </a:spcAft>
              <a:buNone/>
            </a:pPr>
            <a:r>
              <a:rPr lang="en-US" sz="2400" i="1" dirty="0" smtClean="0">
                <a:solidFill>
                  <a:schemeClr val="accent1">
                    <a:lumMod val="60000"/>
                    <a:lumOff val="40000"/>
                  </a:schemeClr>
                </a:solidFill>
                <a:cs typeface="Arial" charset="0"/>
              </a:rPr>
              <a:t>RTD Complements Traditional Data Mining</a:t>
            </a:r>
            <a:endParaRPr lang="en-GB" sz="2400" i="1" dirty="0">
              <a:solidFill>
                <a:schemeClr val="accent1">
                  <a:lumMod val="60000"/>
                  <a:lumOff val="40000"/>
                </a:schemeClr>
              </a:solidFill>
            </a:endParaRPr>
          </a:p>
        </p:txBody>
      </p:sp>
    </p:spTree>
    <p:extLst>
      <p:ext uri="{BB962C8B-B14F-4D97-AF65-F5344CB8AC3E}">
        <p14:creationId xmlns:p14="http://schemas.microsoft.com/office/powerpoint/2010/main" val="194635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p:cNvSpPr>
            <a:spLocks noGrp="1"/>
          </p:cNvSpPr>
          <p:nvPr>
            <p:ph type="title"/>
          </p:nvPr>
        </p:nvSpPr>
        <p:spPr/>
        <p:txBody>
          <a:bodyPr/>
          <a:lstStyle/>
          <a:p>
            <a:r>
              <a:rPr lang="en-US" dirty="0" smtClean="0">
                <a:latin typeface="+mn-lt"/>
                <a:ea typeface="ＭＳ Ｐゴシック" charset="0"/>
                <a:cs typeface="Arial" pitchFamily="34" charset="0"/>
              </a:rPr>
              <a:t>To a more dynamic approach</a:t>
            </a:r>
            <a:endParaRPr lang="en-GB" dirty="0">
              <a:latin typeface="+mn-lt"/>
            </a:endParaRPr>
          </a:p>
        </p:txBody>
      </p:sp>
      <p:sp>
        <p:nvSpPr>
          <p:cNvPr id="3" name="Slide Number Placeholder 2"/>
          <p:cNvSpPr>
            <a:spLocks noGrp="1"/>
          </p:cNvSpPr>
          <p:nvPr>
            <p:ph type="sldNum" sz="quarter" idx="4294967295"/>
          </p:nvPr>
        </p:nvSpPr>
        <p:spPr>
          <a:xfrm>
            <a:off x="11276011" y="6556248"/>
            <a:ext cx="381661" cy="182880"/>
          </a:xfrm>
          <a:prstGeom prst="rect">
            <a:avLst/>
          </a:prstGeom>
        </p:spPr>
        <p:txBody>
          <a:bodyPr/>
          <a:lstStyle/>
          <a:p>
            <a:pPr>
              <a:defRPr/>
            </a:pPr>
            <a:fld id="{A08EF207-3366-4A01-AA7E-6C12AA8F9FDE}" type="slidenum">
              <a:rPr lang="en-GB" smtClean="0"/>
              <a:pPr>
                <a:defRPr/>
              </a:pPr>
              <a:t>24</a:t>
            </a:fld>
            <a:endParaRPr lang="en-GB" dirty="0"/>
          </a:p>
        </p:txBody>
      </p:sp>
      <p:sp>
        <p:nvSpPr>
          <p:cNvPr id="4" name="Circular Arrow 3"/>
          <p:cNvSpPr/>
          <p:nvPr/>
        </p:nvSpPr>
        <p:spPr>
          <a:xfrm rot="5572146">
            <a:off x="2948917" y="1458855"/>
            <a:ext cx="4815135" cy="4813881"/>
          </a:xfrm>
          <a:prstGeom prst="circularArrow">
            <a:avLst>
              <a:gd name="adj1" fmla="val 5310"/>
              <a:gd name="adj2" fmla="val 343918"/>
              <a:gd name="adj3" fmla="val 12695751"/>
              <a:gd name="adj4" fmla="val 8919752"/>
              <a:gd name="adj5" fmla="val 6195"/>
            </a:avLst>
          </a:prstGeom>
          <a:solidFill>
            <a:srgbClr val="8BAAC3">
              <a:lumMod val="75000"/>
            </a:srgbClr>
          </a:solidFill>
          <a:ln>
            <a:noFill/>
          </a:ln>
          <a:effectLst/>
        </p:spPr>
      </p:sp>
      <p:grpSp>
        <p:nvGrpSpPr>
          <p:cNvPr id="6" name="Group 5"/>
          <p:cNvGrpSpPr/>
          <p:nvPr/>
        </p:nvGrpSpPr>
        <p:grpSpPr>
          <a:xfrm>
            <a:off x="4788667" y="1437701"/>
            <a:ext cx="2604439" cy="1055195"/>
            <a:chOff x="3555801" y="0"/>
            <a:chExt cx="2539007" cy="1237811"/>
          </a:xfrm>
        </p:grpSpPr>
        <p:sp>
          <p:nvSpPr>
            <p:cNvPr id="7" name="Rounded Rectangle 6"/>
            <p:cNvSpPr/>
            <p:nvPr/>
          </p:nvSpPr>
          <p:spPr>
            <a:xfrm>
              <a:off x="3555801" y="0"/>
              <a:ext cx="2539007" cy="1237811"/>
            </a:xfrm>
            <a:prstGeom prst="roundRect">
              <a:avLst>
                <a:gd name="adj" fmla="val 10000"/>
              </a:avLst>
            </a:prstGeom>
            <a:gradFill rotWithShape="1">
              <a:gsLst>
                <a:gs pos="0">
                  <a:srgbClr val="FF1414">
                    <a:hueOff val="0"/>
                    <a:satOff val="0"/>
                    <a:lumOff val="0"/>
                    <a:alphaOff val="0"/>
                    <a:shade val="51000"/>
                    <a:satMod val="130000"/>
                  </a:srgbClr>
                </a:gs>
                <a:gs pos="80000">
                  <a:srgbClr val="FF1414">
                    <a:hueOff val="0"/>
                    <a:satOff val="0"/>
                    <a:lumOff val="0"/>
                    <a:alphaOff val="0"/>
                    <a:shade val="93000"/>
                    <a:satMod val="130000"/>
                  </a:srgbClr>
                </a:gs>
                <a:gs pos="100000">
                  <a:srgbClr val="FF1414">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8" name="Rounded Rectangle 4"/>
            <p:cNvSpPr/>
            <p:nvPr/>
          </p:nvSpPr>
          <p:spPr>
            <a:xfrm>
              <a:off x="3592054" y="36254"/>
              <a:ext cx="2466499" cy="1165303"/>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dirty="0" smtClean="0">
                  <a:ln>
                    <a:noFill/>
                  </a:ln>
                  <a:solidFill>
                    <a:prstClr val="white"/>
                  </a:solidFill>
                  <a:effectLst/>
                  <a:uLnTx/>
                  <a:uFillTx/>
                  <a:latin typeface="Arial"/>
                  <a:ea typeface="+mn-ea"/>
                  <a:cs typeface="+mn-cs"/>
                </a:rPr>
                <a:t>Define some basic marketing rules</a:t>
              </a:r>
              <a:endParaRPr kumimoji="0" lang="en-AU" sz="2100" b="0" i="0" u="none" strike="noStrike" kern="0" cap="none" spc="0" normalizeH="0" baseline="0" noProof="0" dirty="0" smtClean="0">
                <a:ln>
                  <a:noFill/>
                </a:ln>
                <a:solidFill>
                  <a:prstClr val="white"/>
                </a:solidFill>
                <a:effectLst/>
                <a:uLnTx/>
                <a:uFillTx/>
                <a:latin typeface="Arial"/>
                <a:ea typeface="+mn-ea"/>
                <a:cs typeface="+mn-cs"/>
              </a:endParaRPr>
            </a:p>
          </p:txBody>
        </p:sp>
      </p:grpSp>
      <p:pic>
        <p:nvPicPr>
          <p:cNvPr id="9" name="Picture 25"/>
          <p:cNvPicPr>
            <a:picLocks noChangeAspect="1" noChangeArrowheads="1"/>
          </p:cNvPicPr>
          <p:nvPr/>
        </p:nvPicPr>
        <p:blipFill>
          <a:blip r:embed="rId3" cstate="print"/>
          <a:srcRect/>
          <a:stretch>
            <a:fillRect/>
          </a:stretch>
        </p:blipFill>
        <p:spPr bwMode="auto">
          <a:xfrm>
            <a:off x="4558564" y="3477076"/>
            <a:ext cx="1424145" cy="908051"/>
          </a:xfrm>
          <a:prstGeom prst="rect">
            <a:avLst/>
          </a:prstGeom>
          <a:noFill/>
          <a:ln w="9525">
            <a:noFill/>
            <a:round/>
            <a:headEnd/>
            <a:tailEnd/>
          </a:ln>
        </p:spPr>
      </p:pic>
      <p:sp>
        <p:nvSpPr>
          <p:cNvPr id="10" name="TextBox 3"/>
          <p:cNvSpPr txBox="1">
            <a:spLocks noChangeArrowheads="1"/>
          </p:cNvSpPr>
          <p:nvPr/>
        </p:nvSpPr>
        <p:spPr bwMode="auto">
          <a:xfrm>
            <a:off x="4602777" y="3575476"/>
            <a:ext cx="1694932" cy="697627"/>
          </a:xfrm>
          <a:prstGeom prst="rect">
            <a:avLst/>
          </a:prstGeom>
          <a:noFill/>
          <a:ln w="9525">
            <a:noFill/>
            <a:miter lim="800000"/>
            <a:headEnd/>
            <a:tailEnd/>
          </a:ln>
        </p:spPr>
        <p:txBody>
          <a:bodyPr wrap="square" lIns="121893" tIns="60947" rIns="121893" bIns="60947">
            <a:spAutoFit/>
          </a:bodyPr>
          <a:lstStyle/>
          <a:p>
            <a:r>
              <a:rPr lang="en-US" sz="3700" b="1" dirty="0">
                <a:solidFill>
                  <a:srgbClr val="000000"/>
                </a:solidFill>
                <a:latin typeface="Arial" charset="0"/>
                <a:ea typeface="ＭＳ Ｐゴシック" charset="0"/>
              </a:rPr>
              <a:t>RTD</a:t>
            </a:r>
          </a:p>
        </p:txBody>
      </p:sp>
      <p:grpSp>
        <p:nvGrpSpPr>
          <p:cNvPr id="11" name="Group 10"/>
          <p:cNvGrpSpPr/>
          <p:nvPr/>
        </p:nvGrpSpPr>
        <p:grpSpPr>
          <a:xfrm rot="6893202">
            <a:off x="5195225" y="2760878"/>
            <a:ext cx="452217" cy="528872"/>
            <a:chOff x="1768138" y="420526"/>
            <a:chExt cx="339163" cy="396757"/>
          </a:xfrm>
        </p:grpSpPr>
        <p:sp>
          <p:nvSpPr>
            <p:cNvPr id="12" name="Right Arrow 11"/>
            <p:cNvSpPr/>
            <p:nvPr/>
          </p:nvSpPr>
          <p:spPr>
            <a:xfrm>
              <a:off x="1768138" y="420526"/>
              <a:ext cx="339163" cy="396757"/>
            </a:xfrm>
            <a:prstGeom prst="rightArrow">
              <a:avLst>
                <a:gd name="adj1" fmla="val 60000"/>
                <a:gd name="adj2" fmla="val 50000"/>
              </a:avLst>
            </a:prstGeom>
            <a:gradFill rotWithShape="1">
              <a:gsLst>
                <a:gs pos="0">
                  <a:srgbClr val="FF1414">
                    <a:tint val="60000"/>
                    <a:hueOff val="0"/>
                    <a:satOff val="0"/>
                    <a:lumOff val="0"/>
                    <a:alphaOff val="0"/>
                    <a:shade val="51000"/>
                    <a:satMod val="130000"/>
                  </a:srgbClr>
                </a:gs>
                <a:gs pos="80000">
                  <a:srgbClr val="FF1414">
                    <a:tint val="60000"/>
                    <a:hueOff val="0"/>
                    <a:satOff val="0"/>
                    <a:lumOff val="0"/>
                    <a:alphaOff val="0"/>
                    <a:shade val="93000"/>
                    <a:satMod val="130000"/>
                  </a:srgbClr>
                </a:gs>
                <a:gs pos="100000">
                  <a:srgbClr val="FF1414">
                    <a:tint val="6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13" name="Right Arrow 4"/>
            <p:cNvSpPr/>
            <p:nvPr/>
          </p:nvSpPr>
          <p:spPr>
            <a:xfrm>
              <a:off x="1768138" y="499877"/>
              <a:ext cx="237414" cy="238055"/>
            </a:xfrm>
            <a:prstGeom prst="rect">
              <a:avLst/>
            </a:prstGeom>
            <a:noFill/>
            <a:ln>
              <a:noFill/>
            </a:ln>
            <a:effectLst/>
          </p:spPr>
          <p:txBody>
            <a:bodyPr spcFirstLastPara="0" vert="horz" wrap="square" lIns="0" tIns="0" rIns="0" bIns="0" numCol="1" spcCol="1270" anchor="ctr" anchorCtr="0">
              <a:noAutofit/>
            </a:bodyPr>
            <a:lstStyle/>
            <a:p>
              <a:pPr marL="0" marR="0" lvl="0" indent="0" algn="ctr" defTabSz="948062" eaLnBrk="1" fontAlgn="auto" latinLnBrk="0" hangingPunct="1">
                <a:lnSpc>
                  <a:spcPct val="90000"/>
                </a:lnSpc>
                <a:spcBef>
                  <a:spcPts val="0"/>
                </a:spcBef>
                <a:spcAft>
                  <a:spcPct val="35000"/>
                </a:spcAft>
                <a:buClrTx/>
                <a:buSzTx/>
                <a:buFontTx/>
                <a:buNone/>
                <a:tabLst/>
                <a:defRPr/>
              </a:pPr>
              <a:endParaRPr kumimoji="0" lang="en-AU" sz="21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 name="Group 13"/>
          <p:cNvGrpSpPr/>
          <p:nvPr/>
        </p:nvGrpSpPr>
        <p:grpSpPr>
          <a:xfrm rot="10017626">
            <a:off x="6195548" y="3675093"/>
            <a:ext cx="452100" cy="529009"/>
            <a:chOff x="1768138" y="420526"/>
            <a:chExt cx="339163" cy="396757"/>
          </a:xfrm>
          <a:solidFill>
            <a:srgbClr val="8BAAC3">
              <a:lumMod val="50000"/>
            </a:srgbClr>
          </a:solidFill>
        </p:grpSpPr>
        <p:sp>
          <p:nvSpPr>
            <p:cNvPr id="15" name="Right Arrow 14"/>
            <p:cNvSpPr/>
            <p:nvPr/>
          </p:nvSpPr>
          <p:spPr>
            <a:xfrm>
              <a:off x="1768138" y="420526"/>
              <a:ext cx="339163" cy="396757"/>
            </a:xfrm>
            <a:prstGeom prst="rightArrow">
              <a:avLst>
                <a:gd name="adj1" fmla="val 60000"/>
                <a:gd name="adj2" fmla="val 5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16" name="Right Arrow 4"/>
            <p:cNvSpPr/>
            <p:nvPr/>
          </p:nvSpPr>
          <p:spPr>
            <a:xfrm>
              <a:off x="1768138" y="499877"/>
              <a:ext cx="237414" cy="238055"/>
            </a:xfrm>
            <a:prstGeom prst="rect">
              <a:avLst/>
            </a:prstGeom>
            <a:noFill/>
            <a:ln>
              <a:noFill/>
            </a:ln>
            <a:effectLst/>
          </p:spPr>
          <p:txBody>
            <a:bodyPr spcFirstLastPara="0" vert="horz" wrap="square" lIns="0" tIns="0" rIns="0" bIns="0" numCol="1" spcCol="1270" anchor="ctr" anchorCtr="0">
              <a:noAutofit/>
            </a:bodyPr>
            <a:lstStyle/>
            <a:p>
              <a:pPr marL="0" marR="0" lvl="0" indent="0" algn="ctr" defTabSz="948062" eaLnBrk="1" fontAlgn="auto" latinLnBrk="0" hangingPunct="1">
                <a:lnSpc>
                  <a:spcPct val="90000"/>
                </a:lnSpc>
                <a:spcBef>
                  <a:spcPts val="0"/>
                </a:spcBef>
                <a:spcAft>
                  <a:spcPct val="35000"/>
                </a:spcAft>
                <a:buClrTx/>
                <a:buSzTx/>
                <a:buFontTx/>
                <a:buNone/>
                <a:tabLst/>
                <a:defRPr/>
              </a:pPr>
              <a:endParaRPr kumimoji="0" lang="en-AU" sz="21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7" name="Group 16"/>
          <p:cNvGrpSpPr/>
          <p:nvPr/>
        </p:nvGrpSpPr>
        <p:grpSpPr>
          <a:xfrm>
            <a:off x="5902685" y="5172378"/>
            <a:ext cx="3886073" cy="1187668"/>
            <a:chOff x="3519546" y="36254"/>
            <a:chExt cx="2539008" cy="1237811"/>
          </a:xfrm>
          <a:solidFill>
            <a:srgbClr val="8BAAC3">
              <a:lumMod val="50000"/>
            </a:srgbClr>
          </a:solidFill>
        </p:grpSpPr>
        <p:sp>
          <p:nvSpPr>
            <p:cNvPr id="18" name="Rounded Rectangle 17"/>
            <p:cNvSpPr/>
            <p:nvPr/>
          </p:nvSpPr>
          <p:spPr>
            <a:xfrm>
              <a:off x="3519546" y="36254"/>
              <a:ext cx="2539007" cy="1237811"/>
            </a:xfrm>
            <a:prstGeom prst="roundRect">
              <a:avLst>
                <a:gd name="adj" fmla="val 1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19" name="Rounded Rectangle 4"/>
            <p:cNvSpPr/>
            <p:nvPr/>
          </p:nvSpPr>
          <p:spPr>
            <a:xfrm>
              <a:off x="3592055" y="36254"/>
              <a:ext cx="2466499" cy="1165303"/>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hr-HR" sz="2100" kern="0" dirty="0" err="1" smtClean="0">
                  <a:solidFill>
                    <a:prstClr val="white"/>
                  </a:solidFill>
                  <a:latin typeface="Arial"/>
                  <a:cs typeface="+mn-cs"/>
                </a:rPr>
                <a:t>Interact</a:t>
              </a:r>
              <a:r>
                <a:rPr lang="hr-HR" sz="2100" kern="0" dirty="0" smtClean="0">
                  <a:solidFill>
                    <a:prstClr val="white"/>
                  </a:solidFill>
                  <a:latin typeface="Arial"/>
                  <a:cs typeface="+mn-cs"/>
                </a:rPr>
                <a:t> </a:t>
              </a:r>
              <a:r>
                <a:rPr lang="hr-HR" sz="2100" kern="0" dirty="0" err="1" smtClean="0">
                  <a:solidFill>
                    <a:prstClr val="white"/>
                  </a:solidFill>
                  <a:latin typeface="Arial"/>
                  <a:cs typeface="+mn-cs"/>
                </a:rPr>
                <a:t>with</a:t>
              </a:r>
              <a:r>
                <a:rPr lang="hr-HR" sz="2100" kern="0" dirty="0" smtClean="0">
                  <a:solidFill>
                    <a:prstClr val="white"/>
                  </a:solidFill>
                  <a:latin typeface="Arial"/>
                  <a:cs typeface="+mn-cs"/>
                </a:rPr>
                <a:t> </a:t>
              </a:r>
              <a:r>
                <a:rPr lang="hr-HR" sz="2100" kern="0" dirty="0" err="1" smtClean="0">
                  <a:solidFill>
                    <a:prstClr val="white"/>
                  </a:solidFill>
                  <a:latin typeface="Arial"/>
                  <a:cs typeface="+mn-cs"/>
                </a:rPr>
                <a:t>the</a:t>
              </a:r>
              <a:r>
                <a:rPr kumimoji="0" lang="en-US" sz="2100" b="0" i="0" u="none" strike="noStrike" kern="0" cap="none" spc="0" normalizeH="0" baseline="0" noProof="0" dirty="0" smtClean="0">
                  <a:ln>
                    <a:noFill/>
                  </a:ln>
                  <a:solidFill>
                    <a:prstClr val="white"/>
                  </a:solidFill>
                  <a:effectLst/>
                  <a:uLnTx/>
                  <a:uFillTx/>
                  <a:latin typeface="Arial"/>
                  <a:ea typeface="+mn-ea"/>
                  <a:cs typeface="+mn-cs"/>
                </a:rPr>
                <a:t> </a:t>
              </a:r>
              <a:r>
                <a:rPr kumimoji="0" lang="en-US" sz="2100" b="1" i="0" u="none" strike="noStrike" kern="0" cap="none" spc="0" normalizeH="0" baseline="0" noProof="0" dirty="0" smtClean="0">
                  <a:ln>
                    <a:noFill/>
                  </a:ln>
                  <a:solidFill>
                    <a:prstClr val="white"/>
                  </a:solidFill>
                  <a:effectLst/>
                  <a:uLnTx/>
                  <a:uFillTx/>
                  <a:latin typeface="Arial"/>
                  <a:ea typeface="+mn-ea"/>
                  <a:cs typeface="+mn-cs"/>
                </a:rPr>
                <a:t>Individual</a:t>
              </a:r>
              <a:r>
                <a:rPr kumimoji="0" lang="en-US" sz="2100" b="0" i="0" u="none" strike="noStrike" kern="0" cap="none" spc="0" normalizeH="0" baseline="0" noProof="0" dirty="0" smtClean="0">
                  <a:ln>
                    <a:noFill/>
                  </a:ln>
                  <a:solidFill>
                    <a:prstClr val="white"/>
                  </a:solidFill>
                  <a:effectLst/>
                  <a:uLnTx/>
                  <a:uFillTx/>
                  <a:latin typeface="Arial"/>
                  <a:ea typeface="+mn-ea"/>
                  <a:cs typeface="+mn-cs"/>
                </a:rPr>
                <a:t> Customer (e.g. Website, App, Email, Call, or Mail)</a:t>
              </a:r>
              <a:endParaRPr kumimoji="0" lang="en-AU" sz="2100" b="0" i="0" u="none" strike="noStrike" kern="0" cap="none" spc="0" normalizeH="0" baseline="0" noProof="0" dirty="0" smtClean="0">
                <a:ln>
                  <a:noFill/>
                </a:ln>
                <a:solidFill>
                  <a:prstClr val="white"/>
                </a:solidFill>
                <a:effectLst/>
                <a:uLnTx/>
                <a:uFillTx/>
                <a:latin typeface="Arial"/>
                <a:ea typeface="+mn-ea"/>
                <a:cs typeface="+mn-cs"/>
              </a:endParaRPr>
            </a:p>
          </p:txBody>
        </p:sp>
      </p:grpSp>
      <p:grpSp>
        <p:nvGrpSpPr>
          <p:cNvPr id="20" name="Group 19"/>
          <p:cNvGrpSpPr/>
          <p:nvPr/>
        </p:nvGrpSpPr>
        <p:grpSpPr>
          <a:xfrm>
            <a:off x="6872017" y="3321187"/>
            <a:ext cx="3139165" cy="742667"/>
            <a:chOff x="3519546" y="36254"/>
            <a:chExt cx="2539008" cy="1237811"/>
          </a:xfrm>
          <a:solidFill>
            <a:srgbClr val="8BAAC3">
              <a:lumMod val="50000"/>
            </a:srgbClr>
          </a:solidFill>
        </p:grpSpPr>
        <p:sp>
          <p:nvSpPr>
            <p:cNvPr id="21" name="Rounded Rectangle 20"/>
            <p:cNvSpPr/>
            <p:nvPr/>
          </p:nvSpPr>
          <p:spPr>
            <a:xfrm>
              <a:off x="3519546" y="36254"/>
              <a:ext cx="2539007" cy="1237811"/>
            </a:xfrm>
            <a:prstGeom prst="roundRect">
              <a:avLst>
                <a:gd name="adj" fmla="val 1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22" name="Rounded Rectangle 4"/>
            <p:cNvSpPr/>
            <p:nvPr/>
          </p:nvSpPr>
          <p:spPr>
            <a:xfrm>
              <a:off x="3592055" y="36254"/>
              <a:ext cx="2466499" cy="1165303"/>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dirty="0" smtClean="0">
                  <a:ln>
                    <a:noFill/>
                  </a:ln>
                  <a:solidFill>
                    <a:prstClr val="white"/>
                  </a:solidFill>
                  <a:effectLst/>
                  <a:uLnTx/>
                  <a:uFillTx/>
                  <a:latin typeface="Arial"/>
                  <a:ea typeface="+mn-ea"/>
                  <a:cs typeface="+mn-cs"/>
                </a:rPr>
                <a:t>Supply all relevant data</a:t>
              </a:r>
              <a:endParaRPr kumimoji="0" lang="en-AU" sz="2100" b="0" i="0" u="none" strike="noStrike" kern="0" cap="none" spc="0" normalizeH="0" baseline="0" noProof="0" dirty="0" smtClean="0">
                <a:ln>
                  <a:noFill/>
                </a:ln>
                <a:solidFill>
                  <a:prstClr val="white"/>
                </a:solidFill>
                <a:effectLst/>
                <a:uLnTx/>
                <a:uFillTx/>
                <a:latin typeface="Arial"/>
                <a:ea typeface="+mn-ea"/>
                <a:cs typeface="+mn-cs"/>
              </a:endParaRPr>
            </a:p>
          </p:txBody>
        </p:sp>
      </p:grpSp>
      <p:grpSp>
        <p:nvGrpSpPr>
          <p:cNvPr id="23" name="Group 22"/>
          <p:cNvGrpSpPr/>
          <p:nvPr/>
        </p:nvGrpSpPr>
        <p:grpSpPr>
          <a:xfrm rot="3914925">
            <a:off x="5647367" y="4591860"/>
            <a:ext cx="452217" cy="528872"/>
            <a:chOff x="1768138" y="420526"/>
            <a:chExt cx="339163" cy="396757"/>
          </a:xfrm>
          <a:solidFill>
            <a:srgbClr val="8BAAC3">
              <a:lumMod val="50000"/>
            </a:srgbClr>
          </a:solidFill>
        </p:grpSpPr>
        <p:sp>
          <p:nvSpPr>
            <p:cNvPr id="24" name="Right Arrow 23"/>
            <p:cNvSpPr/>
            <p:nvPr/>
          </p:nvSpPr>
          <p:spPr>
            <a:xfrm>
              <a:off x="1768138" y="420526"/>
              <a:ext cx="339163" cy="396757"/>
            </a:xfrm>
            <a:prstGeom prst="rightArrow">
              <a:avLst>
                <a:gd name="adj1" fmla="val 60000"/>
                <a:gd name="adj2" fmla="val 5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25" name="Right Arrow 4"/>
            <p:cNvSpPr/>
            <p:nvPr/>
          </p:nvSpPr>
          <p:spPr>
            <a:xfrm>
              <a:off x="1768138" y="499877"/>
              <a:ext cx="237414" cy="238055"/>
            </a:xfrm>
            <a:prstGeom prst="rect">
              <a:avLst/>
            </a:prstGeom>
            <a:noFill/>
            <a:ln>
              <a:noFill/>
            </a:ln>
            <a:effectLst/>
          </p:spPr>
          <p:txBody>
            <a:bodyPr spcFirstLastPara="0" vert="horz" wrap="square" lIns="0" tIns="0" rIns="0" bIns="0" numCol="1" spcCol="1270" anchor="ctr" anchorCtr="0">
              <a:noAutofit/>
            </a:bodyPr>
            <a:lstStyle/>
            <a:p>
              <a:pPr marL="0" marR="0" lvl="0" indent="0" algn="ctr" defTabSz="948062" eaLnBrk="1" fontAlgn="auto" latinLnBrk="0" hangingPunct="1">
                <a:lnSpc>
                  <a:spcPct val="90000"/>
                </a:lnSpc>
                <a:spcBef>
                  <a:spcPts val="0"/>
                </a:spcBef>
                <a:spcAft>
                  <a:spcPct val="35000"/>
                </a:spcAft>
                <a:buClrTx/>
                <a:buSzTx/>
                <a:buFontTx/>
                <a:buNone/>
                <a:tabLst/>
                <a:defRPr/>
              </a:pPr>
              <a:endParaRPr kumimoji="0" lang="en-AU" sz="21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26" name="Group 25"/>
          <p:cNvGrpSpPr/>
          <p:nvPr/>
        </p:nvGrpSpPr>
        <p:grpSpPr>
          <a:xfrm rot="18363254">
            <a:off x="4167116" y="4521935"/>
            <a:ext cx="452217" cy="528872"/>
            <a:chOff x="1768138" y="420526"/>
            <a:chExt cx="339163" cy="396757"/>
          </a:xfrm>
          <a:solidFill>
            <a:srgbClr val="8BAAC3">
              <a:lumMod val="50000"/>
            </a:srgbClr>
          </a:solidFill>
        </p:grpSpPr>
        <p:sp>
          <p:nvSpPr>
            <p:cNvPr id="27" name="Right Arrow 26"/>
            <p:cNvSpPr/>
            <p:nvPr/>
          </p:nvSpPr>
          <p:spPr>
            <a:xfrm>
              <a:off x="1768138" y="420526"/>
              <a:ext cx="339163" cy="396757"/>
            </a:xfrm>
            <a:prstGeom prst="rightArrow">
              <a:avLst>
                <a:gd name="adj1" fmla="val 60000"/>
                <a:gd name="adj2" fmla="val 5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28" name="Right Arrow 4"/>
            <p:cNvSpPr/>
            <p:nvPr/>
          </p:nvSpPr>
          <p:spPr>
            <a:xfrm>
              <a:off x="1768138" y="499877"/>
              <a:ext cx="237414" cy="238055"/>
            </a:xfrm>
            <a:prstGeom prst="rect">
              <a:avLst/>
            </a:prstGeom>
            <a:noFill/>
            <a:ln>
              <a:noFill/>
            </a:ln>
            <a:effectLst/>
          </p:spPr>
          <p:txBody>
            <a:bodyPr spcFirstLastPara="0" vert="horz" wrap="square" lIns="0" tIns="0" rIns="0" bIns="0" numCol="1" spcCol="1270" anchor="ctr" anchorCtr="0">
              <a:noAutofit/>
            </a:bodyPr>
            <a:lstStyle/>
            <a:p>
              <a:pPr marL="0" marR="0" lvl="0" indent="0" algn="ctr" defTabSz="948062" eaLnBrk="1" fontAlgn="auto" latinLnBrk="0" hangingPunct="1">
                <a:lnSpc>
                  <a:spcPct val="90000"/>
                </a:lnSpc>
                <a:spcBef>
                  <a:spcPts val="0"/>
                </a:spcBef>
                <a:spcAft>
                  <a:spcPct val="35000"/>
                </a:spcAft>
                <a:buClrTx/>
                <a:buSzTx/>
                <a:buFontTx/>
                <a:buNone/>
                <a:tabLst/>
                <a:defRPr/>
              </a:pPr>
              <a:endParaRPr kumimoji="0" lang="en-AU" sz="21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29" name="Group 28"/>
          <p:cNvGrpSpPr/>
          <p:nvPr/>
        </p:nvGrpSpPr>
        <p:grpSpPr>
          <a:xfrm>
            <a:off x="786101" y="5035552"/>
            <a:ext cx="3431930" cy="742667"/>
            <a:chOff x="3519546" y="36254"/>
            <a:chExt cx="2539008" cy="1237811"/>
          </a:xfrm>
          <a:solidFill>
            <a:srgbClr val="8BAAC3">
              <a:lumMod val="50000"/>
            </a:srgbClr>
          </a:solidFill>
        </p:grpSpPr>
        <p:sp>
          <p:nvSpPr>
            <p:cNvPr id="30" name="Rounded Rectangle 29"/>
            <p:cNvSpPr/>
            <p:nvPr/>
          </p:nvSpPr>
          <p:spPr>
            <a:xfrm>
              <a:off x="3519546" y="36254"/>
              <a:ext cx="2539007" cy="1237811"/>
            </a:xfrm>
            <a:prstGeom prst="roundRect">
              <a:avLst>
                <a:gd name="adj" fmla="val 1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31" name="Rounded Rectangle 4"/>
            <p:cNvSpPr/>
            <p:nvPr/>
          </p:nvSpPr>
          <p:spPr>
            <a:xfrm>
              <a:off x="3592055" y="36254"/>
              <a:ext cx="2466499" cy="1165303"/>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dirty="0" smtClean="0">
                  <a:ln>
                    <a:noFill/>
                  </a:ln>
                  <a:solidFill>
                    <a:prstClr val="white"/>
                  </a:solidFill>
                  <a:effectLst/>
                  <a:uLnTx/>
                  <a:uFillTx/>
                  <a:latin typeface="Arial"/>
                  <a:ea typeface="+mn-ea"/>
                  <a:cs typeface="+mn-cs"/>
                </a:rPr>
                <a:t>RTD informed on success or failure of each offer</a:t>
              </a:r>
              <a:endParaRPr kumimoji="0" lang="en-AU" sz="2100" b="0" i="0" u="none" strike="noStrike" kern="0" cap="none" spc="0" normalizeH="0" baseline="0" noProof="0" dirty="0" smtClean="0">
                <a:ln>
                  <a:noFill/>
                </a:ln>
                <a:solidFill>
                  <a:prstClr val="white"/>
                </a:solidFill>
                <a:effectLst/>
                <a:uLnTx/>
                <a:uFillTx/>
                <a:latin typeface="Arial"/>
                <a:ea typeface="+mn-ea"/>
                <a:cs typeface="+mn-cs"/>
              </a:endParaRPr>
            </a:p>
          </p:txBody>
        </p:sp>
      </p:grpSp>
      <p:grpSp>
        <p:nvGrpSpPr>
          <p:cNvPr id="32" name="Group 31"/>
          <p:cNvGrpSpPr/>
          <p:nvPr/>
        </p:nvGrpSpPr>
        <p:grpSpPr>
          <a:xfrm>
            <a:off x="696452" y="2629527"/>
            <a:ext cx="3349943" cy="1618771"/>
            <a:chOff x="3519546" y="36254"/>
            <a:chExt cx="2539008" cy="1237811"/>
          </a:xfrm>
          <a:solidFill>
            <a:srgbClr val="8BAAC3">
              <a:lumMod val="50000"/>
            </a:srgbClr>
          </a:solidFill>
        </p:grpSpPr>
        <p:sp>
          <p:nvSpPr>
            <p:cNvPr id="33" name="Rounded Rectangle 32"/>
            <p:cNvSpPr/>
            <p:nvPr/>
          </p:nvSpPr>
          <p:spPr>
            <a:xfrm>
              <a:off x="3519546" y="36254"/>
              <a:ext cx="2539007" cy="1237811"/>
            </a:xfrm>
            <a:prstGeom prst="roundRect">
              <a:avLst>
                <a:gd name="adj" fmla="val 1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34" name="Rounded Rectangle 4"/>
            <p:cNvSpPr/>
            <p:nvPr/>
          </p:nvSpPr>
          <p:spPr>
            <a:xfrm>
              <a:off x="3592055" y="36254"/>
              <a:ext cx="2466499" cy="1165303"/>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dirty="0" smtClean="0">
                  <a:ln>
                    <a:noFill/>
                  </a:ln>
                  <a:solidFill>
                    <a:prstClr val="white"/>
                  </a:solidFill>
                  <a:effectLst/>
                  <a:uLnTx/>
                  <a:uFillTx/>
                  <a:latin typeface="Arial"/>
                  <a:ea typeface="+mn-ea"/>
                  <a:cs typeface="+mn-cs"/>
                </a:rPr>
                <a:t>RTD self-learns based on success, all relevant data and rules.  Auto adjusts future offers accordingly</a:t>
              </a:r>
              <a:endParaRPr kumimoji="0" lang="en-AU" sz="2100" b="0" i="0" u="none" strike="noStrike" kern="0" cap="none" spc="0" normalizeH="0" baseline="0" noProof="0" dirty="0" smtClean="0">
                <a:ln>
                  <a:noFill/>
                </a:ln>
                <a:solidFill>
                  <a:prstClr val="white"/>
                </a:solidFill>
                <a:effectLst/>
                <a:uLnTx/>
                <a:uFillTx/>
                <a:latin typeface="Arial"/>
                <a:ea typeface="+mn-ea"/>
                <a:cs typeface="+mn-cs"/>
              </a:endParaRPr>
            </a:p>
          </p:txBody>
        </p:sp>
      </p:grpSp>
      <p:grpSp>
        <p:nvGrpSpPr>
          <p:cNvPr id="35" name="Group 34"/>
          <p:cNvGrpSpPr/>
          <p:nvPr/>
        </p:nvGrpSpPr>
        <p:grpSpPr>
          <a:xfrm>
            <a:off x="9572433" y="1395820"/>
            <a:ext cx="2250287" cy="488553"/>
            <a:chOff x="3555801" y="0"/>
            <a:chExt cx="2539007" cy="1237811"/>
          </a:xfrm>
        </p:grpSpPr>
        <p:sp>
          <p:nvSpPr>
            <p:cNvPr id="36" name="Rounded Rectangle 35"/>
            <p:cNvSpPr/>
            <p:nvPr/>
          </p:nvSpPr>
          <p:spPr>
            <a:xfrm>
              <a:off x="3555801" y="0"/>
              <a:ext cx="2539007" cy="1237811"/>
            </a:xfrm>
            <a:prstGeom prst="roundRect">
              <a:avLst>
                <a:gd name="adj" fmla="val 10000"/>
              </a:avLst>
            </a:prstGeom>
            <a:gradFill rotWithShape="1">
              <a:gsLst>
                <a:gs pos="0">
                  <a:srgbClr val="FF1414">
                    <a:hueOff val="0"/>
                    <a:satOff val="0"/>
                    <a:lumOff val="0"/>
                    <a:alphaOff val="0"/>
                    <a:shade val="51000"/>
                    <a:satMod val="130000"/>
                  </a:srgbClr>
                </a:gs>
                <a:gs pos="80000">
                  <a:srgbClr val="FF1414">
                    <a:hueOff val="0"/>
                    <a:satOff val="0"/>
                    <a:lumOff val="0"/>
                    <a:alphaOff val="0"/>
                    <a:shade val="93000"/>
                    <a:satMod val="130000"/>
                  </a:srgbClr>
                </a:gs>
                <a:gs pos="100000">
                  <a:srgbClr val="FF1414">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37" name="Rounded Rectangle 4"/>
            <p:cNvSpPr/>
            <p:nvPr/>
          </p:nvSpPr>
          <p:spPr>
            <a:xfrm>
              <a:off x="3592055" y="36254"/>
              <a:ext cx="2466499" cy="1165303"/>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dirty="0" smtClean="0">
                  <a:ln>
                    <a:noFill/>
                  </a:ln>
                  <a:solidFill>
                    <a:prstClr val="white"/>
                  </a:solidFill>
                  <a:effectLst/>
                  <a:uLnTx/>
                  <a:uFillTx/>
                  <a:latin typeface="Arial"/>
                  <a:ea typeface="+mn-ea"/>
                  <a:cs typeface="+mn-cs"/>
                </a:rPr>
                <a:t>Manual Activity</a:t>
              </a:r>
              <a:endParaRPr kumimoji="0" lang="en-AU" sz="2100" b="0" i="0" u="none" strike="noStrike" kern="0" cap="none" spc="0" normalizeH="0" baseline="0" noProof="0" dirty="0" smtClean="0">
                <a:ln>
                  <a:noFill/>
                </a:ln>
                <a:solidFill>
                  <a:prstClr val="white"/>
                </a:solidFill>
                <a:effectLst/>
                <a:uLnTx/>
                <a:uFillTx/>
                <a:latin typeface="Arial"/>
                <a:ea typeface="+mn-ea"/>
                <a:cs typeface="+mn-cs"/>
              </a:endParaRPr>
            </a:p>
          </p:txBody>
        </p:sp>
      </p:grpSp>
      <p:grpSp>
        <p:nvGrpSpPr>
          <p:cNvPr id="38" name="Group 37"/>
          <p:cNvGrpSpPr/>
          <p:nvPr/>
        </p:nvGrpSpPr>
        <p:grpSpPr>
          <a:xfrm>
            <a:off x="9572433" y="1922872"/>
            <a:ext cx="2238617" cy="488553"/>
            <a:chOff x="3555801" y="0"/>
            <a:chExt cx="2539007" cy="1237811"/>
          </a:xfrm>
          <a:solidFill>
            <a:srgbClr val="8BAAC3">
              <a:lumMod val="50000"/>
            </a:srgbClr>
          </a:solidFill>
        </p:grpSpPr>
        <p:sp>
          <p:nvSpPr>
            <p:cNvPr id="39" name="Rounded Rectangle 38"/>
            <p:cNvSpPr/>
            <p:nvPr/>
          </p:nvSpPr>
          <p:spPr>
            <a:xfrm>
              <a:off x="3555801" y="0"/>
              <a:ext cx="2539007" cy="1237811"/>
            </a:xfrm>
            <a:prstGeom prst="roundRect">
              <a:avLst>
                <a:gd name="adj" fmla="val 1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40" name="Rounded Rectangle 4"/>
            <p:cNvSpPr/>
            <p:nvPr/>
          </p:nvSpPr>
          <p:spPr>
            <a:xfrm>
              <a:off x="3592055" y="36254"/>
              <a:ext cx="2466499" cy="1165303"/>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dirty="0" smtClean="0">
                  <a:ln>
                    <a:noFill/>
                  </a:ln>
                  <a:solidFill>
                    <a:prstClr val="white"/>
                  </a:solidFill>
                  <a:effectLst/>
                  <a:uLnTx/>
                  <a:uFillTx/>
                  <a:latin typeface="Arial"/>
                  <a:ea typeface="+mn-ea"/>
                  <a:cs typeface="+mn-cs"/>
                </a:rPr>
                <a:t>Automated</a:t>
              </a:r>
              <a:endParaRPr kumimoji="0" lang="en-AU" sz="2100" b="0" i="0" u="none" strike="noStrike" kern="0" cap="none" spc="0" normalizeH="0" baseline="0" noProof="0" dirty="0" smtClean="0">
                <a:ln>
                  <a:noFill/>
                </a:ln>
                <a:solidFill>
                  <a:prstClr val="white"/>
                </a:solidFill>
                <a:effectLst/>
                <a:uLnTx/>
                <a:uFillTx/>
                <a:latin typeface="Arial"/>
                <a:ea typeface="+mn-ea"/>
                <a:cs typeface="+mn-cs"/>
              </a:endParaRPr>
            </a:p>
          </p:txBody>
        </p:sp>
      </p:grpSp>
      <p:grpSp>
        <p:nvGrpSpPr>
          <p:cNvPr id="42" name="Group 41"/>
          <p:cNvGrpSpPr/>
          <p:nvPr/>
        </p:nvGrpSpPr>
        <p:grpSpPr>
          <a:xfrm>
            <a:off x="4412858" y="1381405"/>
            <a:ext cx="2234366" cy="742667"/>
            <a:chOff x="3519546" y="36254"/>
            <a:chExt cx="2539009" cy="1237811"/>
          </a:xfrm>
          <a:solidFill>
            <a:srgbClr val="8BAAC3">
              <a:lumMod val="50000"/>
            </a:srgbClr>
          </a:solidFill>
        </p:grpSpPr>
        <p:sp>
          <p:nvSpPr>
            <p:cNvPr id="43" name="Rounded Rectangle 42"/>
            <p:cNvSpPr/>
            <p:nvPr/>
          </p:nvSpPr>
          <p:spPr>
            <a:xfrm>
              <a:off x="3519546" y="36254"/>
              <a:ext cx="2539007" cy="1237811"/>
            </a:xfrm>
            <a:prstGeom prst="roundRect">
              <a:avLst>
                <a:gd name="adj" fmla="val 10000"/>
              </a:avLst>
            </a:prstGeom>
            <a:gr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sp>
        <p:sp>
          <p:nvSpPr>
            <p:cNvPr id="44" name="Rounded Rectangle 4"/>
            <p:cNvSpPr/>
            <p:nvPr/>
          </p:nvSpPr>
          <p:spPr>
            <a:xfrm>
              <a:off x="3592055" y="36254"/>
              <a:ext cx="2466500" cy="1165302"/>
            </a:xfrm>
            <a:prstGeom prst="rect">
              <a:avLst/>
            </a:prstGeom>
            <a:noFill/>
            <a:ln>
              <a:noFill/>
            </a:ln>
            <a:effectLst/>
          </p:spPr>
          <p:txBody>
            <a:bodyPr spcFirstLastPara="0" vert="horz" wrap="square" lIns="60960" tIns="60960" rIns="60960" bIns="60960" numCol="1" spcCol="127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00" b="0" i="0" u="none" strike="noStrike" kern="0" cap="none" spc="0" normalizeH="0" baseline="0" noProof="0" dirty="0" smtClean="0">
                  <a:ln>
                    <a:noFill/>
                  </a:ln>
                  <a:solidFill>
                    <a:prstClr val="white"/>
                  </a:solidFill>
                  <a:effectLst/>
                  <a:uLnTx/>
                  <a:uFillTx/>
                  <a:latin typeface="Arial"/>
                  <a:ea typeface="+mn-ea"/>
                  <a:cs typeface="+mn-cs"/>
                </a:rPr>
                <a:t>Real-time &amp; fully automated</a:t>
              </a:r>
              <a:endParaRPr kumimoji="0" lang="en-AU" sz="2100" b="0" i="0" u="none" strike="noStrike" kern="0" cap="none" spc="0" normalizeH="0" baseline="0" noProof="0" dirty="0" smtClean="0">
                <a:ln>
                  <a:noFill/>
                </a:ln>
                <a:solidFill>
                  <a:prstClr val="white"/>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77601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par>
                          <p:cTn id="43" fill="hold">
                            <p:stCondLst>
                              <p:cond delay="500"/>
                            </p:stCondLst>
                            <p:childTnLst>
                              <p:par>
                                <p:cTn id="44" presetID="10" presetClass="entr" presetSubtype="0" fill="hold" nodeType="afterEffect">
                                  <p:stCondLst>
                                    <p:cond delay="25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nodeType="clickEffect">
                                  <p:stCondLst>
                                    <p:cond delay="0"/>
                                  </p:stCondLst>
                                  <p:childTnLst>
                                    <p:animEffect transition="out" filter="fade">
                                      <p:cBhvr>
                                        <p:cTn id="50" dur="500"/>
                                        <p:tgtEl>
                                          <p:spTgt spid="6"/>
                                        </p:tgtEl>
                                      </p:cBhvr>
                                    </p:animEffect>
                                    <p:set>
                                      <p:cBhvr>
                                        <p:cTn id="51" dur="1" fill="hold">
                                          <p:stCondLst>
                                            <p:cond delay="499"/>
                                          </p:stCondLst>
                                        </p:cTn>
                                        <p:tgtEl>
                                          <p:spTgt spid="6"/>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11"/>
                                        </p:tgtEl>
                                      </p:cBhvr>
                                    </p:animEffect>
                                    <p:set>
                                      <p:cBhvr>
                                        <p:cTn id="54" dur="1" fill="hold">
                                          <p:stCondLst>
                                            <p:cond delay="499"/>
                                          </p:stCondLst>
                                        </p:cTn>
                                        <p:tgtEl>
                                          <p:spTgt spid="11"/>
                                        </p:tgtEl>
                                        <p:attrNameLst>
                                          <p:attrName>style.visibility</p:attrName>
                                        </p:attrNameLst>
                                      </p:cBhvr>
                                      <p:to>
                                        <p:strVal val="hidden"/>
                                      </p:to>
                                    </p:se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par>
                          <p:cTn id="58" fill="hold">
                            <p:stCondLst>
                              <p:cond delay="500"/>
                            </p:stCondLst>
                            <p:childTnLst>
                              <p:par>
                                <p:cTn id="59" presetID="10" presetClass="entr" presetSubtype="0" fill="hold" nodeType="afterEffect">
                                  <p:stCondLst>
                                    <p:cond delay="250"/>
                                  </p:stCondLst>
                                  <p:childTnLst>
                                    <p:set>
                                      <p:cBhvr>
                                        <p:cTn id="60" dur="1" fill="hold">
                                          <p:stCondLst>
                                            <p:cond delay="0"/>
                                          </p:stCondLst>
                                        </p:cTn>
                                        <p:tgtEl>
                                          <p:spTgt spid="42"/>
                                        </p:tgtEl>
                                        <p:attrNameLst>
                                          <p:attrName>style.visibility</p:attrName>
                                        </p:attrNameLst>
                                      </p:cBhvr>
                                      <p:to>
                                        <p:strVal val="visible"/>
                                      </p:to>
                                    </p:set>
                                    <p:animEffect transition="in" filter="fade">
                                      <p:cBhvr>
                                        <p:cTn id="6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2"/>
          <p:cNvSpPr/>
          <p:nvPr/>
        </p:nvSpPr>
        <p:spPr>
          <a:xfrm>
            <a:off x="1522413" y="6313414"/>
            <a:ext cx="9144000" cy="504000"/>
          </a:xfrm>
          <a:prstGeom prst="rect">
            <a:avLst/>
          </a:prstGeom>
          <a:solidFill>
            <a:srgbClr val="3933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800" dirty="0">
              <a:solidFill>
                <a:prstClr val="white"/>
              </a:solidFill>
            </a:endParaRPr>
          </a:p>
        </p:txBody>
      </p:sp>
      <p:pic>
        <p:nvPicPr>
          <p:cNvPr id="6" name="Immagine 5"/>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3"/>
              <a:stretch>
                <a:fillRect/>
              </a:stretch>
            </p:blipFill>
          </mc:Choice>
          <mc:Fallback>
            <p:blipFill>
              <a:blip r:embed="rId4"/>
              <a:stretch>
                <a:fillRect/>
              </a:stretch>
            </p:blipFill>
          </mc:Fallback>
        </mc:AlternateContent>
        <p:spPr>
          <a:xfrm>
            <a:off x="1522413" y="61951"/>
            <a:ext cx="9144000" cy="6858000"/>
          </a:xfrm>
          <a:prstGeom prst="rect">
            <a:avLst/>
          </a:prstGeom>
        </p:spPr>
      </p:pic>
      <p:sp>
        <p:nvSpPr>
          <p:cNvPr id="28" name="Pentagono 7"/>
          <p:cNvSpPr/>
          <p:nvPr/>
        </p:nvSpPr>
        <p:spPr>
          <a:xfrm rot="10800000">
            <a:off x="7923213" y="5271975"/>
            <a:ext cx="2743200" cy="504000"/>
          </a:xfrm>
          <a:prstGeom prst="homePlate">
            <a:avLst/>
          </a:prstGeom>
          <a:solidFill>
            <a:srgbClr val="FF5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800" dirty="0">
              <a:solidFill>
                <a:prstClr val="white"/>
              </a:solidFill>
            </a:endParaRPr>
          </a:p>
        </p:txBody>
      </p:sp>
      <p:pic>
        <p:nvPicPr>
          <p:cNvPr id="29" name="Immagine 9" descr="INTESA_SANPAOLO_BIANCO_DEF.eps"/>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5"/>
              <a:stretch>
                <a:fillRect/>
              </a:stretch>
            </p:blipFill>
          </mc:Choice>
          <mc:Fallback>
            <p:blipFill>
              <a:blip r:embed="rId6"/>
              <a:stretch>
                <a:fillRect/>
              </a:stretch>
            </p:blipFill>
          </mc:Fallback>
        </mc:AlternateContent>
        <p:spPr>
          <a:xfrm>
            <a:off x="8182451" y="5402807"/>
            <a:ext cx="2160000" cy="243380"/>
          </a:xfrm>
          <a:prstGeom prst="rect">
            <a:avLst/>
          </a:prstGeom>
        </p:spPr>
      </p:pic>
      <p:sp>
        <p:nvSpPr>
          <p:cNvPr id="30" name="Rettangolo 9"/>
          <p:cNvSpPr/>
          <p:nvPr/>
        </p:nvSpPr>
        <p:spPr>
          <a:xfrm>
            <a:off x="1781724" y="657240"/>
            <a:ext cx="6400801" cy="504000"/>
          </a:xfrm>
          <a:prstGeom prst="rect">
            <a:avLst/>
          </a:prstGeom>
          <a:solidFill>
            <a:srgbClr val="FF5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a:defRPr/>
            </a:pPr>
            <a:r>
              <a:rPr lang="en-GB" sz="2400" b="1" dirty="0">
                <a:solidFill>
                  <a:prstClr val="white"/>
                </a:solidFill>
                <a:latin typeface="Helvetica" panose="020B0604020202020204" pitchFamily="34" charset="0"/>
                <a:cs typeface="Helvetica" panose="020B0604020202020204" pitchFamily="34" charset="0"/>
              </a:rPr>
              <a:t>    Oracle Cloud Day </a:t>
            </a:r>
            <a:r>
              <a:rPr lang="hr-HR" sz="2400" b="1" dirty="0" smtClean="0">
                <a:solidFill>
                  <a:prstClr val="white"/>
                </a:solidFill>
                <a:latin typeface="Helvetica" panose="020B0604020202020204" pitchFamily="34" charset="0"/>
                <a:cs typeface="Helvetica" panose="020B0604020202020204" pitchFamily="34" charset="0"/>
              </a:rPr>
              <a:t>May 12th </a:t>
            </a:r>
            <a:r>
              <a:rPr lang="en-GB" sz="2400" b="1" dirty="0" smtClean="0">
                <a:solidFill>
                  <a:prstClr val="white"/>
                </a:solidFill>
                <a:latin typeface="Helvetica" panose="020B0604020202020204" pitchFamily="34" charset="0"/>
                <a:cs typeface="Helvetica" panose="020B0604020202020204" pitchFamily="34" charset="0"/>
              </a:rPr>
              <a:t>201</a:t>
            </a:r>
            <a:r>
              <a:rPr lang="hr-HR" sz="2400" b="1" dirty="0">
                <a:solidFill>
                  <a:prstClr val="white"/>
                </a:solidFill>
                <a:latin typeface="Helvetica" panose="020B0604020202020204" pitchFamily="34" charset="0"/>
                <a:cs typeface="Helvetica" panose="020B0604020202020204" pitchFamily="34" charset="0"/>
              </a:rPr>
              <a:t>6</a:t>
            </a:r>
            <a:endParaRPr lang="en-GB" sz="2400" b="1" dirty="0">
              <a:solidFill>
                <a:prstClr val="white"/>
              </a:solidFill>
              <a:latin typeface="Helvetica" panose="020B0604020202020204" pitchFamily="34" charset="0"/>
              <a:cs typeface="Helvetica" panose="020B0604020202020204" pitchFamily="34" charset="0"/>
            </a:endParaRPr>
          </a:p>
        </p:txBody>
      </p:sp>
      <p:sp>
        <p:nvSpPr>
          <p:cNvPr id="2" name="TextBox 1"/>
          <p:cNvSpPr txBox="1"/>
          <p:nvPr/>
        </p:nvSpPr>
        <p:spPr>
          <a:xfrm>
            <a:off x="1886848" y="6380748"/>
            <a:ext cx="2408583" cy="369332"/>
          </a:xfrm>
          <a:prstGeom prst="rect">
            <a:avLst/>
          </a:prstGeom>
          <a:noFill/>
        </p:spPr>
        <p:txBody>
          <a:bodyPr wrap="square" rtlCol="0">
            <a:spAutoFit/>
          </a:bodyPr>
          <a:lstStyle/>
          <a:p>
            <a:r>
              <a:rPr lang="en-GB" sz="1800" dirty="0">
                <a:solidFill>
                  <a:schemeClr val="bg1"/>
                </a:solidFill>
              </a:rPr>
              <a:t>Zagreb, 12 May 2016</a:t>
            </a:r>
          </a:p>
        </p:txBody>
      </p:sp>
      <p:sp>
        <p:nvSpPr>
          <p:cNvPr id="4" name="TextBox 3"/>
          <p:cNvSpPr txBox="1"/>
          <p:nvPr/>
        </p:nvSpPr>
        <p:spPr>
          <a:xfrm>
            <a:off x="2545670" y="2608684"/>
            <a:ext cx="7097486" cy="954107"/>
          </a:xfrm>
          <a:prstGeom prst="rect">
            <a:avLst/>
          </a:prstGeom>
          <a:noFill/>
        </p:spPr>
        <p:txBody>
          <a:bodyPr wrap="square" rtlCol="0">
            <a:spAutoFit/>
          </a:bodyPr>
          <a:lstStyle/>
          <a:p>
            <a:pPr algn="ctr"/>
            <a:r>
              <a:rPr lang="en-GB" sz="2800" b="1" dirty="0">
                <a:solidFill>
                  <a:schemeClr val="tx2"/>
                </a:solidFill>
              </a:rPr>
              <a:t>Machine Learning in financial industry:</a:t>
            </a:r>
          </a:p>
          <a:p>
            <a:pPr algn="ctr"/>
            <a:r>
              <a:rPr lang="en-GB" sz="2800" b="1" dirty="0">
                <a:solidFill>
                  <a:schemeClr val="tx2"/>
                </a:solidFill>
              </a:rPr>
              <a:t>Oracle RTD implementation in PBZ</a:t>
            </a:r>
          </a:p>
        </p:txBody>
      </p:sp>
      <p:sp>
        <p:nvSpPr>
          <p:cNvPr id="5" name="TextBox 4"/>
          <p:cNvSpPr txBox="1"/>
          <p:nvPr/>
        </p:nvSpPr>
        <p:spPr>
          <a:xfrm>
            <a:off x="1886846" y="5010234"/>
            <a:ext cx="2802984" cy="861774"/>
          </a:xfrm>
          <a:prstGeom prst="rect">
            <a:avLst/>
          </a:prstGeom>
          <a:noFill/>
        </p:spPr>
        <p:txBody>
          <a:bodyPr wrap="square" rtlCol="0">
            <a:spAutoFit/>
          </a:bodyPr>
          <a:lstStyle/>
          <a:p>
            <a:r>
              <a:rPr lang="en-GB" sz="1800" dirty="0">
                <a:solidFill>
                  <a:schemeClr val="tx2"/>
                </a:solidFill>
              </a:rPr>
              <a:t>Maja Salamon</a:t>
            </a:r>
          </a:p>
          <a:p>
            <a:r>
              <a:rPr lang="en-GB" sz="1600" i="1" dirty="0">
                <a:solidFill>
                  <a:schemeClr val="tx2"/>
                </a:solidFill>
              </a:rPr>
              <a:t>Project manager</a:t>
            </a:r>
          </a:p>
          <a:p>
            <a:r>
              <a:rPr lang="en-GB" sz="1600" i="1" dirty="0" err="1">
                <a:solidFill>
                  <a:schemeClr val="tx2"/>
                </a:solidFill>
              </a:rPr>
              <a:t>Privredna</a:t>
            </a:r>
            <a:r>
              <a:rPr lang="en-GB" sz="1600" i="1" dirty="0">
                <a:solidFill>
                  <a:schemeClr val="tx2"/>
                </a:solidFill>
              </a:rPr>
              <a:t> </a:t>
            </a:r>
            <a:r>
              <a:rPr lang="en-GB" sz="1600" i="1" dirty="0" err="1">
                <a:solidFill>
                  <a:schemeClr val="tx2"/>
                </a:solidFill>
              </a:rPr>
              <a:t>banka</a:t>
            </a:r>
            <a:r>
              <a:rPr lang="en-GB" sz="1600" i="1" dirty="0">
                <a:solidFill>
                  <a:schemeClr val="tx2"/>
                </a:solidFill>
              </a:rPr>
              <a:t> Zagreb</a:t>
            </a:r>
          </a:p>
        </p:txBody>
      </p:sp>
    </p:spTree>
    <p:extLst>
      <p:ext uri="{BB962C8B-B14F-4D97-AF65-F5344CB8AC3E}">
        <p14:creationId xmlns:p14="http://schemas.microsoft.com/office/powerpoint/2010/main" val="20617701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7510" y="230577"/>
            <a:ext cx="11125200" cy="889000"/>
          </a:xfrm>
        </p:spPr>
        <p:txBody>
          <a:bodyPr/>
          <a:lstStyle/>
          <a:p>
            <a:r>
              <a:rPr lang="en-GB" dirty="0" smtClean="0"/>
              <a:t>Business have a silo view of channels</a:t>
            </a:r>
            <a:endParaRPr lang="en-GB" dirty="0">
              <a:solidFill>
                <a:srgbClr val="FF0000"/>
              </a:solidFill>
            </a:endParaRPr>
          </a:p>
        </p:txBody>
      </p:sp>
      <p:grpSp>
        <p:nvGrpSpPr>
          <p:cNvPr id="3" name="Group 102"/>
          <p:cNvGrpSpPr/>
          <p:nvPr/>
        </p:nvGrpSpPr>
        <p:grpSpPr>
          <a:xfrm>
            <a:off x="413073" y="1510544"/>
            <a:ext cx="5827078" cy="4499392"/>
            <a:chOff x="157464" y="1148680"/>
            <a:chExt cx="4594302" cy="3259642"/>
          </a:xfrm>
        </p:grpSpPr>
        <p:sp>
          <p:nvSpPr>
            <p:cNvPr id="102" name="Rectangle 101"/>
            <p:cNvSpPr/>
            <p:nvPr/>
          </p:nvSpPr>
          <p:spPr bwMode="auto">
            <a:xfrm>
              <a:off x="157464" y="1148680"/>
              <a:ext cx="4594302" cy="325964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2075" tIns="46038" rIns="92075" bIns="46038" numCol="1" rtlCol="0" anchor="ctr" anchorCtr="0" compatLnSpc="1">
              <a:prstTxWarp prst="textNoShape">
                <a:avLst/>
              </a:prstTxWarp>
              <a:noAutofit/>
            </a:bodyPr>
            <a:lstStyle/>
            <a:p>
              <a:pPr marL="158723" indent="-158723" algn="ctr" defTabSz="914400">
                <a:lnSpc>
                  <a:spcPct val="90000"/>
                </a:lnSpc>
                <a:spcBef>
                  <a:spcPct val="50000"/>
                </a:spcBef>
                <a:buClr>
                  <a:srgbClr val="FD0000"/>
                </a:buClr>
              </a:pPr>
              <a:endParaRPr lang="fr-FR" sz="1800" b="1" dirty="0" smtClean="0">
                <a:solidFill>
                  <a:srgbClr val="000000"/>
                </a:solidFill>
                <a:ea typeface="ＭＳ Ｐゴシック" pitchFamily="34" charset="-128"/>
                <a:cs typeface="Arial" pitchFamily="34" charset="0"/>
              </a:endParaRPr>
            </a:p>
          </p:txBody>
        </p:sp>
        <p:grpSp>
          <p:nvGrpSpPr>
            <p:cNvPr id="4" name="Group 66"/>
            <p:cNvGrpSpPr/>
            <p:nvPr/>
          </p:nvGrpSpPr>
          <p:grpSpPr>
            <a:xfrm>
              <a:off x="223024" y="1248937"/>
              <a:ext cx="4465634" cy="2971588"/>
              <a:chOff x="348921" y="1235837"/>
              <a:chExt cx="8428571" cy="4277551"/>
            </a:xfrm>
          </p:grpSpPr>
          <p:cxnSp>
            <p:nvCxnSpPr>
              <p:cNvPr id="26" name="Straight Connector 25"/>
              <p:cNvCxnSpPr>
                <a:endCxn id="64" idx="7"/>
              </p:cNvCxnSpPr>
              <p:nvPr/>
            </p:nvCxnSpPr>
            <p:spPr bwMode="auto">
              <a:xfrm flipH="1">
                <a:off x="2155825" y="2606675"/>
                <a:ext cx="328613" cy="59055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27" name="Picture 2" descr="ReachAcross2"/>
              <p:cNvPicPr>
                <a:picLocks noChangeAspect="1" noChangeArrowheads="1"/>
              </p:cNvPicPr>
              <p:nvPr/>
            </p:nvPicPr>
            <p:blipFill>
              <a:blip r:embed="rId23" cstate="print"/>
              <a:srcRect l="65907" t="61406" r="28944" b="27040"/>
              <a:stretch>
                <a:fillRect/>
              </a:stretch>
            </p:blipFill>
            <p:spPr bwMode="auto">
              <a:xfrm>
                <a:off x="892175" y="4891088"/>
                <a:ext cx="317500" cy="360362"/>
              </a:xfrm>
              <a:prstGeom prst="rect">
                <a:avLst/>
              </a:prstGeom>
              <a:noFill/>
              <a:ln w="9525">
                <a:noFill/>
                <a:miter lim="800000"/>
                <a:headEnd/>
                <a:tailEnd/>
              </a:ln>
            </p:spPr>
          </p:pic>
          <p:pic>
            <p:nvPicPr>
              <p:cNvPr id="28" name="Picture 20" descr="store_icon3.png"/>
              <p:cNvPicPr>
                <a:picLocks noChangeAspect="1"/>
              </p:cNvPicPr>
              <p:nvPr/>
            </p:nvPicPr>
            <p:blipFill>
              <a:blip r:embed="rId24" cstate="print"/>
              <a:srcRect l="34998" t="31998" r="34998" b="31998"/>
              <a:stretch>
                <a:fillRect/>
              </a:stretch>
            </p:blipFill>
            <p:spPr bwMode="auto">
              <a:xfrm>
                <a:off x="835025" y="4314825"/>
                <a:ext cx="406400" cy="366713"/>
              </a:xfrm>
              <a:prstGeom prst="rect">
                <a:avLst/>
              </a:prstGeom>
              <a:noFill/>
              <a:ln w="9525">
                <a:noFill/>
                <a:miter lim="800000"/>
                <a:headEnd/>
                <a:tailEnd/>
              </a:ln>
            </p:spPr>
          </p:pic>
          <p:pic>
            <p:nvPicPr>
              <p:cNvPr id="31" name="Picture 28" descr="social media.jpg"/>
              <p:cNvPicPr>
                <a:picLocks noChangeAspect="1"/>
              </p:cNvPicPr>
              <p:nvPr/>
            </p:nvPicPr>
            <p:blipFill>
              <a:blip r:embed="rId25" cstate="print"/>
              <a:srcRect l="15874" t="21510" r="27245" b="17873"/>
              <a:stretch>
                <a:fillRect/>
              </a:stretch>
            </p:blipFill>
            <p:spPr bwMode="auto">
              <a:xfrm>
                <a:off x="828675" y="3654425"/>
                <a:ext cx="419100" cy="395288"/>
              </a:xfrm>
              <a:prstGeom prst="rect">
                <a:avLst/>
              </a:prstGeom>
              <a:noFill/>
              <a:ln w="9525">
                <a:noFill/>
                <a:miter lim="800000"/>
                <a:headEnd/>
                <a:tailEnd/>
              </a:ln>
            </p:spPr>
          </p:pic>
          <p:pic>
            <p:nvPicPr>
              <p:cNvPr id="32" name="Picture 2" descr="ReachAcross2"/>
              <p:cNvPicPr>
                <a:picLocks noChangeAspect="1" noChangeArrowheads="1"/>
              </p:cNvPicPr>
              <p:nvPr/>
            </p:nvPicPr>
            <p:blipFill>
              <a:blip r:embed="rId23" cstate="print"/>
              <a:srcRect l="73877" t="60362" r="22771" b="27997"/>
              <a:stretch>
                <a:fillRect/>
              </a:stretch>
            </p:blipFill>
            <p:spPr bwMode="auto">
              <a:xfrm>
                <a:off x="919163" y="2335213"/>
                <a:ext cx="239712" cy="422275"/>
              </a:xfrm>
              <a:prstGeom prst="rect">
                <a:avLst/>
              </a:prstGeom>
              <a:noFill/>
              <a:ln w="9525">
                <a:noFill/>
                <a:miter lim="800000"/>
                <a:headEnd/>
                <a:tailEnd/>
              </a:ln>
            </p:spPr>
          </p:pic>
          <p:sp>
            <p:nvSpPr>
              <p:cNvPr id="33" name="Rectangle 7"/>
              <p:cNvSpPr>
                <a:spLocks noChangeArrowheads="1"/>
              </p:cNvSpPr>
              <p:nvPr/>
            </p:nvSpPr>
            <p:spPr bwMode="auto">
              <a:xfrm>
                <a:off x="348921" y="4638792"/>
                <a:ext cx="1029028" cy="272820"/>
              </a:xfrm>
              <a:prstGeom prst="rect">
                <a:avLst/>
              </a:prstGeom>
              <a:noFill/>
              <a:ln w="9525">
                <a:noFill/>
                <a:miter lim="800000"/>
                <a:headEnd/>
                <a:tailEnd/>
              </a:ln>
            </p:spPr>
            <p:txBody>
              <a:bodyPr wrap="square" anchor="ctr">
                <a:spAutoFit/>
              </a:bodyPr>
              <a:lstStyle/>
              <a:p>
                <a:pPr algn="ctr" defTabSz="607378" eaLnBrk="0" hangingPunct="0">
                  <a:buClr>
                    <a:srgbClr val="4F81BD"/>
                  </a:buClr>
                </a:pPr>
                <a:r>
                  <a:rPr lang="en-US" sz="1100" dirty="0">
                    <a:solidFill>
                      <a:srgbClr val="FF0000"/>
                    </a:solidFill>
                    <a:ea typeface="MS PGothic" pitchFamily="34" charset="-128"/>
                  </a:rPr>
                  <a:t>Store</a:t>
                </a:r>
              </a:p>
            </p:txBody>
          </p:sp>
          <p:sp>
            <p:nvSpPr>
              <p:cNvPr id="34" name="Rectangle 7"/>
              <p:cNvSpPr>
                <a:spLocks noChangeArrowheads="1"/>
              </p:cNvSpPr>
              <p:nvPr/>
            </p:nvSpPr>
            <p:spPr bwMode="auto">
              <a:xfrm>
                <a:off x="354013" y="5208701"/>
                <a:ext cx="1393826" cy="272820"/>
              </a:xfrm>
              <a:prstGeom prst="rect">
                <a:avLst/>
              </a:prstGeom>
              <a:noFill/>
              <a:ln w="9525">
                <a:noFill/>
                <a:miter lim="800000"/>
                <a:headEnd/>
                <a:tailEnd/>
              </a:ln>
            </p:spPr>
            <p:txBody>
              <a:bodyPr anchor="ctr">
                <a:spAutoFit/>
              </a:bodyPr>
              <a:lstStyle/>
              <a:p>
                <a:pPr algn="ctr" defTabSz="607378" eaLnBrk="0" hangingPunct="0">
                  <a:buClr>
                    <a:srgbClr val="4F81BD"/>
                  </a:buClr>
                </a:pPr>
                <a:r>
                  <a:rPr lang="en-US" sz="1100" dirty="0">
                    <a:solidFill>
                      <a:srgbClr val="FF0000"/>
                    </a:solidFill>
                    <a:ea typeface="MS PGothic" pitchFamily="34" charset="-128"/>
                  </a:rPr>
                  <a:t>Call Center</a:t>
                </a:r>
              </a:p>
            </p:txBody>
          </p:sp>
          <p:sp>
            <p:nvSpPr>
              <p:cNvPr id="35" name="Rectangle 7"/>
              <p:cNvSpPr>
                <a:spLocks noChangeArrowheads="1"/>
              </p:cNvSpPr>
              <p:nvPr/>
            </p:nvSpPr>
            <p:spPr bwMode="auto">
              <a:xfrm>
                <a:off x="538346" y="2044815"/>
                <a:ext cx="839603" cy="272820"/>
              </a:xfrm>
              <a:prstGeom prst="rect">
                <a:avLst/>
              </a:prstGeom>
              <a:noFill/>
              <a:ln w="9525">
                <a:noFill/>
                <a:miter lim="800000"/>
                <a:headEnd/>
                <a:tailEnd/>
              </a:ln>
            </p:spPr>
            <p:txBody>
              <a:bodyPr wrap="square" anchor="ctr">
                <a:spAutoFit/>
              </a:bodyPr>
              <a:lstStyle/>
              <a:p>
                <a:pPr algn="ctr" defTabSz="607378" eaLnBrk="0" hangingPunct="0">
                  <a:buClr>
                    <a:srgbClr val="4F81BD"/>
                  </a:buClr>
                </a:pPr>
                <a:r>
                  <a:rPr lang="en-US" sz="1100" dirty="0">
                    <a:solidFill>
                      <a:srgbClr val="FF0000"/>
                    </a:solidFill>
                    <a:ea typeface="MS PGothic" pitchFamily="34" charset="-128"/>
                  </a:rPr>
                  <a:t>Web</a:t>
                </a:r>
              </a:p>
            </p:txBody>
          </p:sp>
          <p:sp>
            <p:nvSpPr>
              <p:cNvPr id="36" name="Rectangle 108"/>
              <p:cNvSpPr>
                <a:spLocks noChangeArrowheads="1"/>
              </p:cNvSpPr>
              <p:nvPr/>
            </p:nvSpPr>
            <p:spPr bwMode="auto">
              <a:xfrm>
                <a:off x="590710" y="2689225"/>
                <a:ext cx="895029" cy="272820"/>
              </a:xfrm>
              <a:prstGeom prst="rect">
                <a:avLst/>
              </a:prstGeom>
              <a:noFill/>
              <a:ln w="9525">
                <a:noFill/>
                <a:miter lim="800000"/>
                <a:headEnd/>
                <a:tailEnd/>
              </a:ln>
            </p:spPr>
            <p:txBody>
              <a:bodyPr wrap="none">
                <a:spAutoFit/>
              </a:bodyPr>
              <a:lstStyle/>
              <a:p>
                <a:pPr algn="ctr" defTabSz="607378" eaLnBrk="0" hangingPunct="0">
                  <a:buClr>
                    <a:srgbClr val="4F81BD"/>
                  </a:buClr>
                </a:pPr>
                <a:r>
                  <a:rPr lang="en-US" sz="1100" dirty="0">
                    <a:solidFill>
                      <a:srgbClr val="FF0000"/>
                    </a:solidFill>
                    <a:ea typeface="MS PGothic" pitchFamily="34" charset="-128"/>
                  </a:rPr>
                  <a:t>Mobile</a:t>
                </a:r>
              </a:p>
            </p:txBody>
          </p:sp>
          <p:sp>
            <p:nvSpPr>
              <p:cNvPr id="37" name="Rectangle 109"/>
              <p:cNvSpPr>
                <a:spLocks noChangeArrowheads="1"/>
              </p:cNvSpPr>
              <p:nvPr/>
            </p:nvSpPr>
            <p:spPr bwMode="auto">
              <a:xfrm>
                <a:off x="609398" y="3332164"/>
                <a:ext cx="859245" cy="272820"/>
              </a:xfrm>
              <a:prstGeom prst="rect">
                <a:avLst/>
              </a:prstGeom>
              <a:noFill/>
              <a:ln w="9525">
                <a:noFill/>
                <a:miter lim="800000"/>
                <a:headEnd/>
                <a:tailEnd/>
              </a:ln>
            </p:spPr>
            <p:txBody>
              <a:bodyPr wrap="none">
                <a:spAutoFit/>
              </a:bodyPr>
              <a:lstStyle/>
              <a:p>
                <a:pPr algn="ctr" defTabSz="607378" eaLnBrk="0" hangingPunct="0">
                  <a:buClr>
                    <a:srgbClr val="4F81BD"/>
                  </a:buClr>
                </a:pPr>
                <a:r>
                  <a:rPr lang="en-US" sz="1100" dirty="0">
                    <a:solidFill>
                      <a:srgbClr val="FF0000"/>
                    </a:solidFill>
                    <a:ea typeface="MS PGothic" pitchFamily="34" charset="-128"/>
                  </a:rPr>
                  <a:t>Tablet</a:t>
                </a:r>
              </a:p>
            </p:txBody>
          </p:sp>
          <p:sp>
            <p:nvSpPr>
              <p:cNvPr id="38" name="Rectangle 7"/>
              <p:cNvSpPr>
                <a:spLocks noChangeArrowheads="1"/>
              </p:cNvSpPr>
              <p:nvPr/>
            </p:nvSpPr>
            <p:spPr bwMode="auto">
              <a:xfrm>
                <a:off x="412065" y="4026013"/>
                <a:ext cx="1043674" cy="272820"/>
              </a:xfrm>
              <a:prstGeom prst="rect">
                <a:avLst/>
              </a:prstGeom>
              <a:noFill/>
              <a:ln w="9525">
                <a:noFill/>
                <a:miter lim="800000"/>
                <a:headEnd/>
                <a:tailEnd/>
              </a:ln>
            </p:spPr>
            <p:txBody>
              <a:bodyPr wrap="square" anchor="ctr">
                <a:spAutoFit/>
              </a:bodyPr>
              <a:lstStyle/>
              <a:p>
                <a:pPr algn="ctr" defTabSz="607378" eaLnBrk="0" hangingPunct="0">
                  <a:buClr>
                    <a:srgbClr val="4F81BD"/>
                  </a:buClr>
                </a:pPr>
                <a:r>
                  <a:rPr lang="en-US" sz="1100" dirty="0">
                    <a:solidFill>
                      <a:srgbClr val="FF0000"/>
                    </a:solidFill>
                    <a:ea typeface="MS PGothic" pitchFamily="34" charset="-128"/>
                  </a:rPr>
                  <a:t>Social</a:t>
                </a:r>
              </a:p>
            </p:txBody>
          </p:sp>
          <p:pic>
            <p:nvPicPr>
              <p:cNvPr id="39" name="Picture 115" descr="icons.png"/>
              <p:cNvPicPr>
                <a:picLocks noChangeAspect="1"/>
              </p:cNvPicPr>
              <p:nvPr/>
            </p:nvPicPr>
            <p:blipFill>
              <a:blip r:embed="rId26" cstate="print"/>
              <a:srcRect/>
              <a:stretch>
                <a:fillRect/>
              </a:stretch>
            </p:blipFill>
            <p:spPr bwMode="auto">
              <a:xfrm>
                <a:off x="860425" y="1685925"/>
                <a:ext cx="355600" cy="352425"/>
              </a:xfrm>
              <a:prstGeom prst="rect">
                <a:avLst/>
              </a:prstGeom>
              <a:noFill/>
              <a:ln w="9525">
                <a:noFill/>
                <a:miter lim="800000"/>
                <a:headEnd/>
                <a:tailEnd/>
              </a:ln>
            </p:spPr>
          </p:pic>
          <p:graphicFrame>
            <p:nvGraphicFramePr>
              <p:cNvPr id="40" name="Diagram 39"/>
              <p:cNvGraphicFramePr/>
              <p:nvPr/>
            </p:nvGraphicFramePr>
            <p:xfrm>
              <a:off x="1569042" y="1235837"/>
              <a:ext cx="6876714" cy="355222"/>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sp>
            <p:nvSpPr>
              <p:cNvPr id="41" name="Rectangle 40"/>
              <p:cNvSpPr/>
              <p:nvPr/>
            </p:nvSpPr>
            <p:spPr bwMode="auto">
              <a:xfrm>
                <a:off x="1579563" y="2262188"/>
                <a:ext cx="6891337" cy="635000"/>
              </a:xfrm>
              <a:prstGeom prst="rect">
                <a:avLst/>
              </a:prstGeom>
              <a:no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42" name="Rectangle 41"/>
              <p:cNvSpPr/>
              <p:nvPr/>
            </p:nvSpPr>
            <p:spPr bwMode="auto">
              <a:xfrm>
                <a:off x="1579563" y="3589338"/>
                <a:ext cx="6891337" cy="639762"/>
              </a:xfrm>
              <a:prstGeom prst="rect">
                <a:avLst/>
              </a:prstGeom>
              <a:gradFill flip="none" rotWithShape="1">
                <a:gsLst>
                  <a:gs pos="0">
                    <a:schemeClr val="accent6">
                      <a:shade val="51000"/>
                      <a:satMod val="130000"/>
                      <a:alpha val="43000"/>
                    </a:schemeClr>
                  </a:gs>
                  <a:gs pos="80000">
                    <a:schemeClr val="accent6">
                      <a:shade val="93000"/>
                      <a:satMod val="130000"/>
                      <a:alpha val="43000"/>
                    </a:schemeClr>
                  </a:gs>
                  <a:gs pos="100000">
                    <a:schemeClr val="accent6">
                      <a:shade val="94000"/>
                      <a:satMod val="135000"/>
                      <a:alpha val="43000"/>
                    </a:schemeClr>
                  </a:gs>
                </a:gsLst>
                <a:lin ang="16200000" scaled="0"/>
                <a:tileRec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43" name="Rectangle 42"/>
              <p:cNvSpPr/>
              <p:nvPr/>
            </p:nvSpPr>
            <p:spPr bwMode="auto">
              <a:xfrm>
                <a:off x="1579563" y="3548063"/>
                <a:ext cx="6891337" cy="635000"/>
              </a:xfrm>
              <a:prstGeom prst="rect">
                <a:avLst/>
              </a:prstGeom>
              <a:no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44" name="Rectangle 43"/>
              <p:cNvSpPr/>
              <p:nvPr/>
            </p:nvSpPr>
            <p:spPr bwMode="auto">
              <a:xfrm>
                <a:off x="1617663" y="4873625"/>
                <a:ext cx="6891337" cy="639763"/>
              </a:xfrm>
              <a:prstGeom prst="rect">
                <a:avLst/>
              </a:prstGeom>
              <a:gradFill flip="none" rotWithShape="1">
                <a:gsLst>
                  <a:gs pos="0">
                    <a:schemeClr val="accent6">
                      <a:shade val="51000"/>
                      <a:satMod val="130000"/>
                      <a:alpha val="43000"/>
                    </a:schemeClr>
                  </a:gs>
                  <a:gs pos="80000">
                    <a:schemeClr val="accent6">
                      <a:shade val="93000"/>
                      <a:satMod val="130000"/>
                      <a:alpha val="43000"/>
                    </a:schemeClr>
                  </a:gs>
                  <a:gs pos="100000">
                    <a:schemeClr val="accent6">
                      <a:shade val="94000"/>
                      <a:satMod val="135000"/>
                      <a:alpha val="43000"/>
                    </a:schemeClr>
                  </a:gs>
                </a:gsLst>
                <a:lin ang="16200000" scaled="0"/>
                <a:tileRec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45" name="Rectangle 44"/>
              <p:cNvSpPr/>
              <p:nvPr/>
            </p:nvSpPr>
            <p:spPr bwMode="auto">
              <a:xfrm>
                <a:off x="1579563" y="4832350"/>
                <a:ext cx="6891337" cy="635000"/>
              </a:xfrm>
              <a:prstGeom prst="rect">
                <a:avLst/>
              </a:prstGeom>
              <a:no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46" name="Rectangle 45"/>
              <p:cNvSpPr/>
              <p:nvPr/>
            </p:nvSpPr>
            <p:spPr bwMode="auto">
              <a:xfrm>
                <a:off x="1579563" y="2303463"/>
                <a:ext cx="6891337" cy="639762"/>
              </a:xfrm>
              <a:prstGeom prst="rect">
                <a:avLst/>
              </a:prstGeom>
              <a:gradFill flip="none" rotWithShape="1">
                <a:gsLst>
                  <a:gs pos="0">
                    <a:schemeClr val="accent6">
                      <a:shade val="51000"/>
                      <a:satMod val="130000"/>
                      <a:alpha val="43000"/>
                    </a:schemeClr>
                  </a:gs>
                  <a:gs pos="80000">
                    <a:schemeClr val="accent6">
                      <a:shade val="93000"/>
                      <a:satMod val="130000"/>
                      <a:alpha val="43000"/>
                    </a:schemeClr>
                  </a:gs>
                  <a:gs pos="100000">
                    <a:schemeClr val="accent6">
                      <a:shade val="94000"/>
                      <a:satMod val="135000"/>
                      <a:alpha val="43000"/>
                    </a:schemeClr>
                  </a:gs>
                </a:gsLst>
                <a:lin ang="16200000" scaled="0"/>
                <a:tileRec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48" name="TextBox 16"/>
              <p:cNvSpPr txBox="1">
                <a:spLocks noChangeArrowheads="1"/>
              </p:cNvSpPr>
              <p:nvPr/>
            </p:nvSpPr>
            <p:spPr bwMode="gray">
              <a:xfrm>
                <a:off x="2124074" y="3117850"/>
                <a:ext cx="1221867" cy="368646"/>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Browse</a:t>
                </a:r>
              </a:p>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Reviews</a:t>
                </a:r>
              </a:p>
            </p:txBody>
          </p:sp>
          <p:cxnSp>
            <p:nvCxnSpPr>
              <p:cNvPr id="49" name="Straight Connector 48"/>
              <p:cNvCxnSpPr>
                <a:stCxn id="55" idx="5"/>
                <a:endCxn id="56" idx="5"/>
              </p:cNvCxnSpPr>
              <p:nvPr/>
            </p:nvCxnSpPr>
            <p:spPr bwMode="auto">
              <a:xfrm>
                <a:off x="2071688" y="2030413"/>
                <a:ext cx="446087" cy="67310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55" name="Oval 54"/>
              <p:cNvSpPr/>
              <p:nvPr/>
            </p:nvSpPr>
            <p:spPr bwMode="auto">
              <a:xfrm>
                <a:off x="1916113" y="1874838"/>
                <a:ext cx="182562"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56" name="Oval 55"/>
              <p:cNvSpPr/>
              <p:nvPr/>
            </p:nvSpPr>
            <p:spPr bwMode="auto">
              <a:xfrm>
                <a:off x="2362200" y="2546350"/>
                <a:ext cx="182563" cy="182563"/>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59" name="TextBox 16"/>
              <p:cNvSpPr txBox="1">
                <a:spLocks noChangeArrowheads="1"/>
              </p:cNvSpPr>
              <p:nvPr/>
            </p:nvSpPr>
            <p:spPr bwMode="gray">
              <a:xfrm>
                <a:off x="2082800" y="1836739"/>
                <a:ext cx="1171000" cy="208093"/>
              </a:xfrm>
              <a:prstGeom prst="rect">
                <a:avLst/>
              </a:prstGeom>
              <a:noFill/>
              <a:ln w="9525">
                <a:noFill/>
                <a:miter lim="800000"/>
                <a:headEnd/>
                <a:tailEnd/>
              </a:ln>
            </p:spPr>
            <p:txBody>
              <a:bodyPr anchor="ctr"/>
              <a:lstStyle/>
              <a:p>
                <a:pPr defTabSz="914400">
                  <a:lnSpc>
                    <a:spcPct val="90000"/>
                  </a:lnSpc>
                  <a:buFont typeface="Arial" pitchFamily="34" charset="0"/>
                  <a:buNone/>
                </a:pPr>
                <a:r>
                  <a:rPr lang="en-US" sz="1100" dirty="0">
                    <a:solidFill>
                      <a:srgbClr val="000000"/>
                    </a:solidFill>
                    <a:ea typeface="ヒラギノ角ゴ Pro W3"/>
                    <a:cs typeface="Tahoma" pitchFamily="34" charset="0"/>
                  </a:rPr>
                  <a:t>Search</a:t>
                </a:r>
              </a:p>
            </p:txBody>
          </p:sp>
          <p:sp>
            <p:nvSpPr>
              <p:cNvPr id="60" name="TextBox 16"/>
              <p:cNvSpPr txBox="1">
                <a:spLocks noChangeArrowheads="1"/>
              </p:cNvSpPr>
              <p:nvPr/>
            </p:nvSpPr>
            <p:spPr bwMode="gray">
              <a:xfrm>
                <a:off x="2389188" y="2359025"/>
                <a:ext cx="1243083" cy="563563"/>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Receive Email Offer</a:t>
                </a:r>
              </a:p>
            </p:txBody>
          </p:sp>
          <p:cxnSp>
            <p:nvCxnSpPr>
              <p:cNvPr id="63" name="Straight Connector 62"/>
              <p:cNvCxnSpPr/>
              <p:nvPr/>
            </p:nvCxnSpPr>
            <p:spPr bwMode="auto">
              <a:xfrm flipH="1">
                <a:off x="1893888" y="3338513"/>
                <a:ext cx="173037" cy="52070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64" name="Oval 63"/>
              <p:cNvSpPr/>
              <p:nvPr/>
            </p:nvSpPr>
            <p:spPr bwMode="auto">
              <a:xfrm>
                <a:off x="2001838" y="3170238"/>
                <a:ext cx="180975"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65" name="TextBox 16"/>
              <p:cNvSpPr txBox="1">
                <a:spLocks noChangeArrowheads="1"/>
              </p:cNvSpPr>
              <p:nvPr/>
            </p:nvSpPr>
            <p:spPr bwMode="gray">
              <a:xfrm>
                <a:off x="1865313" y="3656013"/>
                <a:ext cx="1261826" cy="501650"/>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Check With Friends</a:t>
                </a:r>
              </a:p>
            </p:txBody>
          </p:sp>
          <p:cxnSp>
            <p:nvCxnSpPr>
              <p:cNvPr id="66" name="Straight Connector 65"/>
              <p:cNvCxnSpPr>
                <a:stCxn id="67" idx="4"/>
                <a:endCxn id="96" idx="0"/>
              </p:cNvCxnSpPr>
              <p:nvPr/>
            </p:nvCxnSpPr>
            <p:spPr bwMode="auto">
              <a:xfrm flipH="1">
                <a:off x="1855788" y="4029075"/>
                <a:ext cx="0" cy="41910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67" name="Oval 66"/>
              <p:cNvSpPr/>
              <p:nvPr/>
            </p:nvSpPr>
            <p:spPr bwMode="auto">
              <a:xfrm>
                <a:off x="1765300" y="3846513"/>
                <a:ext cx="182563"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68" name="TextBox 16"/>
              <p:cNvSpPr txBox="1">
                <a:spLocks noChangeArrowheads="1"/>
              </p:cNvSpPr>
              <p:nvPr/>
            </p:nvSpPr>
            <p:spPr bwMode="gray">
              <a:xfrm>
                <a:off x="2738438" y="4927600"/>
                <a:ext cx="1262062" cy="488950"/>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Product-Related Call</a:t>
                </a:r>
              </a:p>
            </p:txBody>
          </p:sp>
          <p:sp>
            <p:nvSpPr>
              <p:cNvPr id="69" name="TextBox 16"/>
              <p:cNvSpPr txBox="1">
                <a:spLocks noChangeArrowheads="1"/>
              </p:cNvSpPr>
              <p:nvPr/>
            </p:nvSpPr>
            <p:spPr bwMode="gray">
              <a:xfrm>
                <a:off x="1827156" y="4339808"/>
                <a:ext cx="1409616" cy="346967"/>
              </a:xfrm>
              <a:prstGeom prst="rect">
                <a:avLst/>
              </a:prstGeom>
              <a:noFill/>
              <a:ln w="9525">
                <a:noFill/>
                <a:miter lim="800000"/>
                <a:headEnd/>
                <a:tailEnd/>
              </a:ln>
            </p:spPr>
            <p:txBody>
              <a:bodyPr anchor="ctr"/>
              <a:lstStyle/>
              <a:p>
                <a:pPr defTabSz="914400">
                  <a:lnSpc>
                    <a:spcPct val="90000"/>
                  </a:lnSpc>
                  <a:buFont typeface="Arial" pitchFamily="34" charset="0"/>
                  <a:buNone/>
                </a:pPr>
                <a:r>
                  <a:rPr lang="en-US" sz="1100" dirty="0">
                    <a:solidFill>
                      <a:srgbClr val="000000"/>
                    </a:solidFill>
                    <a:ea typeface="ヒラギノ角ゴ Pro W3"/>
                    <a:cs typeface="Tahoma" pitchFamily="34" charset="0"/>
                  </a:rPr>
                  <a:t>Inspect Product</a:t>
                </a:r>
              </a:p>
            </p:txBody>
          </p:sp>
          <p:cxnSp>
            <p:nvCxnSpPr>
              <p:cNvPr id="70" name="Straight Connector 69"/>
              <p:cNvCxnSpPr>
                <a:stCxn id="74" idx="3"/>
                <a:endCxn id="100" idx="5"/>
              </p:cNvCxnSpPr>
              <p:nvPr/>
            </p:nvCxnSpPr>
            <p:spPr bwMode="auto">
              <a:xfrm flipH="1">
                <a:off x="2759075" y="1957388"/>
                <a:ext cx="1004888" cy="322580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71" name="TextBox 16"/>
              <p:cNvSpPr txBox="1">
                <a:spLocks noChangeArrowheads="1"/>
              </p:cNvSpPr>
              <p:nvPr/>
            </p:nvSpPr>
            <p:spPr bwMode="gray">
              <a:xfrm>
                <a:off x="4114798" y="3144838"/>
                <a:ext cx="1041660" cy="292780"/>
              </a:xfrm>
              <a:prstGeom prst="rect">
                <a:avLst/>
              </a:prstGeom>
              <a:noFill/>
              <a:ln w="9525">
                <a:noFill/>
                <a:miter lim="800000"/>
                <a:headEnd/>
                <a:tailEnd/>
              </a:ln>
            </p:spPr>
            <p:txBody>
              <a:bodyPr anchor="ctr"/>
              <a:lstStyle/>
              <a:p>
                <a:pPr defTabSz="914400">
                  <a:lnSpc>
                    <a:spcPct val="90000"/>
                  </a:lnSpc>
                  <a:buFont typeface="Arial" pitchFamily="34" charset="0"/>
                  <a:buNone/>
                </a:pPr>
                <a:r>
                  <a:rPr lang="en-US" sz="1100" dirty="0">
                    <a:solidFill>
                      <a:srgbClr val="000000"/>
                    </a:solidFill>
                    <a:ea typeface="ヒラギノ角ゴ Pro W3"/>
                    <a:cs typeface="Tahoma" pitchFamily="34" charset="0"/>
                  </a:rPr>
                  <a:t>Chat</a:t>
                </a:r>
              </a:p>
            </p:txBody>
          </p:sp>
          <p:sp>
            <p:nvSpPr>
              <p:cNvPr id="72" name="TextBox 16"/>
              <p:cNvSpPr txBox="1">
                <a:spLocks noChangeArrowheads="1"/>
              </p:cNvSpPr>
              <p:nvPr/>
            </p:nvSpPr>
            <p:spPr bwMode="gray">
              <a:xfrm>
                <a:off x="3868739" y="1774826"/>
                <a:ext cx="1026368" cy="295714"/>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Buy</a:t>
                </a:r>
              </a:p>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Online</a:t>
                </a:r>
              </a:p>
            </p:txBody>
          </p:sp>
          <p:cxnSp>
            <p:nvCxnSpPr>
              <p:cNvPr id="73" name="Straight Connector 72"/>
              <p:cNvCxnSpPr>
                <a:stCxn id="76" idx="4"/>
                <a:endCxn id="74" idx="0"/>
              </p:cNvCxnSpPr>
              <p:nvPr/>
            </p:nvCxnSpPr>
            <p:spPr bwMode="auto">
              <a:xfrm flipH="1" flipV="1">
                <a:off x="3827463" y="1803400"/>
                <a:ext cx="206375" cy="1531938"/>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74" name="Oval 73"/>
              <p:cNvSpPr/>
              <p:nvPr/>
            </p:nvSpPr>
            <p:spPr bwMode="auto">
              <a:xfrm>
                <a:off x="3736975" y="1803400"/>
                <a:ext cx="180975" cy="180975"/>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cxnSp>
            <p:nvCxnSpPr>
              <p:cNvPr id="75" name="Straight Connector 74"/>
              <p:cNvCxnSpPr>
                <a:stCxn id="76" idx="7"/>
                <a:endCxn id="79" idx="3"/>
              </p:cNvCxnSpPr>
              <p:nvPr/>
            </p:nvCxnSpPr>
            <p:spPr bwMode="auto">
              <a:xfrm flipV="1">
                <a:off x="4097338" y="2570163"/>
                <a:ext cx="727075" cy="611187"/>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76" name="Oval 75"/>
              <p:cNvSpPr/>
              <p:nvPr/>
            </p:nvSpPr>
            <p:spPr bwMode="auto">
              <a:xfrm>
                <a:off x="3941763" y="3154363"/>
                <a:ext cx="182562" cy="180975"/>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77" name="TextBox 16"/>
              <p:cNvSpPr txBox="1">
                <a:spLocks noChangeArrowheads="1"/>
              </p:cNvSpPr>
              <p:nvPr/>
            </p:nvSpPr>
            <p:spPr bwMode="gray">
              <a:xfrm>
                <a:off x="7564395" y="3117850"/>
                <a:ext cx="1213097" cy="205724"/>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Write Review</a:t>
                </a:r>
              </a:p>
            </p:txBody>
          </p:sp>
          <p:cxnSp>
            <p:nvCxnSpPr>
              <p:cNvPr id="78" name="Straight Connector 77"/>
              <p:cNvCxnSpPr>
                <a:stCxn id="79" idx="4"/>
              </p:cNvCxnSpPr>
              <p:nvPr/>
            </p:nvCxnSpPr>
            <p:spPr bwMode="auto">
              <a:xfrm>
                <a:off x="4887913" y="2597150"/>
                <a:ext cx="606425" cy="2468563"/>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79" name="Oval 78"/>
              <p:cNvSpPr/>
              <p:nvPr/>
            </p:nvSpPr>
            <p:spPr bwMode="auto">
              <a:xfrm>
                <a:off x="4797425" y="2414588"/>
                <a:ext cx="182563"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cxnSp>
            <p:nvCxnSpPr>
              <p:cNvPr id="80" name="Straight Connector 79"/>
              <p:cNvCxnSpPr>
                <a:endCxn id="97" idx="3"/>
              </p:cNvCxnSpPr>
              <p:nvPr/>
            </p:nvCxnSpPr>
            <p:spPr bwMode="auto">
              <a:xfrm flipV="1">
                <a:off x="5521325" y="4465638"/>
                <a:ext cx="582613" cy="67945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81" name="Oval 80"/>
              <p:cNvSpPr/>
              <p:nvPr/>
            </p:nvSpPr>
            <p:spPr bwMode="auto">
              <a:xfrm>
                <a:off x="5413375" y="5026025"/>
                <a:ext cx="182563" cy="182563"/>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cxnSp>
            <p:nvCxnSpPr>
              <p:cNvPr id="82" name="Straight Connector 81"/>
              <p:cNvCxnSpPr>
                <a:stCxn id="86" idx="3"/>
                <a:endCxn id="97" idx="7"/>
              </p:cNvCxnSpPr>
              <p:nvPr/>
            </p:nvCxnSpPr>
            <p:spPr bwMode="auto">
              <a:xfrm flipH="1">
                <a:off x="6232525" y="2033588"/>
                <a:ext cx="1112838" cy="2303462"/>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3" name="Straight Connector 82"/>
              <p:cNvCxnSpPr>
                <a:stCxn id="85" idx="3"/>
                <a:endCxn id="94" idx="7"/>
              </p:cNvCxnSpPr>
              <p:nvPr/>
            </p:nvCxnSpPr>
            <p:spPr bwMode="auto">
              <a:xfrm flipH="1">
                <a:off x="7404100" y="3303588"/>
                <a:ext cx="173038" cy="34290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4" name="Straight Connector 83"/>
              <p:cNvCxnSpPr>
                <a:stCxn id="86" idx="4"/>
                <a:endCxn id="85" idx="0"/>
              </p:cNvCxnSpPr>
              <p:nvPr/>
            </p:nvCxnSpPr>
            <p:spPr bwMode="auto">
              <a:xfrm>
                <a:off x="7408863" y="2060575"/>
                <a:ext cx="231775" cy="1087438"/>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85" name="Oval 84"/>
              <p:cNvSpPr/>
              <p:nvPr/>
            </p:nvSpPr>
            <p:spPr bwMode="auto">
              <a:xfrm>
                <a:off x="7550150" y="3148013"/>
                <a:ext cx="182563"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86" name="Oval 85"/>
              <p:cNvSpPr/>
              <p:nvPr/>
            </p:nvSpPr>
            <p:spPr bwMode="auto">
              <a:xfrm>
                <a:off x="7318375" y="1878013"/>
                <a:ext cx="182563"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87" name="TextBox 16"/>
              <p:cNvSpPr txBox="1">
                <a:spLocks noChangeArrowheads="1"/>
              </p:cNvSpPr>
              <p:nvPr/>
            </p:nvSpPr>
            <p:spPr bwMode="gray">
              <a:xfrm>
                <a:off x="6006593" y="4398962"/>
                <a:ext cx="1393120" cy="336207"/>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In-Store</a:t>
                </a:r>
              </a:p>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Pickup</a:t>
                </a:r>
              </a:p>
            </p:txBody>
          </p:sp>
          <p:sp>
            <p:nvSpPr>
              <p:cNvPr id="88" name="TextBox 16"/>
              <p:cNvSpPr txBox="1">
                <a:spLocks noChangeArrowheads="1"/>
              </p:cNvSpPr>
              <p:nvPr/>
            </p:nvSpPr>
            <p:spPr bwMode="gray">
              <a:xfrm>
                <a:off x="7594598" y="3839499"/>
                <a:ext cx="1111428" cy="417087"/>
              </a:xfrm>
              <a:prstGeom prst="rect">
                <a:avLst/>
              </a:prstGeom>
              <a:noFill/>
              <a:ln w="9525">
                <a:noFill/>
                <a:miter lim="800000"/>
                <a:headEnd/>
                <a:tailEnd/>
              </a:ln>
            </p:spPr>
            <p:txBody>
              <a:bodyPr anchor="ctr"/>
              <a:lstStyle/>
              <a:p>
                <a:pPr defTabSz="914400">
                  <a:lnSpc>
                    <a:spcPct val="90000"/>
                  </a:lnSpc>
                  <a:buFont typeface="Arial" pitchFamily="34" charset="0"/>
                  <a:buNone/>
                </a:pPr>
                <a:r>
                  <a:rPr lang="en-US" sz="1100" dirty="0">
                    <a:solidFill>
                      <a:srgbClr val="000000"/>
                    </a:solidFill>
                    <a:ea typeface="ヒラギノ角ゴ Pro W3"/>
                    <a:cs typeface="Tahoma" pitchFamily="34" charset="0"/>
                  </a:rPr>
                  <a:t>Tweet</a:t>
                </a:r>
              </a:p>
            </p:txBody>
          </p:sp>
          <p:cxnSp>
            <p:nvCxnSpPr>
              <p:cNvPr id="89" name="Straight Connector 88"/>
              <p:cNvCxnSpPr>
                <a:stCxn id="94" idx="5"/>
                <a:endCxn id="95" idx="1"/>
              </p:cNvCxnSpPr>
              <p:nvPr/>
            </p:nvCxnSpPr>
            <p:spPr bwMode="auto">
              <a:xfrm>
                <a:off x="7404100" y="3775075"/>
                <a:ext cx="57150" cy="161925"/>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90" name="TextBox 16"/>
              <p:cNvSpPr txBox="1">
                <a:spLocks noChangeArrowheads="1"/>
              </p:cNvSpPr>
              <p:nvPr/>
            </p:nvSpPr>
            <p:spPr bwMode="gray">
              <a:xfrm>
                <a:off x="7219881" y="3640139"/>
                <a:ext cx="881908" cy="215899"/>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Like</a:t>
                </a:r>
              </a:p>
            </p:txBody>
          </p:sp>
          <p:sp>
            <p:nvSpPr>
              <p:cNvPr id="91" name="TextBox 16"/>
              <p:cNvSpPr txBox="1">
                <a:spLocks noChangeArrowheads="1"/>
              </p:cNvSpPr>
              <p:nvPr/>
            </p:nvSpPr>
            <p:spPr bwMode="gray">
              <a:xfrm>
                <a:off x="4951412" y="2427289"/>
                <a:ext cx="1290710" cy="420688"/>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Check Delivery</a:t>
                </a:r>
              </a:p>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Status</a:t>
                </a:r>
              </a:p>
            </p:txBody>
          </p:sp>
          <p:sp>
            <p:nvSpPr>
              <p:cNvPr id="92" name="TextBox 16"/>
              <p:cNvSpPr txBox="1">
                <a:spLocks noChangeArrowheads="1"/>
              </p:cNvSpPr>
              <p:nvPr/>
            </p:nvSpPr>
            <p:spPr bwMode="gray">
              <a:xfrm>
                <a:off x="5391071" y="4910138"/>
                <a:ext cx="1766491" cy="603249"/>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Call for Accessory Information</a:t>
                </a:r>
              </a:p>
            </p:txBody>
          </p:sp>
          <p:sp>
            <p:nvSpPr>
              <p:cNvPr id="93" name="TextBox 16"/>
              <p:cNvSpPr txBox="1">
                <a:spLocks noChangeArrowheads="1"/>
              </p:cNvSpPr>
              <p:nvPr/>
            </p:nvSpPr>
            <p:spPr bwMode="gray">
              <a:xfrm>
                <a:off x="7287707" y="1774826"/>
                <a:ext cx="1416932" cy="311766"/>
              </a:xfrm>
              <a:prstGeom prst="rect">
                <a:avLst/>
              </a:prstGeom>
              <a:noFill/>
              <a:ln w="9525">
                <a:noFill/>
                <a:miter lim="800000"/>
                <a:headEnd/>
                <a:tailEnd/>
              </a:ln>
            </p:spPr>
            <p:txBody>
              <a:bodyPr anchor="ctr"/>
              <a:lstStyle/>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Follow-On</a:t>
                </a:r>
              </a:p>
              <a:p>
                <a:pPr algn="ctr" defTabSz="914400">
                  <a:lnSpc>
                    <a:spcPct val="90000"/>
                  </a:lnSpc>
                  <a:buFont typeface="Arial" pitchFamily="34" charset="0"/>
                  <a:buNone/>
                </a:pPr>
                <a:r>
                  <a:rPr lang="en-US" sz="1100" dirty="0">
                    <a:solidFill>
                      <a:srgbClr val="000000"/>
                    </a:solidFill>
                    <a:ea typeface="ヒラギノ角ゴ Pro W3"/>
                    <a:cs typeface="Tahoma" pitchFamily="34" charset="0"/>
                  </a:rPr>
                  <a:t>Purchase</a:t>
                </a:r>
              </a:p>
            </p:txBody>
          </p:sp>
          <p:sp>
            <p:nvSpPr>
              <p:cNvPr id="94" name="Oval 93"/>
              <p:cNvSpPr/>
              <p:nvPr/>
            </p:nvSpPr>
            <p:spPr bwMode="auto">
              <a:xfrm>
                <a:off x="7248525" y="3619500"/>
                <a:ext cx="182563" cy="182563"/>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95" name="Oval 94"/>
              <p:cNvSpPr/>
              <p:nvPr/>
            </p:nvSpPr>
            <p:spPr bwMode="auto">
              <a:xfrm>
                <a:off x="7434263" y="3910013"/>
                <a:ext cx="182562"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96" name="Oval 95"/>
              <p:cNvSpPr/>
              <p:nvPr/>
            </p:nvSpPr>
            <p:spPr bwMode="auto">
              <a:xfrm>
                <a:off x="1763713" y="4448175"/>
                <a:ext cx="182562" cy="182563"/>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sp>
            <p:nvSpPr>
              <p:cNvPr id="97" name="Oval 96"/>
              <p:cNvSpPr/>
              <p:nvPr/>
            </p:nvSpPr>
            <p:spPr bwMode="auto">
              <a:xfrm>
                <a:off x="6076950" y="4310063"/>
                <a:ext cx="182563"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pic>
            <p:nvPicPr>
              <p:cNvPr id="98" name="Picture 25" descr="0084316308864_100X100.jpg"/>
              <p:cNvPicPr>
                <a:picLocks noChangeAspect="1"/>
              </p:cNvPicPr>
              <p:nvPr/>
            </p:nvPicPr>
            <p:blipFill>
              <a:blip r:embed="rId32" cstate="print">
                <a:clrChange>
                  <a:clrFrom>
                    <a:srgbClr val="FFFFFF"/>
                  </a:clrFrom>
                  <a:clrTo>
                    <a:srgbClr val="FFFFFF">
                      <a:alpha val="0"/>
                    </a:srgbClr>
                  </a:clrTo>
                </a:clrChange>
              </a:blip>
              <a:srcRect t="18779" b="19249"/>
              <a:stretch>
                <a:fillRect/>
              </a:stretch>
            </p:blipFill>
            <p:spPr bwMode="auto">
              <a:xfrm rot="2989581">
                <a:off x="760413" y="2968625"/>
                <a:ext cx="447675" cy="384175"/>
              </a:xfrm>
              <a:prstGeom prst="rect">
                <a:avLst/>
              </a:prstGeom>
              <a:noFill/>
              <a:ln w="9525">
                <a:noFill/>
                <a:miter lim="800000"/>
                <a:headEnd/>
                <a:tailEnd/>
              </a:ln>
            </p:spPr>
          </p:pic>
          <p:cxnSp>
            <p:nvCxnSpPr>
              <p:cNvPr id="99" name="Straight Connector 98"/>
              <p:cNvCxnSpPr>
                <a:stCxn id="100" idx="2"/>
                <a:endCxn id="96" idx="5"/>
              </p:cNvCxnSpPr>
              <p:nvPr/>
            </p:nvCxnSpPr>
            <p:spPr bwMode="auto">
              <a:xfrm flipH="1" flipV="1">
                <a:off x="1919288" y="4603750"/>
                <a:ext cx="684212" cy="51435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00" name="Oval 99"/>
              <p:cNvSpPr/>
              <p:nvPr/>
            </p:nvSpPr>
            <p:spPr bwMode="auto">
              <a:xfrm>
                <a:off x="2603500" y="5027613"/>
                <a:ext cx="182563" cy="182562"/>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lstStyle/>
              <a:p>
                <a:pPr defTabSz="914400">
                  <a:buClr>
                    <a:srgbClr val="FD0000"/>
                  </a:buClr>
                  <a:buFontTx/>
                  <a:buChar char="•"/>
                  <a:defRPr/>
                </a:pPr>
                <a:endParaRPr lang="en-US" sz="1500" dirty="0">
                  <a:solidFill>
                    <a:srgbClr val="000000"/>
                  </a:solidFill>
                </a:endParaRPr>
              </a:p>
            </p:txBody>
          </p:sp>
        </p:grpSp>
      </p:grpSp>
      <p:sp>
        <p:nvSpPr>
          <p:cNvPr id="207" name="Rounded Rectangle 206"/>
          <p:cNvSpPr/>
          <p:nvPr/>
        </p:nvSpPr>
        <p:spPr bwMode="auto">
          <a:xfrm>
            <a:off x="935374" y="1119577"/>
            <a:ext cx="5167862" cy="326040"/>
          </a:xfrm>
          <a:prstGeom prst="roundRect">
            <a:avLst/>
          </a:prstGeom>
          <a:solidFill>
            <a:schemeClr val="accent4"/>
          </a:solidFill>
          <a:ln w="9525" cap="flat" cmpd="sng" algn="ctr">
            <a:solidFill>
              <a:schemeClr val="accent1"/>
            </a:solidFill>
            <a:prstDash val="solid"/>
            <a:round/>
            <a:headEnd type="none" w="med" len="med"/>
            <a:tailEnd type="none" w="med" len="med"/>
          </a:ln>
          <a:effectLst/>
        </p:spPr>
        <p:txBody>
          <a:bodyPr vert="horz" wrap="square" lIns="95983" tIns="23996" rIns="95983" bIns="23996" numCol="1" rtlCol="0" anchor="ctr" anchorCtr="0" compatLnSpc="1">
            <a:prstTxWarp prst="textNoShape">
              <a:avLst/>
            </a:prstTxWarp>
            <a:spAutoFit/>
          </a:bodyPr>
          <a:lstStyle/>
          <a:p>
            <a:pPr algn="ctr" defTabSz="914400" eaLnBrk="0" hangingPunct="0">
              <a:defRPr/>
            </a:pPr>
            <a:r>
              <a:rPr lang="en-US" sz="1600" b="1" dirty="0">
                <a:solidFill>
                  <a:srgbClr val="FFFFFF"/>
                </a:solidFill>
                <a:ea typeface="ＭＳ Ｐゴシック" pitchFamily="34" charset="-128"/>
              </a:rPr>
              <a:t>Buying Journey Has Become More </a:t>
            </a:r>
            <a:r>
              <a:rPr lang="en-US" sz="1600" b="1" dirty="0">
                <a:solidFill>
                  <a:srgbClr val="FFFF00"/>
                </a:solidFill>
                <a:ea typeface="ＭＳ Ｐゴシック" pitchFamily="34" charset="-128"/>
              </a:rPr>
              <a:t>Complex</a:t>
            </a:r>
            <a:endParaRPr lang="en-US" sz="1400" b="1" kern="0" dirty="0">
              <a:solidFill>
                <a:srgbClr val="FFFF00"/>
              </a:solidFill>
              <a:ea typeface="ＭＳ Ｐゴシック" pitchFamily="34" charset="-128"/>
            </a:endParaRPr>
          </a:p>
        </p:txBody>
      </p:sp>
      <p:grpSp>
        <p:nvGrpSpPr>
          <p:cNvPr id="5" name="Group 209"/>
          <p:cNvGrpSpPr/>
          <p:nvPr/>
        </p:nvGrpSpPr>
        <p:grpSpPr>
          <a:xfrm>
            <a:off x="6346144" y="1128622"/>
            <a:ext cx="5665115" cy="4675829"/>
            <a:chOff x="4760843" y="846466"/>
            <a:chExt cx="4249943" cy="3506873"/>
          </a:xfrm>
        </p:grpSpPr>
        <p:grpSp>
          <p:nvGrpSpPr>
            <p:cNvPr id="6" name="Group 204"/>
            <p:cNvGrpSpPr/>
            <p:nvPr/>
          </p:nvGrpSpPr>
          <p:grpSpPr>
            <a:xfrm>
              <a:off x="4760843" y="1135160"/>
              <a:ext cx="4249943" cy="3218179"/>
              <a:chOff x="4601118" y="1211609"/>
              <a:chExt cx="4630466" cy="3133491"/>
            </a:xfrm>
          </p:grpSpPr>
          <p:sp>
            <p:nvSpPr>
              <p:cNvPr id="204" name="Rectangle 203"/>
              <p:cNvSpPr/>
              <p:nvPr/>
            </p:nvSpPr>
            <p:spPr bwMode="auto">
              <a:xfrm>
                <a:off x="4660594" y="1211609"/>
                <a:ext cx="4416499" cy="313349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2075" tIns="46038" rIns="92075" bIns="46038" numCol="1" rtlCol="0" anchor="ctr" anchorCtr="0" compatLnSpc="1">
                <a:prstTxWarp prst="textNoShape">
                  <a:avLst/>
                </a:prstTxWarp>
                <a:noAutofit/>
              </a:bodyPr>
              <a:lstStyle/>
              <a:p>
                <a:pPr marL="158723" indent="-158723" algn="ctr" defTabSz="914400">
                  <a:lnSpc>
                    <a:spcPct val="90000"/>
                  </a:lnSpc>
                  <a:spcBef>
                    <a:spcPct val="50000"/>
                  </a:spcBef>
                  <a:buClr>
                    <a:srgbClr val="FD0000"/>
                  </a:buClr>
                </a:pPr>
                <a:endParaRPr lang="fr-FR" sz="3700" b="1" dirty="0">
                  <a:solidFill>
                    <a:srgbClr val="000000"/>
                  </a:solidFill>
                  <a:ea typeface="ＭＳ Ｐゴシック" pitchFamily="34" charset="-128"/>
                </a:endParaRPr>
              </a:p>
            </p:txBody>
          </p:sp>
          <p:grpSp>
            <p:nvGrpSpPr>
              <p:cNvPr id="7" name="Group 67"/>
              <p:cNvGrpSpPr/>
              <p:nvPr/>
            </p:nvGrpSpPr>
            <p:grpSpPr>
              <a:xfrm>
                <a:off x="4601118" y="1304691"/>
                <a:ext cx="4630466" cy="2939291"/>
                <a:chOff x="165302" y="1082675"/>
                <a:chExt cx="8973802" cy="5061630"/>
              </a:xfrm>
            </p:grpSpPr>
            <p:pic>
              <p:nvPicPr>
                <p:cNvPr id="105" name="Picture 20" descr="store_icon3.png"/>
                <p:cNvPicPr>
                  <a:picLocks noChangeAspect="1"/>
                </p:cNvPicPr>
                <p:nvPr/>
              </p:nvPicPr>
              <p:blipFill>
                <a:blip r:embed="rId33" cstate="print">
                  <a:lum bright="11000" contrast="-47000"/>
                </a:blip>
                <a:srcRect l="34998" t="31998" r="34998" b="31998"/>
                <a:stretch>
                  <a:fillRect/>
                </a:stretch>
              </p:blipFill>
              <p:spPr bwMode="auto">
                <a:xfrm>
                  <a:off x="6373588" y="1231900"/>
                  <a:ext cx="684212" cy="614363"/>
                </a:xfrm>
                <a:prstGeom prst="rect">
                  <a:avLst/>
                </a:prstGeom>
                <a:noFill/>
                <a:ln w="9525">
                  <a:noFill/>
                  <a:miter lim="800000"/>
                  <a:headEnd/>
                  <a:tailEnd/>
                </a:ln>
              </p:spPr>
            </p:pic>
            <p:pic>
              <p:nvPicPr>
                <p:cNvPr id="106" name="Picture 28" descr="social media.jpg"/>
                <p:cNvPicPr>
                  <a:picLocks noChangeAspect="1"/>
                </p:cNvPicPr>
                <p:nvPr/>
              </p:nvPicPr>
              <p:blipFill>
                <a:blip r:embed="rId25" cstate="print">
                  <a:lum bright="11000" contrast="-47000"/>
                </a:blip>
                <a:srcRect l="15874" t="21510" r="27245" b="17873"/>
                <a:stretch>
                  <a:fillRect/>
                </a:stretch>
              </p:blipFill>
              <p:spPr bwMode="auto">
                <a:xfrm>
                  <a:off x="4871889" y="1135063"/>
                  <a:ext cx="712787" cy="671512"/>
                </a:xfrm>
                <a:prstGeom prst="rect">
                  <a:avLst/>
                </a:prstGeom>
                <a:noFill/>
                <a:ln w="9525">
                  <a:noFill/>
                  <a:miter lim="800000"/>
                  <a:headEnd/>
                  <a:tailEnd/>
                </a:ln>
              </p:spPr>
            </p:pic>
            <p:pic>
              <p:nvPicPr>
                <p:cNvPr id="107" name="Picture 2" descr="ReachAcross2"/>
                <p:cNvPicPr>
                  <a:picLocks noChangeAspect="1" noChangeArrowheads="1"/>
                </p:cNvPicPr>
                <p:nvPr/>
              </p:nvPicPr>
              <p:blipFill>
                <a:blip r:embed="rId23" cstate="print">
                  <a:lum bright="11000" contrast="-47000"/>
                </a:blip>
                <a:srcRect l="73877" t="60362" r="22771" b="27997"/>
                <a:stretch>
                  <a:fillRect/>
                </a:stretch>
              </p:blipFill>
              <p:spPr bwMode="auto">
                <a:xfrm>
                  <a:off x="2001540" y="1082675"/>
                  <a:ext cx="411162" cy="723900"/>
                </a:xfrm>
                <a:prstGeom prst="rect">
                  <a:avLst/>
                </a:prstGeom>
                <a:noFill/>
                <a:ln w="9525">
                  <a:noFill/>
                  <a:miter lim="800000"/>
                  <a:headEnd/>
                  <a:tailEnd/>
                </a:ln>
              </p:spPr>
            </p:pic>
            <p:sp>
              <p:nvSpPr>
                <p:cNvPr id="108" name="Rectangle 7"/>
                <p:cNvSpPr>
                  <a:spLocks noChangeArrowheads="1"/>
                </p:cNvSpPr>
                <p:nvPr/>
              </p:nvSpPr>
              <p:spPr bwMode="auto">
                <a:xfrm>
                  <a:off x="6122594" y="1787976"/>
                  <a:ext cx="1195316" cy="348342"/>
                </a:xfrm>
                <a:prstGeom prst="rect">
                  <a:avLst/>
                </a:prstGeom>
                <a:noFill/>
                <a:ln w="9525">
                  <a:noFill/>
                  <a:miter lim="800000"/>
                  <a:headEnd/>
                  <a:tailEnd/>
                </a:ln>
              </p:spPr>
              <p:txBody>
                <a:bodyPr wrap="square" anchor="ctr">
                  <a:spAutoFit/>
                </a:bodyPr>
                <a:lstStyle/>
                <a:p>
                  <a:pPr algn="ctr" defTabSz="607378" eaLnBrk="0" hangingPunct="0">
                    <a:buClr>
                      <a:srgbClr val="4F81BD"/>
                    </a:buClr>
                  </a:pPr>
                  <a:r>
                    <a:rPr lang="en-US" sz="1200" b="1" dirty="0">
                      <a:solidFill>
                        <a:srgbClr val="FF0000"/>
                      </a:solidFill>
                      <a:ea typeface="MS PGothic" pitchFamily="34" charset="-128"/>
                    </a:rPr>
                    <a:t>Store</a:t>
                  </a:r>
                </a:p>
              </p:txBody>
            </p:sp>
            <p:sp>
              <p:nvSpPr>
                <p:cNvPr id="109" name="Rectangle 7"/>
                <p:cNvSpPr>
                  <a:spLocks noChangeArrowheads="1"/>
                </p:cNvSpPr>
                <p:nvPr/>
              </p:nvSpPr>
              <p:spPr bwMode="auto">
                <a:xfrm>
                  <a:off x="351937" y="1787976"/>
                  <a:ext cx="1053593" cy="348342"/>
                </a:xfrm>
                <a:prstGeom prst="rect">
                  <a:avLst/>
                </a:prstGeom>
                <a:noFill/>
                <a:ln w="9525">
                  <a:noFill/>
                  <a:miter lim="800000"/>
                  <a:headEnd/>
                  <a:tailEnd/>
                </a:ln>
              </p:spPr>
              <p:txBody>
                <a:bodyPr wrap="square" anchor="ctr">
                  <a:spAutoFit/>
                </a:bodyPr>
                <a:lstStyle/>
                <a:p>
                  <a:pPr algn="ctr" defTabSz="607378" eaLnBrk="0" hangingPunct="0">
                    <a:buClr>
                      <a:srgbClr val="4F81BD"/>
                    </a:buClr>
                  </a:pPr>
                  <a:r>
                    <a:rPr lang="en-US" sz="1200" b="1" dirty="0">
                      <a:solidFill>
                        <a:srgbClr val="FF0000"/>
                      </a:solidFill>
                      <a:ea typeface="MS PGothic" pitchFamily="34" charset="-128"/>
                    </a:rPr>
                    <a:t>Web</a:t>
                  </a:r>
                </a:p>
              </p:txBody>
            </p:sp>
            <p:sp>
              <p:nvSpPr>
                <p:cNvPr id="110" name="Rectangle 145"/>
                <p:cNvSpPr>
                  <a:spLocks noChangeArrowheads="1"/>
                </p:cNvSpPr>
                <p:nvPr/>
              </p:nvSpPr>
              <p:spPr bwMode="auto">
                <a:xfrm>
                  <a:off x="1454899" y="1774569"/>
                  <a:ext cx="1437522" cy="348342"/>
                </a:xfrm>
                <a:prstGeom prst="rect">
                  <a:avLst/>
                </a:prstGeom>
                <a:noFill/>
                <a:ln w="9525">
                  <a:noFill/>
                  <a:miter lim="800000"/>
                  <a:headEnd/>
                  <a:tailEnd/>
                </a:ln>
              </p:spPr>
              <p:txBody>
                <a:bodyPr wrap="square">
                  <a:spAutoFit/>
                </a:bodyPr>
                <a:lstStyle/>
                <a:p>
                  <a:pPr algn="ctr" defTabSz="607378" eaLnBrk="0" hangingPunct="0">
                    <a:buClr>
                      <a:srgbClr val="4F81BD"/>
                    </a:buClr>
                  </a:pPr>
                  <a:r>
                    <a:rPr lang="en-US" sz="1200" b="1" dirty="0">
                      <a:solidFill>
                        <a:srgbClr val="FF0000"/>
                      </a:solidFill>
                      <a:ea typeface="MS PGothic" pitchFamily="34" charset="-128"/>
                    </a:rPr>
                    <a:t>Mobile</a:t>
                  </a:r>
                </a:p>
              </p:txBody>
            </p:sp>
            <p:sp>
              <p:nvSpPr>
                <p:cNvPr id="111" name="Rectangle 7"/>
                <p:cNvSpPr>
                  <a:spLocks noChangeArrowheads="1"/>
                </p:cNvSpPr>
                <p:nvPr/>
              </p:nvSpPr>
              <p:spPr bwMode="auto">
                <a:xfrm>
                  <a:off x="4575173" y="1787973"/>
                  <a:ext cx="1265393" cy="348342"/>
                </a:xfrm>
                <a:prstGeom prst="rect">
                  <a:avLst/>
                </a:prstGeom>
                <a:noFill/>
                <a:ln w="9525">
                  <a:noFill/>
                  <a:miter lim="800000"/>
                  <a:headEnd/>
                  <a:tailEnd/>
                </a:ln>
              </p:spPr>
              <p:txBody>
                <a:bodyPr wrap="square" anchor="ctr">
                  <a:spAutoFit/>
                </a:bodyPr>
                <a:lstStyle/>
                <a:p>
                  <a:pPr algn="ctr" defTabSz="607378" eaLnBrk="0" hangingPunct="0">
                    <a:buClr>
                      <a:srgbClr val="4F81BD"/>
                    </a:buClr>
                  </a:pPr>
                  <a:r>
                    <a:rPr lang="en-US" sz="1200" b="1" dirty="0">
                      <a:solidFill>
                        <a:srgbClr val="FF0000"/>
                      </a:solidFill>
                      <a:ea typeface="MS PGothic" pitchFamily="34" charset="-128"/>
                    </a:rPr>
                    <a:t>Social</a:t>
                  </a:r>
                </a:p>
              </p:txBody>
            </p:sp>
            <p:pic>
              <p:nvPicPr>
                <p:cNvPr id="112" name="Picture 2" descr="ReachAcross2"/>
                <p:cNvPicPr>
                  <a:picLocks noChangeAspect="1" noChangeArrowheads="1"/>
                </p:cNvPicPr>
                <p:nvPr/>
              </p:nvPicPr>
              <p:blipFill>
                <a:blip r:embed="rId23" cstate="print">
                  <a:lum bright="11000" contrast="-47000"/>
                </a:blip>
                <a:srcRect l="65907" t="61406" r="28944" b="27040"/>
                <a:stretch>
                  <a:fillRect/>
                </a:stretch>
              </p:blipFill>
              <p:spPr bwMode="auto">
                <a:xfrm>
                  <a:off x="8039100" y="1189038"/>
                  <a:ext cx="542925" cy="617537"/>
                </a:xfrm>
                <a:prstGeom prst="rect">
                  <a:avLst/>
                </a:prstGeom>
                <a:noFill/>
                <a:ln w="9525">
                  <a:noFill/>
                  <a:miter lim="800000"/>
                  <a:headEnd/>
                  <a:tailEnd/>
                </a:ln>
              </p:spPr>
            </p:pic>
            <p:sp>
              <p:nvSpPr>
                <p:cNvPr id="113" name="Rectangle 7"/>
                <p:cNvSpPr>
                  <a:spLocks noChangeArrowheads="1"/>
                </p:cNvSpPr>
                <p:nvPr/>
              </p:nvSpPr>
              <p:spPr bwMode="auto">
                <a:xfrm>
                  <a:off x="7400210" y="1787976"/>
                  <a:ext cx="1738894" cy="348342"/>
                </a:xfrm>
                <a:prstGeom prst="rect">
                  <a:avLst/>
                </a:prstGeom>
                <a:noFill/>
                <a:ln w="9525">
                  <a:noFill/>
                  <a:miter lim="800000"/>
                  <a:headEnd/>
                  <a:tailEnd/>
                </a:ln>
              </p:spPr>
              <p:txBody>
                <a:bodyPr wrap="square" anchor="ctr">
                  <a:spAutoFit/>
                </a:bodyPr>
                <a:lstStyle/>
                <a:p>
                  <a:pPr algn="ctr" defTabSz="607378" eaLnBrk="0" hangingPunct="0">
                    <a:buClr>
                      <a:srgbClr val="4F81BD"/>
                    </a:buClr>
                  </a:pPr>
                  <a:r>
                    <a:rPr lang="en-US" sz="1200" b="1" dirty="0">
                      <a:solidFill>
                        <a:srgbClr val="FF0000"/>
                      </a:solidFill>
                      <a:ea typeface="MS PGothic" pitchFamily="34" charset="-128"/>
                    </a:rPr>
                    <a:t>Call Center</a:t>
                  </a:r>
                </a:p>
              </p:txBody>
            </p:sp>
            <p:pic>
              <p:nvPicPr>
                <p:cNvPr id="114" name="Picture 160" descr="freeshipping_icon.gif"/>
                <p:cNvPicPr>
                  <a:picLocks noChangeAspect="1"/>
                </p:cNvPicPr>
                <p:nvPr/>
              </p:nvPicPr>
              <p:blipFill>
                <a:blip r:embed="rId34" cstate="print">
                  <a:lum bright="11000" contrast="-47000"/>
                </a:blip>
                <a:srcRect/>
                <a:stretch>
                  <a:fillRect/>
                </a:stretch>
              </p:blipFill>
              <p:spPr bwMode="auto">
                <a:xfrm>
                  <a:off x="622300" y="2994025"/>
                  <a:ext cx="447675" cy="365125"/>
                </a:xfrm>
                <a:prstGeom prst="rect">
                  <a:avLst/>
                </a:prstGeom>
                <a:noFill/>
                <a:ln w="9525">
                  <a:noFill/>
                  <a:miter lim="800000"/>
                  <a:headEnd/>
                  <a:tailEnd/>
                </a:ln>
              </p:spPr>
            </p:pic>
            <p:pic>
              <p:nvPicPr>
                <p:cNvPr id="115" name="Picture 165" descr="analytics-plugin-icon-60pc.png"/>
                <p:cNvPicPr>
                  <a:picLocks noChangeAspect="1"/>
                </p:cNvPicPr>
                <p:nvPr/>
              </p:nvPicPr>
              <p:blipFill>
                <a:blip r:embed="rId35" cstate="print">
                  <a:lum bright="11000" contrast="-47000"/>
                </a:blip>
                <a:srcRect/>
                <a:stretch>
                  <a:fillRect/>
                </a:stretch>
              </p:blipFill>
              <p:spPr bwMode="auto">
                <a:xfrm>
                  <a:off x="609600" y="4514850"/>
                  <a:ext cx="527050" cy="428625"/>
                </a:xfrm>
                <a:prstGeom prst="rect">
                  <a:avLst/>
                </a:prstGeom>
                <a:noFill/>
                <a:ln w="9525">
                  <a:noFill/>
                  <a:miter lim="800000"/>
                  <a:headEnd/>
                  <a:tailEnd/>
                </a:ln>
              </p:spPr>
            </p:pic>
            <p:pic>
              <p:nvPicPr>
                <p:cNvPr id="116" name="Picture 24"/>
                <p:cNvPicPr>
                  <a:picLocks noChangeAspect="1" noChangeArrowheads="1"/>
                </p:cNvPicPr>
                <p:nvPr/>
              </p:nvPicPr>
              <p:blipFill>
                <a:blip r:embed="rId36" cstate="print">
                  <a:clrChange>
                    <a:clrFrom>
                      <a:srgbClr val="FFFFFF"/>
                    </a:clrFrom>
                    <a:clrTo>
                      <a:srgbClr val="FFFFFF">
                        <a:alpha val="0"/>
                      </a:srgbClr>
                    </a:clrTo>
                  </a:clrChange>
                  <a:lum bright="11000" contrast="-47000"/>
                </a:blip>
                <a:srcRect/>
                <a:stretch>
                  <a:fillRect/>
                </a:stretch>
              </p:blipFill>
              <p:spPr bwMode="auto">
                <a:xfrm>
                  <a:off x="534988" y="5329238"/>
                  <a:ext cx="674687" cy="541337"/>
                </a:xfrm>
                <a:prstGeom prst="rect">
                  <a:avLst/>
                </a:prstGeom>
                <a:noFill/>
                <a:ln w="9525">
                  <a:noFill/>
                  <a:miter lim="800000"/>
                  <a:headEnd/>
                  <a:tailEnd/>
                </a:ln>
              </p:spPr>
            </p:pic>
            <p:sp>
              <p:nvSpPr>
                <p:cNvPr id="117" name="Rectangle 7"/>
                <p:cNvSpPr>
                  <a:spLocks noChangeArrowheads="1"/>
                </p:cNvSpPr>
                <p:nvPr/>
              </p:nvSpPr>
              <p:spPr bwMode="auto">
                <a:xfrm>
                  <a:off x="315639" y="2662012"/>
                  <a:ext cx="1101721" cy="290284"/>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icing</a:t>
                  </a:r>
                </a:p>
              </p:txBody>
            </p:sp>
            <p:sp>
              <p:nvSpPr>
                <p:cNvPr id="118" name="Rectangle 7"/>
                <p:cNvSpPr>
                  <a:spLocks noChangeArrowheads="1"/>
                </p:cNvSpPr>
                <p:nvPr/>
              </p:nvSpPr>
              <p:spPr bwMode="auto">
                <a:xfrm>
                  <a:off x="165302" y="3340218"/>
                  <a:ext cx="1407151" cy="290284"/>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omotions</a:t>
                  </a:r>
                </a:p>
              </p:txBody>
            </p:sp>
            <p:sp>
              <p:nvSpPr>
                <p:cNvPr id="119" name="Rectangle 7"/>
                <p:cNvSpPr>
                  <a:spLocks noChangeArrowheads="1"/>
                </p:cNvSpPr>
                <p:nvPr/>
              </p:nvSpPr>
              <p:spPr bwMode="auto">
                <a:xfrm>
                  <a:off x="279399" y="4006400"/>
                  <a:ext cx="1185864" cy="464456"/>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Order Capture</a:t>
                  </a:r>
                </a:p>
              </p:txBody>
            </p:sp>
            <p:sp>
              <p:nvSpPr>
                <p:cNvPr id="120" name="Rectangle 7"/>
                <p:cNvSpPr>
                  <a:spLocks noChangeArrowheads="1"/>
                </p:cNvSpPr>
                <p:nvPr/>
              </p:nvSpPr>
              <p:spPr bwMode="auto">
                <a:xfrm>
                  <a:off x="369886" y="4926129"/>
                  <a:ext cx="1006474" cy="290284"/>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Logic</a:t>
                  </a:r>
                </a:p>
              </p:txBody>
            </p:sp>
            <p:sp>
              <p:nvSpPr>
                <p:cNvPr id="121" name="Rectangle 7"/>
                <p:cNvSpPr>
                  <a:spLocks noChangeArrowheads="1"/>
                </p:cNvSpPr>
                <p:nvPr/>
              </p:nvSpPr>
              <p:spPr bwMode="auto">
                <a:xfrm>
                  <a:off x="369886" y="5854021"/>
                  <a:ext cx="1006474" cy="290284"/>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Data</a:t>
                  </a:r>
                </a:p>
              </p:txBody>
            </p:sp>
            <p:grpSp>
              <p:nvGrpSpPr>
                <p:cNvPr id="8" name="Group 195"/>
                <p:cNvGrpSpPr/>
                <p:nvPr/>
              </p:nvGrpSpPr>
              <p:grpSpPr>
                <a:xfrm flipH="1">
                  <a:off x="674427" y="3656462"/>
                  <a:ext cx="436889" cy="417360"/>
                  <a:chOff x="-2157414" y="1806577"/>
                  <a:chExt cx="1852613" cy="1619248"/>
                </a:xfrm>
                <a:solidFill>
                  <a:schemeClr val="tx1">
                    <a:lumMod val="50000"/>
                    <a:lumOff val="50000"/>
                  </a:schemeClr>
                </a:solidFill>
              </p:grpSpPr>
              <p:sp>
                <p:nvSpPr>
                  <p:cNvPr id="201" name="Oval 9"/>
                  <p:cNvSpPr>
                    <a:spLocks noChangeArrowheads="1"/>
                  </p:cNvSpPr>
                  <p:nvPr/>
                </p:nvSpPr>
                <p:spPr bwMode="auto">
                  <a:xfrm>
                    <a:off x="-836613" y="3181350"/>
                    <a:ext cx="242888" cy="244475"/>
                  </a:xfrm>
                  <a:prstGeom prst="ellipse">
                    <a:avLst/>
                  </a:pr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202" name="Oval 10"/>
                  <p:cNvSpPr>
                    <a:spLocks noChangeArrowheads="1"/>
                  </p:cNvSpPr>
                  <p:nvPr/>
                </p:nvSpPr>
                <p:spPr bwMode="auto">
                  <a:xfrm>
                    <a:off x="-1579563" y="3181350"/>
                    <a:ext cx="242888" cy="244475"/>
                  </a:xfrm>
                  <a:prstGeom prst="ellipse">
                    <a:avLst/>
                  </a:pr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203" name="Freeform 11"/>
                  <p:cNvSpPr>
                    <a:spLocks/>
                  </p:cNvSpPr>
                  <p:nvPr/>
                </p:nvSpPr>
                <p:spPr bwMode="auto">
                  <a:xfrm>
                    <a:off x="-2157414" y="1806577"/>
                    <a:ext cx="1852613" cy="1314451"/>
                  </a:xfrm>
                  <a:custGeom>
                    <a:avLst/>
                    <a:gdLst/>
                    <a:ahLst/>
                    <a:cxnLst>
                      <a:cxn ang="0">
                        <a:pos x="465" y="66"/>
                      </a:cxn>
                      <a:cxn ang="0">
                        <a:pos x="114" y="66"/>
                      </a:cxn>
                      <a:cxn ang="0">
                        <a:pos x="102" y="57"/>
                      </a:cxn>
                      <a:cxn ang="0">
                        <a:pos x="92" y="9"/>
                      </a:cxn>
                      <a:cxn ang="0">
                        <a:pos x="80" y="0"/>
                      </a:cxn>
                      <a:cxn ang="0">
                        <a:pos x="15" y="0"/>
                      </a:cxn>
                      <a:cxn ang="0">
                        <a:pos x="0" y="15"/>
                      </a:cxn>
                      <a:cxn ang="0">
                        <a:pos x="15" y="31"/>
                      </a:cxn>
                      <a:cxn ang="0">
                        <a:pos x="55" y="31"/>
                      </a:cxn>
                      <a:cxn ang="0">
                        <a:pos x="67" y="40"/>
                      </a:cxn>
                      <a:cxn ang="0">
                        <a:pos x="72" y="62"/>
                      </a:cxn>
                      <a:cxn ang="0">
                        <a:pos x="131" y="320"/>
                      </a:cxn>
                      <a:cxn ang="0">
                        <a:pos x="170" y="351"/>
                      </a:cxn>
                      <a:cxn ang="0">
                        <a:pos x="392" y="351"/>
                      </a:cxn>
                      <a:cxn ang="0">
                        <a:pos x="407" y="335"/>
                      </a:cxn>
                      <a:cxn ang="0">
                        <a:pos x="392" y="320"/>
                      </a:cxn>
                      <a:cxn ang="0">
                        <a:pos x="189" y="320"/>
                      </a:cxn>
                      <a:cxn ang="0">
                        <a:pos x="162" y="293"/>
                      </a:cxn>
                      <a:cxn ang="0">
                        <a:pos x="189" y="266"/>
                      </a:cxn>
                      <a:cxn ang="0">
                        <a:pos x="422" y="266"/>
                      </a:cxn>
                      <a:cxn ang="0">
                        <a:pos x="461" y="235"/>
                      </a:cxn>
                      <a:cxn ang="0">
                        <a:pos x="490" y="97"/>
                      </a:cxn>
                      <a:cxn ang="0">
                        <a:pos x="465" y="66"/>
                      </a:cxn>
                    </a:cxnLst>
                    <a:rect l="0" t="0" r="r" b="b"/>
                    <a:pathLst>
                      <a:path w="494" h="351">
                        <a:moveTo>
                          <a:pt x="465" y="66"/>
                        </a:moveTo>
                        <a:cubicBezTo>
                          <a:pt x="114" y="66"/>
                          <a:pt x="114" y="66"/>
                          <a:pt x="114" y="66"/>
                        </a:cubicBezTo>
                        <a:cubicBezTo>
                          <a:pt x="109" y="66"/>
                          <a:pt x="104" y="62"/>
                          <a:pt x="102" y="57"/>
                        </a:cubicBezTo>
                        <a:cubicBezTo>
                          <a:pt x="92" y="9"/>
                          <a:pt x="92" y="9"/>
                          <a:pt x="92" y="9"/>
                        </a:cubicBezTo>
                        <a:cubicBezTo>
                          <a:pt x="91" y="4"/>
                          <a:pt x="85" y="0"/>
                          <a:pt x="80" y="0"/>
                        </a:cubicBezTo>
                        <a:cubicBezTo>
                          <a:pt x="15" y="0"/>
                          <a:pt x="15" y="0"/>
                          <a:pt x="15" y="0"/>
                        </a:cubicBezTo>
                        <a:cubicBezTo>
                          <a:pt x="6" y="0"/>
                          <a:pt x="0" y="7"/>
                          <a:pt x="0" y="15"/>
                        </a:cubicBezTo>
                        <a:cubicBezTo>
                          <a:pt x="0" y="24"/>
                          <a:pt x="6" y="31"/>
                          <a:pt x="15" y="31"/>
                        </a:cubicBezTo>
                        <a:cubicBezTo>
                          <a:pt x="55" y="31"/>
                          <a:pt x="55" y="31"/>
                          <a:pt x="55" y="31"/>
                        </a:cubicBezTo>
                        <a:cubicBezTo>
                          <a:pt x="60" y="31"/>
                          <a:pt x="66" y="35"/>
                          <a:pt x="67" y="40"/>
                        </a:cubicBezTo>
                        <a:cubicBezTo>
                          <a:pt x="72" y="62"/>
                          <a:pt x="72" y="62"/>
                          <a:pt x="72" y="62"/>
                        </a:cubicBezTo>
                        <a:cubicBezTo>
                          <a:pt x="131" y="320"/>
                          <a:pt x="131" y="320"/>
                          <a:pt x="131" y="320"/>
                        </a:cubicBezTo>
                        <a:cubicBezTo>
                          <a:pt x="135" y="337"/>
                          <a:pt x="152" y="351"/>
                          <a:pt x="170" y="351"/>
                        </a:cubicBezTo>
                        <a:cubicBezTo>
                          <a:pt x="392" y="351"/>
                          <a:pt x="392" y="351"/>
                          <a:pt x="392" y="351"/>
                        </a:cubicBezTo>
                        <a:cubicBezTo>
                          <a:pt x="400" y="351"/>
                          <a:pt x="407" y="344"/>
                          <a:pt x="407" y="335"/>
                        </a:cubicBezTo>
                        <a:cubicBezTo>
                          <a:pt x="407" y="327"/>
                          <a:pt x="400" y="320"/>
                          <a:pt x="392" y="320"/>
                        </a:cubicBezTo>
                        <a:cubicBezTo>
                          <a:pt x="392" y="320"/>
                          <a:pt x="190" y="320"/>
                          <a:pt x="189" y="320"/>
                        </a:cubicBezTo>
                        <a:cubicBezTo>
                          <a:pt x="174" y="320"/>
                          <a:pt x="162" y="308"/>
                          <a:pt x="162" y="293"/>
                        </a:cubicBezTo>
                        <a:cubicBezTo>
                          <a:pt x="162" y="278"/>
                          <a:pt x="174" y="266"/>
                          <a:pt x="189" y="266"/>
                        </a:cubicBezTo>
                        <a:cubicBezTo>
                          <a:pt x="190" y="266"/>
                          <a:pt x="422" y="266"/>
                          <a:pt x="422" y="266"/>
                        </a:cubicBezTo>
                        <a:cubicBezTo>
                          <a:pt x="440" y="266"/>
                          <a:pt x="457" y="252"/>
                          <a:pt x="461" y="235"/>
                        </a:cubicBezTo>
                        <a:cubicBezTo>
                          <a:pt x="490" y="97"/>
                          <a:pt x="490" y="97"/>
                          <a:pt x="490" y="97"/>
                        </a:cubicBezTo>
                        <a:cubicBezTo>
                          <a:pt x="494" y="80"/>
                          <a:pt x="483" y="66"/>
                          <a:pt x="465" y="66"/>
                        </a:cubicBezTo>
                        <a:close/>
                      </a:path>
                    </a:pathLst>
                  </a:cu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grpSp>
            <p:pic>
              <p:nvPicPr>
                <p:cNvPr id="123" name="Picture 101" descr="icons_f12.png"/>
                <p:cNvPicPr>
                  <a:picLocks noChangeAspect="1"/>
                </p:cNvPicPr>
                <p:nvPr/>
              </p:nvPicPr>
              <p:blipFill>
                <a:blip r:embed="rId37" cstate="print">
                  <a:lum bright="11000" contrast="-47000"/>
                </a:blip>
                <a:srcRect/>
                <a:stretch>
                  <a:fillRect/>
                </a:stretch>
              </p:blipFill>
              <p:spPr bwMode="auto">
                <a:xfrm>
                  <a:off x="655638" y="2247900"/>
                  <a:ext cx="465137" cy="461963"/>
                </a:xfrm>
                <a:prstGeom prst="rect">
                  <a:avLst/>
                </a:prstGeom>
                <a:noFill/>
                <a:ln w="9525">
                  <a:noFill/>
                  <a:miter lim="800000"/>
                  <a:headEnd/>
                  <a:tailEnd/>
                </a:ln>
              </p:spPr>
            </p:pic>
            <p:grpSp>
              <p:nvGrpSpPr>
                <p:cNvPr id="9" name="Group 248"/>
                <p:cNvGrpSpPr>
                  <a:grpSpLocks/>
                </p:cNvGrpSpPr>
                <p:nvPr/>
              </p:nvGrpSpPr>
              <p:grpSpPr bwMode="auto">
                <a:xfrm>
                  <a:off x="1527175" y="2247900"/>
                  <a:ext cx="1548641" cy="3895613"/>
                  <a:chOff x="1527325" y="2247328"/>
                  <a:chExt cx="1548812" cy="3896880"/>
                </a:xfrm>
              </p:grpSpPr>
              <p:sp>
                <p:nvSpPr>
                  <p:cNvPr id="186" name="Line 110"/>
                  <p:cNvSpPr>
                    <a:spLocks noChangeShapeType="1"/>
                  </p:cNvSpPr>
                  <p:nvPr/>
                </p:nvSpPr>
                <p:spPr bwMode="auto">
                  <a:xfrm rot="5400000">
                    <a:off x="-365360" y="4146840"/>
                    <a:ext cx="3785369" cy="0"/>
                  </a:xfrm>
                  <a:prstGeom prst="line">
                    <a:avLst/>
                  </a:prstGeom>
                  <a:noFill/>
                  <a:ln w="38100">
                    <a:solidFill>
                      <a:schemeClr val="accent1"/>
                    </a:solidFill>
                    <a:round/>
                    <a:headEnd/>
                    <a:tailEnd type="none" w="med" len="sm"/>
                  </a:ln>
                </p:spPr>
                <p:txBody>
                  <a:bodyPr/>
                  <a:lstStyle/>
                  <a:p>
                    <a:pPr defTabSz="914400"/>
                    <a:endParaRPr lang="fr-FR" sz="1200" dirty="0">
                      <a:solidFill>
                        <a:srgbClr val="000000"/>
                      </a:solidFill>
                      <a:ea typeface="ＭＳ Ｐゴシック" pitchFamily="34" charset="-128"/>
                    </a:endParaRPr>
                  </a:p>
                </p:txBody>
              </p:sp>
              <p:pic>
                <p:nvPicPr>
                  <p:cNvPr id="187" name="Picture 185" descr="freeshipping_icon.gif"/>
                  <p:cNvPicPr>
                    <a:picLocks noChangeAspect="1"/>
                  </p:cNvPicPr>
                  <p:nvPr>
                    <p:custDataLst>
                      <p:tags r:id="rId17"/>
                    </p:custDataLst>
                  </p:nvPr>
                </p:nvPicPr>
                <p:blipFill>
                  <a:blip r:embed="rId34" cstate="print">
                    <a:lum bright="11000" contrast="-47000"/>
                  </a:blip>
                  <a:srcRect/>
                  <a:stretch>
                    <a:fillRect/>
                  </a:stretch>
                </p:blipFill>
                <p:spPr bwMode="auto">
                  <a:xfrm>
                    <a:off x="2125155" y="2993305"/>
                    <a:ext cx="447722" cy="366318"/>
                  </a:xfrm>
                  <a:prstGeom prst="rect">
                    <a:avLst/>
                  </a:prstGeom>
                  <a:noFill/>
                  <a:ln w="9525">
                    <a:noFill/>
                    <a:miter lim="800000"/>
                    <a:headEnd/>
                    <a:tailEnd/>
                  </a:ln>
                </p:spPr>
              </p:pic>
              <p:pic>
                <p:nvPicPr>
                  <p:cNvPr id="188" name="Picture 187" descr="analytics-plugin-icon-60pc.png"/>
                  <p:cNvPicPr>
                    <a:picLocks noChangeAspect="1"/>
                  </p:cNvPicPr>
                  <p:nvPr>
                    <p:custDataLst>
                      <p:tags r:id="rId18"/>
                    </p:custDataLst>
                  </p:nvPr>
                </p:nvPicPr>
                <p:blipFill>
                  <a:blip r:embed="rId35" cstate="print">
                    <a:lum bright="11000" contrast="-47000"/>
                  </a:blip>
                  <a:srcRect/>
                  <a:stretch>
                    <a:fillRect/>
                  </a:stretch>
                </p:blipFill>
                <p:spPr bwMode="auto">
                  <a:xfrm>
                    <a:off x="2112617" y="4515337"/>
                    <a:ext cx="527391" cy="427427"/>
                  </a:xfrm>
                  <a:prstGeom prst="rect">
                    <a:avLst/>
                  </a:prstGeom>
                  <a:noFill/>
                  <a:ln w="9525">
                    <a:noFill/>
                    <a:miter lim="800000"/>
                    <a:headEnd/>
                    <a:tailEnd/>
                  </a:ln>
                </p:spPr>
              </p:pic>
              <p:pic>
                <p:nvPicPr>
                  <p:cNvPr id="189" name="Picture 24"/>
                  <p:cNvPicPr>
                    <a:picLocks noChangeAspect="1" noChangeArrowheads="1"/>
                  </p:cNvPicPr>
                  <p:nvPr>
                    <p:custDataLst>
                      <p:tags r:id="rId19"/>
                    </p:custDataLst>
                  </p:nvPr>
                </p:nvPicPr>
                <p:blipFill>
                  <a:blip r:embed="rId36" cstate="print">
                    <a:clrChange>
                      <a:clrFrom>
                        <a:srgbClr val="FFFFFF"/>
                      </a:clrFrom>
                      <a:clrTo>
                        <a:srgbClr val="FFFFFF">
                          <a:alpha val="0"/>
                        </a:srgbClr>
                      </a:clrTo>
                    </a:clrChange>
                    <a:lum bright="11000" contrast="-47000"/>
                  </a:blip>
                  <a:srcRect/>
                  <a:stretch>
                    <a:fillRect/>
                  </a:stretch>
                </p:blipFill>
                <p:spPr bwMode="auto">
                  <a:xfrm>
                    <a:off x="2039192" y="5328882"/>
                    <a:ext cx="674240" cy="541929"/>
                  </a:xfrm>
                  <a:prstGeom prst="rect">
                    <a:avLst/>
                  </a:prstGeom>
                  <a:noFill/>
                  <a:ln w="9525">
                    <a:noFill/>
                    <a:miter lim="800000"/>
                    <a:headEnd/>
                    <a:tailEnd/>
                  </a:ln>
                </p:spPr>
              </p:pic>
              <p:sp>
                <p:nvSpPr>
                  <p:cNvPr id="190" name="Rectangle 7"/>
                  <p:cNvSpPr>
                    <a:spLocks noChangeArrowheads="1"/>
                  </p:cNvSpPr>
                  <p:nvPr/>
                </p:nvSpPr>
                <p:spPr bwMode="auto">
                  <a:xfrm>
                    <a:off x="1819183" y="2662368"/>
                    <a:ext cx="1101846" cy="290379"/>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icing</a:t>
                    </a:r>
                  </a:p>
                </p:txBody>
              </p:sp>
              <p:sp>
                <p:nvSpPr>
                  <p:cNvPr id="191" name="Rectangle 7"/>
                  <p:cNvSpPr>
                    <a:spLocks noChangeArrowheads="1"/>
                  </p:cNvSpPr>
                  <p:nvPr/>
                </p:nvSpPr>
                <p:spPr bwMode="auto">
                  <a:xfrm>
                    <a:off x="1668832" y="3340003"/>
                    <a:ext cx="1407305" cy="290379"/>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omotions</a:t>
                    </a:r>
                  </a:p>
                </p:txBody>
              </p:sp>
              <p:sp>
                <p:nvSpPr>
                  <p:cNvPr id="192" name="Rectangle 7"/>
                  <p:cNvSpPr>
                    <a:spLocks noChangeArrowheads="1"/>
                  </p:cNvSpPr>
                  <p:nvPr/>
                </p:nvSpPr>
                <p:spPr bwMode="auto">
                  <a:xfrm>
                    <a:off x="1782942" y="4006397"/>
                    <a:ext cx="1185995" cy="464607"/>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Order Capture</a:t>
                    </a:r>
                  </a:p>
                </p:txBody>
              </p:sp>
              <p:sp>
                <p:nvSpPr>
                  <p:cNvPr id="193" name="Rectangle 7"/>
                  <p:cNvSpPr>
                    <a:spLocks noChangeArrowheads="1"/>
                  </p:cNvSpPr>
                  <p:nvPr/>
                </p:nvSpPr>
                <p:spPr bwMode="auto">
                  <a:xfrm>
                    <a:off x="1873439" y="4926429"/>
                    <a:ext cx="1006589" cy="290379"/>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Logic</a:t>
                    </a:r>
                  </a:p>
                </p:txBody>
              </p:sp>
              <p:sp>
                <p:nvSpPr>
                  <p:cNvPr id="194" name="Rectangle 7"/>
                  <p:cNvSpPr>
                    <a:spLocks noChangeArrowheads="1"/>
                  </p:cNvSpPr>
                  <p:nvPr/>
                </p:nvSpPr>
                <p:spPr bwMode="auto">
                  <a:xfrm>
                    <a:off x="1873439" y="5853829"/>
                    <a:ext cx="1006589" cy="290379"/>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Data</a:t>
                    </a:r>
                  </a:p>
                </p:txBody>
              </p:sp>
              <p:sp>
                <p:nvSpPr>
                  <p:cNvPr id="195" name="Line 110"/>
                  <p:cNvSpPr>
                    <a:spLocks noChangeShapeType="1"/>
                  </p:cNvSpPr>
                  <p:nvPr/>
                </p:nvSpPr>
                <p:spPr bwMode="auto">
                  <a:xfrm rot="5400000">
                    <a:off x="1138171" y="4146840"/>
                    <a:ext cx="3785369" cy="0"/>
                  </a:xfrm>
                  <a:prstGeom prst="line">
                    <a:avLst/>
                  </a:prstGeom>
                  <a:noFill/>
                  <a:ln w="38100">
                    <a:solidFill>
                      <a:schemeClr val="accent1"/>
                    </a:solidFill>
                    <a:round/>
                    <a:headEnd/>
                    <a:tailEnd type="none" w="med" len="sm"/>
                  </a:ln>
                </p:spPr>
                <p:txBody>
                  <a:bodyPr/>
                  <a:lstStyle/>
                  <a:p>
                    <a:pPr defTabSz="914400"/>
                    <a:endParaRPr lang="fr-FR" sz="1200" dirty="0">
                      <a:solidFill>
                        <a:srgbClr val="000000"/>
                      </a:solidFill>
                      <a:ea typeface="ＭＳ Ｐゴシック" pitchFamily="34" charset="-128"/>
                    </a:endParaRPr>
                  </a:p>
                </p:txBody>
              </p:sp>
              <p:grpSp>
                <p:nvGrpSpPr>
                  <p:cNvPr id="10" name="Group 195"/>
                  <p:cNvGrpSpPr/>
                  <p:nvPr/>
                </p:nvGrpSpPr>
                <p:grpSpPr>
                  <a:xfrm flipH="1">
                    <a:off x="2175681" y="3656462"/>
                    <a:ext cx="436889" cy="417360"/>
                    <a:chOff x="-2157414" y="1806577"/>
                    <a:chExt cx="1852613" cy="1619248"/>
                  </a:xfrm>
                  <a:solidFill>
                    <a:schemeClr val="tx1">
                      <a:lumMod val="50000"/>
                      <a:lumOff val="50000"/>
                    </a:schemeClr>
                  </a:solidFill>
                </p:grpSpPr>
                <p:sp>
                  <p:nvSpPr>
                    <p:cNvPr id="198" name="Oval 9"/>
                    <p:cNvSpPr>
                      <a:spLocks noChangeArrowheads="1"/>
                    </p:cNvSpPr>
                    <p:nvPr/>
                  </p:nvSpPr>
                  <p:spPr bwMode="auto">
                    <a:xfrm>
                      <a:off x="-836613" y="3181350"/>
                      <a:ext cx="242888" cy="244475"/>
                    </a:xfrm>
                    <a:prstGeom prst="ellipse">
                      <a:avLst/>
                    </a:pr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99" name="Oval 10"/>
                    <p:cNvSpPr>
                      <a:spLocks noChangeArrowheads="1"/>
                    </p:cNvSpPr>
                    <p:nvPr/>
                  </p:nvSpPr>
                  <p:spPr bwMode="auto">
                    <a:xfrm>
                      <a:off x="-1579563" y="3181350"/>
                      <a:ext cx="242888" cy="244475"/>
                    </a:xfrm>
                    <a:prstGeom prst="ellipse">
                      <a:avLst/>
                    </a:pr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200" name="Freeform 11"/>
                    <p:cNvSpPr>
                      <a:spLocks/>
                    </p:cNvSpPr>
                    <p:nvPr/>
                  </p:nvSpPr>
                  <p:spPr bwMode="auto">
                    <a:xfrm>
                      <a:off x="-2157414" y="1806577"/>
                      <a:ext cx="1852613" cy="1314451"/>
                    </a:xfrm>
                    <a:custGeom>
                      <a:avLst/>
                      <a:gdLst/>
                      <a:ahLst/>
                      <a:cxnLst>
                        <a:cxn ang="0">
                          <a:pos x="465" y="66"/>
                        </a:cxn>
                        <a:cxn ang="0">
                          <a:pos x="114" y="66"/>
                        </a:cxn>
                        <a:cxn ang="0">
                          <a:pos x="102" y="57"/>
                        </a:cxn>
                        <a:cxn ang="0">
                          <a:pos x="92" y="9"/>
                        </a:cxn>
                        <a:cxn ang="0">
                          <a:pos x="80" y="0"/>
                        </a:cxn>
                        <a:cxn ang="0">
                          <a:pos x="15" y="0"/>
                        </a:cxn>
                        <a:cxn ang="0">
                          <a:pos x="0" y="15"/>
                        </a:cxn>
                        <a:cxn ang="0">
                          <a:pos x="15" y="31"/>
                        </a:cxn>
                        <a:cxn ang="0">
                          <a:pos x="55" y="31"/>
                        </a:cxn>
                        <a:cxn ang="0">
                          <a:pos x="67" y="40"/>
                        </a:cxn>
                        <a:cxn ang="0">
                          <a:pos x="72" y="62"/>
                        </a:cxn>
                        <a:cxn ang="0">
                          <a:pos x="131" y="320"/>
                        </a:cxn>
                        <a:cxn ang="0">
                          <a:pos x="170" y="351"/>
                        </a:cxn>
                        <a:cxn ang="0">
                          <a:pos x="392" y="351"/>
                        </a:cxn>
                        <a:cxn ang="0">
                          <a:pos x="407" y="335"/>
                        </a:cxn>
                        <a:cxn ang="0">
                          <a:pos x="392" y="320"/>
                        </a:cxn>
                        <a:cxn ang="0">
                          <a:pos x="189" y="320"/>
                        </a:cxn>
                        <a:cxn ang="0">
                          <a:pos x="162" y="293"/>
                        </a:cxn>
                        <a:cxn ang="0">
                          <a:pos x="189" y="266"/>
                        </a:cxn>
                        <a:cxn ang="0">
                          <a:pos x="422" y="266"/>
                        </a:cxn>
                        <a:cxn ang="0">
                          <a:pos x="461" y="235"/>
                        </a:cxn>
                        <a:cxn ang="0">
                          <a:pos x="490" y="97"/>
                        </a:cxn>
                        <a:cxn ang="0">
                          <a:pos x="465" y="66"/>
                        </a:cxn>
                      </a:cxnLst>
                      <a:rect l="0" t="0" r="r" b="b"/>
                      <a:pathLst>
                        <a:path w="494" h="351">
                          <a:moveTo>
                            <a:pt x="465" y="66"/>
                          </a:moveTo>
                          <a:cubicBezTo>
                            <a:pt x="114" y="66"/>
                            <a:pt x="114" y="66"/>
                            <a:pt x="114" y="66"/>
                          </a:cubicBezTo>
                          <a:cubicBezTo>
                            <a:pt x="109" y="66"/>
                            <a:pt x="104" y="62"/>
                            <a:pt x="102" y="57"/>
                          </a:cubicBezTo>
                          <a:cubicBezTo>
                            <a:pt x="92" y="9"/>
                            <a:pt x="92" y="9"/>
                            <a:pt x="92" y="9"/>
                          </a:cubicBezTo>
                          <a:cubicBezTo>
                            <a:pt x="91" y="4"/>
                            <a:pt x="85" y="0"/>
                            <a:pt x="80" y="0"/>
                          </a:cubicBezTo>
                          <a:cubicBezTo>
                            <a:pt x="15" y="0"/>
                            <a:pt x="15" y="0"/>
                            <a:pt x="15" y="0"/>
                          </a:cubicBezTo>
                          <a:cubicBezTo>
                            <a:pt x="6" y="0"/>
                            <a:pt x="0" y="7"/>
                            <a:pt x="0" y="15"/>
                          </a:cubicBezTo>
                          <a:cubicBezTo>
                            <a:pt x="0" y="24"/>
                            <a:pt x="6" y="31"/>
                            <a:pt x="15" y="31"/>
                          </a:cubicBezTo>
                          <a:cubicBezTo>
                            <a:pt x="55" y="31"/>
                            <a:pt x="55" y="31"/>
                            <a:pt x="55" y="31"/>
                          </a:cubicBezTo>
                          <a:cubicBezTo>
                            <a:pt x="60" y="31"/>
                            <a:pt x="66" y="35"/>
                            <a:pt x="67" y="40"/>
                          </a:cubicBezTo>
                          <a:cubicBezTo>
                            <a:pt x="72" y="62"/>
                            <a:pt x="72" y="62"/>
                            <a:pt x="72" y="62"/>
                          </a:cubicBezTo>
                          <a:cubicBezTo>
                            <a:pt x="131" y="320"/>
                            <a:pt x="131" y="320"/>
                            <a:pt x="131" y="320"/>
                          </a:cubicBezTo>
                          <a:cubicBezTo>
                            <a:pt x="135" y="337"/>
                            <a:pt x="152" y="351"/>
                            <a:pt x="170" y="351"/>
                          </a:cubicBezTo>
                          <a:cubicBezTo>
                            <a:pt x="392" y="351"/>
                            <a:pt x="392" y="351"/>
                            <a:pt x="392" y="351"/>
                          </a:cubicBezTo>
                          <a:cubicBezTo>
                            <a:pt x="400" y="351"/>
                            <a:pt x="407" y="344"/>
                            <a:pt x="407" y="335"/>
                          </a:cubicBezTo>
                          <a:cubicBezTo>
                            <a:pt x="407" y="327"/>
                            <a:pt x="400" y="320"/>
                            <a:pt x="392" y="320"/>
                          </a:cubicBezTo>
                          <a:cubicBezTo>
                            <a:pt x="392" y="320"/>
                            <a:pt x="190" y="320"/>
                            <a:pt x="189" y="320"/>
                          </a:cubicBezTo>
                          <a:cubicBezTo>
                            <a:pt x="174" y="320"/>
                            <a:pt x="162" y="308"/>
                            <a:pt x="162" y="293"/>
                          </a:cubicBezTo>
                          <a:cubicBezTo>
                            <a:pt x="162" y="278"/>
                            <a:pt x="174" y="266"/>
                            <a:pt x="189" y="266"/>
                          </a:cubicBezTo>
                          <a:cubicBezTo>
                            <a:pt x="190" y="266"/>
                            <a:pt x="422" y="266"/>
                            <a:pt x="422" y="266"/>
                          </a:cubicBezTo>
                          <a:cubicBezTo>
                            <a:pt x="440" y="266"/>
                            <a:pt x="457" y="252"/>
                            <a:pt x="461" y="235"/>
                          </a:cubicBezTo>
                          <a:cubicBezTo>
                            <a:pt x="490" y="97"/>
                            <a:pt x="490" y="97"/>
                            <a:pt x="490" y="97"/>
                          </a:cubicBezTo>
                          <a:cubicBezTo>
                            <a:pt x="494" y="80"/>
                            <a:pt x="483" y="66"/>
                            <a:pt x="465" y="66"/>
                          </a:cubicBezTo>
                          <a:close/>
                        </a:path>
                      </a:pathLst>
                    </a:cu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grpSp>
              <p:pic>
                <p:nvPicPr>
                  <p:cNvPr id="197" name="Picture 101" descr="icons_f12.png"/>
                  <p:cNvPicPr>
                    <a:picLocks noChangeAspect="1"/>
                  </p:cNvPicPr>
                  <p:nvPr>
                    <p:custDataLst>
                      <p:tags r:id="rId20"/>
                    </p:custDataLst>
                  </p:nvPr>
                </p:nvPicPr>
                <p:blipFill>
                  <a:blip r:embed="rId37" cstate="print">
                    <a:lum bright="11000" contrast="-47000"/>
                  </a:blip>
                  <a:srcRect/>
                  <a:stretch>
                    <a:fillRect/>
                  </a:stretch>
                </p:blipFill>
                <p:spPr bwMode="auto">
                  <a:xfrm>
                    <a:off x="2185918" y="2247328"/>
                    <a:ext cx="466240" cy="462217"/>
                  </a:xfrm>
                  <a:prstGeom prst="rect">
                    <a:avLst/>
                  </a:prstGeom>
                  <a:noFill/>
                  <a:ln w="9525">
                    <a:noFill/>
                    <a:miter lim="800000"/>
                    <a:headEnd/>
                    <a:tailEnd/>
                  </a:ln>
                </p:spPr>
              </p:pic>
            </p:grpSp>
            <p:grpSp>
              <p:nvGrpSpPr>
                <p:cNvPr id="11" name="Group 249"/>
                <p:cNvGrpSpPr>
                  <a:grpSpLocks/>
                </p:cNvGrpSpPr>
                <p:nvPr/>
              </p:nvGrpSpPr>
              <p:grpSpPr bwMode="auto">
                <a:xfrm>
                  <a:off x="3159328" y="2247900"/>
                  <a:ext cx="1407151" cy="3895613"/>
                  <a:chOff x="3159129" y="2247328"/>
                  <a:chExt cx="1406896" cy="3896880"/>
                </a:xfrm>
              </p:grpSpPr>
              <p:pic>
                <p:nvPicPr>
                  <p:cNvPr id="173" name="Picture 101" descr="freeshipping_icon.gif"/>
                  <p:cNvPicPr>
                    <a:picLocks noChangeAspect="1"/>
                  </p:cNvPicPr>
                  <p:nvPr>
                    <p:custDataLst>
                      <p:tags r:id="rId13"/>
                    </p:custDataLst>
                  </p:nvPr>
                </p:nvPicPr>
                <p:blipFill>
                  <a:blip r:embed="rId34" cstate="print">
                    <a:lum bright="11000" contrast="-47000"/>
                  </a:blip>
                  <a:srcRect/>
                  <a:stretch>
                    <a:fillRect/>
                  </a:stretch>
                </p:blipFill>
                <p:spPr bwMode="auto">
                  <a:xfrm>
                    <a:off x="3615059" y="2993305"/>
                    <a:ext cx="447722" cy="366318"/>
                  </a:xfrm>
                  <a:prstGeom prst="rect">
                    <a:avLst/>
                  </a:prstGeom>
                  <a:noFill/>
                  <a:ln w="9525">
                    <a:noFill/>
                    <a:miter lim="800000"/>
                    <a:headEnd/>
                    <a:tailEnd/>
                  </a:ln>
                </p:spPr>
              </p:pic>
              <p:pic>
                <p:nvPicPr>
                  <p:cNvPr id="174" name="Picture 102" descr="analytics-plugin-icon-60pc.png"/>
                  <p:cNvPicPr>
                    <a:picLocks noChangeAspect="1"/>
                  </p:cNvPicPr>
                  <p:nvPr>
                    <p:custDataLst>
                      <p:tags r:id="rId14"/>
                    </p:custDataLst>
                  </p:nvPr>
                </p:nvPicPr>
                <p:blipFill>
                  <a:blip r:embed="rId35" cstate="print">
                    <a:lum bright="11000" contrast="-47000"/>
                  </a:blip>
                  <a:srcRect/>
                  <a:stretch>
                    <a:fillRect/>
                  </a:stretch>
                </p:blipFill>
                <p:spPr bwMode="auto">
                  <a:xfrm>
                    <a:off x="3602521" y="4515337"/>
                    <a:ext cx="527391" cy="427427"/>
                  </a:xfrm>
                  <a:prstGeom prst="rect">
                    <a:avLst/>
                  </a:prstGeom>
                  <a:noFill/>
                  <a:ln w="9525">
                    <a:noFill/>
                    <a:miter lim="800000"/>
                    <a:headEnd/>
                    <a:tailEnd/>
                  </a:ln>
                </p:spPr>
              </p:pic>
              <p:pic>
                <p:nvPicPr>
                  <p:cNvPr id="175" name="Picture 24"/>
                  <p:cNvPicPr>
                    <a:picLocks noChangeAspect="1" noChangeArrowheads="1"/>
                  </p:cNvPicPr>
                  <p:nvPr>
                    <p:custDataLst>
                      <p:tags r:id="rId15"/>
                    </p:custDataLst>
                  </p:nvPr>
                </p:nvPicPr>
                <p:blipFill>
                  <a:blip r:embed="rId36" cstate="print">
                    <a:clrChange>
                      <a:clrFrom>
                        <a:srgbClr val="FFFFFF"/>
                      </a:clrFrom>
                      <a:clrTo>
                        <a:srgbClr val="FFFFFF">
                          <a:alpha val="0"/>
                        </a:srgbClr>
                      </a:clrTo>
                    </a:clrChange>
                    <a:lum bright="11000" contrast="-47000"/>
                  </a:blip>
                  <a:srcRect/>
                  <a:stretch>
                    <a:fillRect/>
                  </a:stretch>
                </p:blipFill>
                <p:spPr bwMode="auto">
                  <a:xfrm>
                    <a:off x="3529096" y="5328882"/>
                    <a:ext cx="674240" cy="541929"/>
                  </a:xfrm>
                  <a:prstGeom prst="rect">
                    <a:avLst/>
                  </a:prstGeom>
                  <a:noFill/>
                  <a:ln w="9525">
                    <a:noFill/>
                    <a:miter lim="800000"/>
                    <a:headEnd/>
                    <a:tailEnd/>
                  </a:ln>
                </p:spPr>
              </p:pic>
              <p:sp>
                <p:nvSpPr>
                  <p:cNvPr id="176" name="Rectangle 7"/>
                  <p:cNvSpPr>
                    <a:spLocks noChangeArrowheads="1"/>
                  </p:cNvSpPr>
                  <p:nvPr/>
                </p:nvSpPr>
                <p:spPr bwMode="auto">
                  <a:xfrm>
                    <a:off x="3309448" y="2662368"/>
                    <a:ext cx="1101523" cy="290379"/>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icing</a:t>
                    </a:r>
                  </a:p>
                </p:txBody>
              </p:sp>
              <p:sp>
                <p:nvSpPr>
                  <p:cNvPr id="177" name="Rectangle 7"/>
                  <p:cNvSpPr>
                    <a:spLocks noChangeArrowheads="1"/>
                  </p:cNvSpPr>
                  <p:nvPr/>
                </p:nvSpPr>
                <p:spPr bwMode="auto">
                  <a:xfrm>
                    <a:off x="3159129" y="3340003"/>
                    <a:ext cx="1406896" cy="290379"/>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omotions</a:t>
                    </a:r>
                  </a:p>
                </p:txBody>
              </p:sp>
              <p:sp>
                <p:nvSpPr>
                  <p:cNvPr id="178" name="Rectangle 7"/>
                  <p:cNvSpPr>
                    <a:spLocks noChangeArrowheads="1"/>
                  </p:cNvSpPr>
                  <p:nvPr/>
                </p:nvSpPr>
                <p:spPr bwMode="auto">
                  <a:xfrm>
                    <a:off x="3273210" y="4006397"/>
                    <a:ext cx="1185650" cy="464607"/>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Order Capture</a:t>
                    </a:r>
                  </a:p>
                </p:txBody>
              </p:sp>
              <p:sp>
                <p:nvSpPr>
                  <p:cNvPr id="179" name="Rectangle 7"/>
                  <p:cNvSpPr>
                    <a:spLocks noChangeArrowheads="1"/>
                  </p:cNvSpPr>
                  <p:nvPr/>
                </p:nvSpPr>
                <p:spPr bwMode="auto">
                  <a:xfrm>
                    <a:off x="3363679" y="4926429"/>
                    <a:ext cx="1006295" cy="290379"/>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Logic</a:t>
                    </a:r>
                  </a:p>
                </p:txBody>
              </p:sp>
              <p:sp>
                <p:nvSpPr>
                  <p:cNvPr id="180" name="Rectangle 7"/>
                  <p:cNvSpPr>
                    <a:spLocks noChangeArrowheads="1"/>
                  </p:cNvSpPr>
                  <p:nvPr/>
                </p:nvSpPr>
                <p:spPr bwMode="auto">
                  <a:xfrm>
                    <a:off x="3363679" y="5853829"/>
                    <a:ext cx="1006295" cy="290379"/>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Data</a:t>
                    </a:r>
                  </a:p>
                </p:txBody>
              </p:sp>
              <p:sp>
                <p:nvSpPr>
                  <p:cNvPr id="181" name="Line 110"/>
                  <p:cNvSpPr>
                    <a:spLocks noChangeShapeType="1"/>
                  </p:cNvSpPr>
                  <p:nvPr/>
                </p:nvSpPr>
                <p:spPr bwMode="auto">
                  <a:xfrm rot="5400000">
                    <a:off x="2628075" y="4146840"/>
                    <a:ext cx="3785369" cy="0"/>
                  </a:xfrm>
                  <a:prstGeom prst="line">
                    <a:avLst/>
                  </a:prstGeom>
                  <a:noFill/>
                  <a:ln w="38100">
                    <a:solidFill>
                      <a:schemeClr val="accent1"/>
                    </a:solidFill>
                    <a:round/>
                    <a:headEnd/>
                    <a:tailEnd type="none" w="med" len="sm"/>
                  </a:ln>
                </p:spPr>
                <p:txBody>
                  <a:bodyPr/>
                  <a:lstStyle/>
                  <a:p>
                    <a:pPr defTabSz="914400"/>
                    <a:endParaRPr lang="fr-FR" sz="1200" dirty="0">
                      <a:solidFill>
                        <a:srgbClr val="000000"/>
                      </a:solidFill>
                      <a:ea typeface="ＭＳ Ｐゴシック" pitchFamily="34" charset="-128"/>
                    </a:endParaRPr>
                  </a:p>
                </p:txBody>
              </p:sp>
              <p:sp>
                <p:nvSpPr>
                  <p:cNvPr id="182" name="Oval 9"/>
                  <p:cNvSpPr>
                    <a:spLocks noChangeArrowheads="1"/>
                  </p:cNvSpPr>
                  <p:nvPr/>
                </p:nvSpPr>
                <p:spPr bwMode="auto">
                  <a:xfrm flipH="1">
                    <a:off x="3733502" y="4010026"/>
                    <a:ext cx="57140" cy="63521"/>
                  </a:xfrm>
                  <a:prstGeom prst="ellipse">
                    <a:avLst/>
                  </a:prstGeom>
                  <a:solidFill>
                    <a:schemeClr val="tx1">
                      <a:lumMod val="50000"/>
                      <a:lumOff val="50000"/>
                    </a:schemeClr>
                  </a:solid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83" name="Oval 10"/>
                  <p:cNvSpPr>
                    <a:spLocks noChangeArrowheads="1"/>
                  </p:cNvSpPr>
                  <p:nvPr/>
                </p:nvSpPr>
                <p:spPr bwMode="auto">
                  <a:xfrm flipH="1">
                    <a:off x="3909683" y="4010026"/>
                    <a:ext cx="57140" cy="63521"/>
                  </a:xfrm>
                  <a:prstGeom prst="ellipse">
                    <a:avLst/>
                  </a:prstGeom>
                  <a:solidFill>
                    <a:schemeClr val="tx1">
                      <a:lumMod val="50000"/>
                      <a:lumOff val="50000"/>
                    </a:schemeClr>
                  </a:solid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84" name="Freeform 11"/>
                  <p:cNvSpPr>
                    <a:spLocks/>
                  </p:cNvSpPr>
                  <p:nvPr/>
                </p:nvSpPr>
                <p:spPr bwMode="auto">
                  <a:xfrm flipH="1">
                    <a:off x="3665252" y="3655899"/>
                    <a:ext cx="436483" cy="339836"/>
                  </a:xfrm>
                  <a:custGeom>
                    <a:avLst/>
                    <a:gdLst/>
                    <a:ahLst/>
                    <a:cxnLst>
                      <a:cxn ang="0">
                        <a:pos x="465" y="66"/>
                      </a:cxn>
                      <a:cxn ang="0">
                        <a:pos x="114" y="66"/>
                      </a:cxn>
                      <a:cxn ang="0">
                        <a:pos x="102" y="57"/>
                      </a:cxn>
                      <a:cxn ang="0">
                        <a:pos x="92" y="9"/>
                      </a:cxn>
                      <a:cxn ang="0">
                        <a:pos x="80" y="0"/>
                      </a:cxn>
                      <a:cxn ang="0">
                        <a:pos x="15" y="0"/>
                      </a:cxn>
                      <a:cxn ang="0">
                        <a:pos x="0" y="15"/>
                      </a:cxn>
                      <a:cxn ang="0">
                        <a:pos x="15" y="31"/>
                      </a:cxn>
                      <a:cxn ang="0">
                        <a:pos x="55" y="31"/>
                      </a:cxn>
                      <a:cxn ang="0">
                        <a:pos x="67" y="40"/>
                      </a:cxn>
                      <a:cxn ang="0">
                        <a:pos x="72" y="62"/>
                      </a:cxn>
                      <a:cxn ang="0">
                        <a:pos x="131" y="320"/>
                      </a:cxn>
                      <a:cxn ang="0">
                        <a:pos x="170" y="351"/>
                      </a:cxn>
                      <a:cxn ang="0">
                        <a:pos x="392" y="351"/>
                      </a:cxn>
                      <a:cxn ang="0">
                        <a:pos x="407" y="335"/>
                      </a:cxn>
                      <a:cxn ang="0">
                        <a:pos x="392" y="320"/>
                      </a:cxn>
                      <a:cxn ang="0">
                        <a:pos x="189" y="320"/>
                      </a:cxn>
                      <a:cxn ang="0">
                        <a:pos x="162" y="293"/>
                      </a:cxn>
                      <a:cxn ang="0">
                        <a:pos x="189" y="266"/>
                      </a:cxn>
                      <a:cxn ang="0">
                        <a:pos x="422" y="266"/>
                      </a:cxn>
                      <a:cxn ang="0">
                        <a:pos x="461" y="235"/>
                      </a:cxn>
                      <a:cxn ang="0">
                        <a:pos x="490" y="97"/>
                      </a:cxn>
                      <a:cxn ang="0">
                        <a:pos x="465" y="66"/>
                      </a:cxn>
                    </a:cxnLst>
                    <a:rect l="0" t="0" r="r" b="b"/>
                    <a:pathLst>
                      <a:path w="494" h="351">
                        <a:moveTo>
                          <a:pt x="465" y="66"/>
                        </a:moveTo>
                        <a:cubicBezTo>
                          <a:pt x="114" y="66"/>
                          <a:pt x="114" y="66"/>
                          <a:pt x="114" y="66"/>
                        </a:cubicBezTo>
                        <a:cubicBezTo>
                          <a:pt x="109" y="66"/>
                          <a:pt x="104" y="62"/>
                          <a:pt x="102" y="57"/>
                        </a:cubicBezTo>
                        <a:cubicBezTo>
                          <a:pt x="92" y="9"/>
                          <a:pt x="92" y="9"/>
                          <a:pt x="92" y="9"/>
                        </a:cubicBezTo>
                        <a:cubicBezTo>
                          <a:pt x="91" y="4"/>
                          <a:pt x="85" y="0"/>
                          <a:pt x="80" y="0"/>
                        </a:cubicBezTo>
                        <a:cubicBezTo>
                          <a:pt x="15" y="0"/>
                          <a:pt x="15" y="0"/>
                          <a:pt x="15" y="0"/>
                        </a:cubicBezTo>
                        <a:cubicBezTo>
                          <a:pt x="6" y="0"/>
                          <a:pt x="0" y="7"/>
                          <a:pt x="0" y="15"/>
                        </a:cubicBezTo>
                        <a:cubicBezTo>
                          <a:pt x="0" y="24"/>
                          <a:pt x="6" y="31"/>
                          <a:pt x="15" y="31"/>
                        </a:cubicBezTo>
                        <a:cubicBezTo>
                          <a:pt x="55" y="31"/>
                          <a:pt x="55" y="31"/>
                          <a:pt x="55" y="31"/>
                        </a:cubicBezTo>
                        <a:cubicBezTo>
                          <a:pt x="60" y="31"/>
                          <a:pt x="66" y="35"/>
                          <a:pt x="67" y="40"/>
                        </a:cubicBezTo>
                        <a:cubicBezTo>
                          <a:pt x="72" y="62"/>
                          <a:pt x="72" y="62"/>
                          <a:pt x="72" y="62"/>
                        </a:cubicBezTo>
                        <a:cubicBezTo>
                          <a:pt x="131" y="320"/>
                          <a:pt x="131" y="320"/>
                          <a:pt x="131" y="320"/>
                        </a:cubicBezTo>
                        <a:cubicBezTo>
                          <a:pt x="135" y="337"/>
                          <a:pt x="152" y="351"/>
                          <a:pt x="170" y="351"/>
                        </a:cubicBezTo>
                        <a:cubicBezTo>
                          <a:pt x="392" y="351"/>
                          <a:pt x="392" y="351"/>
                          <a:pt x="392" y="351"/>
                        </a:cubicBezTo>
                        <a:cubicBezTo>
                          <a:pt x="400" y="351"/>
                          <a:pt x="407" y="344"/>
                          <a:pt x="407" y="335"/>
                        </a:cubicBezTo>
                        <a:cubicBezTo>
                          <a:pt x="407" y="327"/>
                          <a:pt x="400" y="320"/>
                          <a:pt x="392" y="320"/>
                        </a:cubicBezTo>
                        <a:cubicBezTo>
                          <a:pt x="392" y="320"/>
                          <a:pt x="190" y="320"/>
                          <a:pt x="189" y="320"/>
                        </a:cubicBezTo>
                        <a:cubicBezTo>
                          <a:pt x="174" y="320"/>
                          <a:pt x="162" y="308"/>
                          <a:pt x="162" y="293"/>
                        </a:cubicBezTo>
                        <a:cubicBezTo>
                          <a:pt x="162" y="278"/>
                          <a:pt x="174" y="266"/>
                          <a:pt x="189" y="266"/>
                        </a:cubicBezTo>
                        <a:cubicBezTo>
                          <a:pt x="190" y="266"/>
                          <a:pt x="422" y="266"/>
                          <a:pt x="422" y="266"/>
                        </a:cubicBezTo>
                        <a:cubicBezTo>
                          <a:pt x="440" y="266"/>
                          <a:pt x="457" y="252"/>
                          <a:pt x="461" y="235"/>
                        </a:cubicBezTo>
                        <a:cubicBezTo>
                          <a:pt x="490" y="97"/>
                          <a:pt x="490" y="97"/>
                          <a:pt x="490" y="97"/>
                        </a:cubicBezTo>
                        <a:cubicBezTo>
                          <a:pt x="494" y="80"/>
                          <a:pt x="483" y="66"/>
                          <a:pt x="465" y="66"/>
                        </a:cubicBezTo>
                        <a:close/>
                      </a:path>
                    </a:pathLst>
                  </a:custGeom>
                  <a:solidFill>
                    <a:schemeClr val="tx1">
                      <a:lumMod val="50000"/>
                      <a:lumOff val="50000"/>
                    </a:schemeClr>
                  </a:solid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pic>
                <p:nvPicPr>
                  <p:cNvPr id="185" name="Picture 101" descr="icons_f12.png"/>
                  <p:cNvPicPr>
                    <a:picLocks noChangeAspect="1"/>
                  </p:cNvPicPr>
                  <p:nvPr>
                    <p:custDataLst>
                      <p:tags r:id="rId16"/>
                    </p:custDataLst>
                  </p:nvPr>
                </p:nvPicPr>
                <p:blipFill>
                  <a:blip r:embed="rId37" cstate="print">
                    <a:lum bright="11000" contrast="-47000"/>
                  </a:blip>
                  <a:srcRect/>
                  <a:stretch>
                    <a:fillRect/>
                  </a:stretch>
                </p:blipFill>
                <p:spPr bwMode="auto">
                  <a:xfrm>
                    <a:off x="3687170" y="2247328"/>
                    <a:ext cx="466240" cy="462217"/>
                  </a:xfrm>
                  <a:prstGeom prst="rect">
                    <a:avLst/>
                  </a:prstGeom>
                  <a:noFill/>
                  <a:ln w="9525">
                    <a:noFill/>
                    <a:miter lim="800000"/>
                    <a:headEnd/>
                    <a:tailEnd/>
                  </a:ln>
                </p:spPr>
              </p:pic>
            </p:grpSp>
            <p:grpSp>
              <p:nvGrpSpPr>
                <p:cNvPr id="12" name="Group 250"/>
                <p:cNvGrpSpPr>
                  <a:grpSpLocks/>
                </p:cNvGrpSpPr>
                <p:nvPr/>
              </p:nvGrpSpPr>
              <p:grpSpPr bwMode="auto">
                <a:xfrm>
                  <a:off x="4673803" y="2247900"/>
                  <a:ext cx="1407151" cy="3895613"/>
                  <a:chOff x="4674057" y="2247328"/>
                  <a:chExt cx="1406896" cy="3896880"/>
                </a:xfrm>
              </p:grpSpPr>
              <p:pic>
                <p:nvPicPr>
                  <p:cNvPr id="159" name="Picture 118" descr="freeshipping_icon.gif"/>
                  <p:cNvPicPr>
                    <a:picLocks noChangeAspect="1"/>
                  </p:cNvPicPr>
                  <p:nvPr>
                    <p:custDataLst>
                      <p:tags r:id="rId9"/>
                    </p:custDataLst>
                  </p:nvPr>
                </p:nvPicPr>
                <p:blipFill>
                  <a:blip r:embed="rId34" cstate="print">
                    <a:lum bright="11000" contrast="-47000"/>
                  </a:blip>
                  <a:srcRect/>
                  <a:stretch>
                    <a:fillRect/>
                  </a:stretch>
                </p:blipFill>
                <p:spPr bwMode="auto">
                  <a:xfrm>
                    <a:off x="5129987" y="2993305"/>
                    <a:ext cx="447722" cy="366318"/>
                  </a:xfrm>
                  <a:prstGeom prst="rect">
                    <a:avLst/>
                  </a:prstGeom>
                  <a:noFill/>
                  <a:ln w="9525">
                    <a:noFill/>
                    <a:miter lim="800000"/>
                    <a:headEnd/>
                    <a:tailEnd/>
                  </a:ln>
                </p:spPr>
              </p:pic>
              <p:pic>
                <p:nvPicPr>
                  <p:cNvPr id="160" name="Picture 119" descr="analytics-plugin-icon-60pc.png"/>
                  <p:cNvPicPr>
                    <a:picLocks noChangeAspect="1"/>
                  </p:cNvPicPr>
                  <p:nvPr>
                    <p:custDataLst>
                      <p:tags r:id="rId10"/>
                    </p:custDataLst>
                  </p:nvPr>
                </p:nvPicPr>
                <p:blipFill>
                  <a:blip r:embed="rId35" cstate="print">
                    <a:lum bright="11000" contrast="-47000"/>
                  </a:blip>
                  <a:srcRect/>
                  <a:stretch>
                    <a:fillRect/>
                  </a:stretch>
                </p:blipFill>
                <p:spPr bwMode="auto">
                  <a:xfrm>
                    <a:off x="5117449" y="4515337"/>
                    <a:ext cx="527391" cy="427427"/>
                  </a:xfrm>
                  <a:prstGeom prst="rect">
                    <a:avLst/>
                  </a:prstGeom>
                  <a:noFill/>
                  <a:ln w="9525">
                    <a:noFill/>
                    <a:miter lim="800000"/>
                    <a:headEnd/>
                    <a:tailEnd/>
                  </a:ln>
                </p:spPr>
              </p:pic>
              <p:pic>
                <p:nvPicPr>
                  <p:cNvPr id="161" name="Picture 24"/>
                  <p:cNvPicPr>
                    <a:picLocks noChangeAspect="1" noChangeArrowheads="1"/>
                  </p:cNvPicPr>
                  <p:nvPr>
                    <p:custDataLst>
                      <p:tags r:id="rId11"/>
                    </p:custDataLst>
                  </p:nvPr>
                </p:nvPicPr>
                <p:blipFill>
                  <a:blip r:embed="rId36" cstate="print">
                    <a:clrChange>
                      <a:clrFrom>
                        <a:srgbClr val="FFFFFF"/>
                      </a:clrFrom>
                      <a:clrTo>
                        <a:srgbClr val="FFFFFF">
                          <a:alpha val="0"/>
                        </a:srgbClr>
                      </a:clrTo>
                    </a:clrChange>
                    <a:lum bright="11000" contrast="-47000"/>
                  </a:blip>
                  <a:srcRect/>
                  <a:stretch>
                    <a:fillRect/>
                  </a:stretch>
                </p:blipFill>
                <p:spPr bwMode="auto">
                  <a:xfrm>
                    <a:off x="5044024" y="5328882"/>
                    <a:ext cx="674240" cy="541929"/>
                  </a:xfrm>
                  <a:prstGeom prst="rect">
                    <a:avLst/>
                  </a:prstGeom>
                  <a:noFill/>
                  <a:ln w="9525">
                    <a:noFill/>
                    <a:miter lim="800000"/>
                    <a:headEnd/>
                    <a:tailEnd/>
                  </a:ln>
                </p:spPr>
              </p:pic>
              <p:sp>
                <p:nvSpPr>
                  <p:cNvPr id="162" name="Rectangle 7"/>
                  <p:cNvSpPr>
                    <a:spLocks noChangeArrowheads="1"/>
                  </p:cNvSpPr>
                  <p:nvPr/>
                </p:nvSpPr>
                <p:spPr bwMode="auto">
                  <a:xfrm>
                    <a:off x="4824375" y="2662368"/>
                    <a:ext cx="1101523" cy="290379"/>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icing</a:t>
                    </a:r>
                  </a:p>
                </p:txBody>
              </p:sp>
              <p:sp>
                <p:nvSpPr>
                  <p:cNvPr id="163" name="Rectangle 7"/>
                  <p:cNvSpPr>
                    <a:spLocks noChangeArrowheads="1"/>
                  </p:cNvSpPr>
                  <p:nvPr/>
                </p:nvSpPr>
                <p:spPr bwMode="auto">
                  <a:xfrm>
                    <a:off x="4674057" y="3340003"/>
                    <a:ext cx="1406896" cy="290379"/>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omotions</a:t>
                    </a:r>
                  </a:p>
                </p:txBody>
              </p:sp>
              <p:sp>
                <p:nvSpPr>
                  <p:cNvPr id="164" name="Rectangle 7"/>
                  <p:cNvSpPr>
                    <a:spLocks noChangeArrowheads="1"/>
                  </p:cNvSpPr>
                  <p:nvPr/>
                </p:nvSpPr>
                <p:spPr bwMode="auto">
                  <a:xfrm>
                    <a:off x="4788138" y="4006397"/>
                    <a:ext cx="1185650" cy="464607"/>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Order Capture</a:t>
                    </a:r>
                  </a:p>
                </p:txBody>
              </p:sp>
              <p:sp>
                <p:nvSpPr>
                  <p:cNvPr id="165" name="Rectangle 7"/>
                  <p:cNvSpPr>
                    <a:spLocks noChangeArrowheads="1"/>
                  </p:cNvSpPr>
                  <p:nvPr/>
                </p:nvSpPr>
                <p:spPr bwMode="auto">
                  <a:xfrm>
                    <a:off x="4878607" y="4926429"/>
                    <a:ext cx="1006295" cy="290379"/>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Logic</a:t>
                    </a:r>
                  </a:p>
                </p:txBody>
              </p:sp>
              <p:sp>
                <p:nvSpPr>
                  <p:cNvPr id="166" name="Rectangle 7"/>
                  <p:cNvSpPr>
                    <a:spLocks noChangeArrowheads="1"/>
                  </p:cNvSpPr>
                  <p:nvPr/>
                </p:nvSpPr>
                <p:spPr bwMode="auto">
                  <a:xfrm>
                    <a:off x="4878607" y="5853829"/>
                    <a:ext cx="1006295" cy="290379"/>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Data</a:t>
                    </a:r>
                  </a:p>
                </p:txBody>
              </p:sp>
              <p:sp>
                <p:nvSpPr>
                  <p:cNvPr id="167" name="Line 110"/>
                  <p:cNvSpPr>
                    <a:spLocks noChangeShapeType="1"/>
                  </p:cNvSpPr>
                  <p:nvPr/>
                </p:nvSpPr>
                <p:spPr bwMode="auto">
                  <a:xfrm rot="5400000">
                    <a:off x="4143003" y="4146840"/>
                    <a:ext cx="3785369" cy="0"/>
                  </a:xfrm>
                  <a:prstGeom prst="line">
                    <a:avLst/>
                  </a:prstGeom>
                  <a:noFill/>
                  <a:ln w="38100">
                    <a:solidFill>
                      <a:schemeClr val="accent1"/>
                    </a:solidFill>
                    <a:round/>
                    <a:headEnd/>
                    <a:tailEnd type="none" w="med" len="sm"/>
                  </a:ln>
                </p:spPr>
                <p:txBody>
                  <a:bodyPr/>
                  <a:lstStyle/>
                  <a:p>
                    <a:pPr defTabSz="914400"/>
                    <a:endParaRPr lang="fr-FR" sz="1200" dirty="0">
                      <a:solidFill>
                        <a:srgbClr val="000000"/>
                      </a:solidFill>
                      <a:ea typeface="ＭＳ Ｐゴシック" pitchFamily="34" charset="-128"/>
                    </a:endParaRPr>
                  </a:p>
                </p:txBody>
              </p:sp>
              <p:grpSp>
                <p:nvGrpSpPr>
                  <p:cNvPr id="13" name="Group 195"/>
                  <p:cNvGrpSpPr/>
                  <p:nvPr/>
                </p:nvGrpSpPr>
                <p:grpSpPr>
                  <a:xfrm flipH="1">
                    <a:off x="5180514" y="3656459"/>
                    <a:ext cx="436892" cy="417358"/>
                    <a:chOff x="-2157414" y="1806577"/>
                    <a:chExt cx="1852613" cy="1619248"/>
                  </a:xfrm>
                  <a:solidFill>
                    <a:schemeClr val="tx1">
                      <a:lumMod val="50000"/>
                      <a:lumOff val="50000"/>
                    </a:schemeClr>
                  </a:solidFill>
                </p:grpSpPr>
                <p:sp>
                  <p:nvSpPr>
                    <p:cNvPr id="170" name="Oval 9"/>
                    <p:cNvSpPr>
                      <a:spLocks noChangeArrowheads="1"/>
                    </p:cNvSpPr>
                    <p:nvPr/>
                  </p:nvSpPr>
                  <p:spPr bwMode="auto">
                    <a:xfrm>
                      <a:off x="-836613" y="3181350"/>
                      <a:ext cx="242888" cy="244475"/>
                    </a:xfrm>
                    <a:prstGeom prst="ellipse">
                      <a:avLst/>
                    </a:pr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71" name="Oval 10"/>
                    <p:cNvSpPr>
                      <a:spLocks noChangeArrowheads="1"/>
                    </p:cNvSpPr>
                    <p:nvPr/>
                  </p:nvSpPr>
                  <p:spPr bwMode="auto">
                    <a:xfrm>
                      <a:off x="-1579563" y="3181350"/>
                      <a:ext cx="242888" cy="244475"/>
                    </a:xfrm>
                    <a:prstGeom prst="ellipse">
                      <a:avLst/>
                    </a:pr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72" name="Freeform 11"/>
                    <p:cNvSpPr>
                      <a:spLocks/>
                    </p:cNvSpPr>
                    <p:nvPr/>
                  </p:nvSpPr>
                  <p:spPr bwMode="auto">
                    <a:xfrm>
                      <a:off x="-2157414" y="1806577"/>
                      <a:ext cx="1852613" cy="1314451"/>
                    </a:xfrm>
                    <a:custGeom>
                      <a:avLst/>
                      <a:gdLst/>
                      <a:ahLst/>
                      <a:cxnLst>
                        <a:cxn ang="0">
                          <a:pos x="465" y="66"/>
                        </a:cxn>
                        <a:cxn ang="0">
                          <a:pos x="114" y="66"/>
                        </a:cxn>
                        <a:cxn ang="0">
                          <a:pos x="102" y="57"/>
                        </a:cxn>
                        <a:cxn ang="0">
                          <a:pos x="92" y="9"/>
                        </a:cxn>
                        <a:cxn ang="0">
                          <a:pos x="80" y="0"/>
                        </a:cxn>
                        <a:cxn ang="0">
                          <a:pos x="15" y="0"/>
                        </a:cxn>
                        <a:cxn ang="0">
                          <a:pos x="0" y="15"/>
                        </a:cxn>
                        <a:cxn ang="0">
                          <a:pos x="15" y="31"/>
                        </a:cxn>
                        <a:cxn ang="0">
                          <a:pos x="55" y="31"/>
                        </a:cxn>
                        <a:cxn ang="0">
                          <a:pos x="67" y="40"/>
                        </a:cxn>
                        <a:cxn ang="0">
                          <a:pos x="72" y="62"/>
                        </a:cxn>
                        <a:cxn ang="0">
                          <a:pos x="131" y="320"/>
                        </a:cxn>
                        <a:cxn ang="0">
                          <a:pos x="170" y="351"/>
                        </a:cxn>
                        <a:cxn ang="0">
                          <a:pos x="392" y="351"/>
                        </a:cxn>
                        <a:cxn ang="0">
                          <a:pos x="407" y="335"/>
                        </a:cxn>
                        <a:cxn ang="0">
                          <a:pos x="392" y="320"/>
                        </a:cxn>
                        <a:cxn ang="0">
                          <a:pos x="189" y="320"/>
                        </a:cxn>
                        <a:cxn ang="0">
                          <a:pos x="162" y="293"/>
                        </a:cxn>
                        <a:cxn ang="0">
                          <a:pos x="189" y="266"/>
                        </a:cxn>
                        <a:cxn ang="0">
                          <a:pos x="422" y="266"/>
                        </a:cxn>
                        <a:cxn ang="0">
                          <a:pos x="461" y="235"/>
                        </a:cxn>
                        <a:cxn ang="0">
                          <a:pos x="490" y="97"/>
                        </a:cxn>
                        <a:cxn ang="0">
                          <a:pos x="465" y="66"/>
                        </a:cxn>
                      </a:cxnLst>
                      <a:rect l="0" t="0" r="r" b="b"/>
                      <a:pathLst>
                        <a:path w="494" h="351">
                          <a:moveTo>
                            <a:pt x="465" y="66"/>
                          </a:moveTo>
                          <a:cubicBezTo>
                            <a:pt x="114" y="66"/>
                            <a:pt x="114" y="66"/>
                            <a:pt x="114" y="66"/>
                          </a:cubicBezTo>
                          <a:cubicBezTo>
                            <a:pt x="109" y="66"/>
                            <a:pt x="104" y="62"/>
                            <a:pt x="102" y="57"/>
                          </a:cubicBezTo>
                          <a:cubicBezTo>
                            <a:pt x="92" y="9"/>
                            <a:pt x="92" y="9"/>
                            <a:pt x="92" y="9"/>
                          </a:cubicBezTo>
                          <a:cubicBezTo>
                            <a:pt x="91" y="4"/>
                            <a:pt x="85" y="0"/>
                            <a:pt x="80" y="0"/>
                          </a:cubicBezTo>
                          <a:cubicBezTo>
                            <a:pt x="15" y="0"/>
                            <a:pt x="15" y="0"/>
                            <a:pt x="15" y="0"/>
                          </a:cubicBezTo>
                          <a:cubicBezTo>
                            <a:pt x="6" y="0"/>
                            <a:pt x="0" y="7"/>
                            <a:pt x="0" y="15"/>
                          </a:cubicBezTo>
                          <a:cubicBezTo>
                            <a:pt x="0" y="24"/>
                            <a:pt x="6" y="31"/>
                            <a:pt x="15" y="31"/>
                          </a:cubicBezTo>
                          <a:cubicBezTo>
                            <a:pt x="55" y="31"/>
                            <a:pt x="55" y="31"/>
                            <a:pt x="55" y="31"/>
                          </a:cubicBezTo>
                          <a:cubicBezTo>
                            <a:pt x="60" y="31"/>
                            <a:pt x="66" y="35"/>
                            <a:pt x="67" y="40"/>
                          </a:cubicBezTo>
                          <a:cubicBezTo>
                            <a:pt x="72" y="62"/>
                            <a:pt x="72" y="62"/>
                            <a:pt x="72" y="62"/>
                          </a:cubicBezTo>
                          <a:cubicBezTo>
                            <a:pt x="131" y="320"/>
                            <a:pt x="131" y="320"/>
                            <a:pt x="131" y="320"/>
                          </a:cubicBezTo>
                          <a:cubicBezTo>
                            <a:pt x="135" y="337"/>
                            <a:pt x="152" y="351"/>
                            <a:pt x="170" y="351"/>
                          </a:cubicBezTo>
                          <a:cubicBezTo>
                            <a:pt x="392" y="351"/>
                            <a:pt x="392" y="351"/>
                            <a:pt x="392" y="351"/>
                          </a:cubicBezTo>
                          <a:cubicBezTo>
                            <a:pt x="400" y="351"/>
                            <a:pt x="407" y="344"/>
                            <a:pt x="407" y="335"/>
                          </a:cubicBezTo>
                          <a:cubicBezTo>
                            <a:pt x="407" y="327"/>
                            <a:pt x="400" y="320"/>
                            <a:pt x="392" y="320"/>
                          </a:cubicBezTo>
                          <a:cubicBezTo>
                            <a:pt x="392" y="320"/>
                            <a:pt x="190" y="320"/>
                            <a:pt x="189" y="320"/>
                          </a:cubicBezTo>
                          <a:cubicBezTo>
                            <a:pt x="174" y="320"/>
                            <a:pt x="162" y="308"/>
                            <a:pt x="162" y="293"/>
                          </a:cubicBezTo>
                          <a:cubicBezTo>
                            <a:pt x="162" y="278"/>
                            <a:pt x="174" y="266"/>
                            <a:pt x="189" y="266"/>
                          </a:cubicBezTo>
                          <a:cubicBezTo>
                            <a:pt x="190" y="266"/>
                            <a:pt x="422" y="266"/>
                            <a:pt x="422" y="266"/>
                          </a:cubicBezTo>
                          <a:cubicBezTo>
                            <a:pt x="440" y="266"/>
                            <a:pt x="457" y="252"/>
                            <a:pt x="461" y="235"/>
                          </a:cubicBezTo>
                          <a:cubicBezTo>
                            <a:pt x="490" y="97"/>
                            <a:pt x="490" y="97"/>
                            <a:pt x="490" y="97"/>
                          </a:cubicBezTo>
                          <a:cubicBezTo>
                            <a:pt x="494" y="80"/>
                            <a:pt x="483" y="66"/>
                            <a:pt x="465" y="66"/>
                          </a:cubicBezTo>
                          <a:close/>
                        </a:path>
                      </a:pathLst>
                    </a:cu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grpSp>
              <p:pic>
                <p:nvPicPr>
                  <p:cNvPr id="169" name="Picture 101" descr="icons_f12.png"/>
                  <p:cNvPicPr>
                    <a:picLocks noChangeAspect="1"/>
                  </p:cNvPicPr>
                  <p:nvPr>
                    <p:custDataLst>
                      <p:tags r:id="rId12"/>
                    </p:custDataLst>
                  </p:nvPr>
                </p:nvPicPr>
                <p:blipFill>
                  <a:blip r:embed="rId37" cstate="print">
                    <a:lum bright="11000" contrast="-47000"/>
                  </a:blip>
                  <a:srcRect/>
                  <a:stretch>
                    <a:fillRect/>
                  </a:stretch>
                </p:blipFill>
                <p:spPr bwMode="auto">
                  <a:xfrm>
                    <a:off x="5202071" y="2247328"/>
                    <a:ext cx="466240" cy="462217"/>
                  </a:xfrm>
                  <a:prstGeom prst="rect">
                    <a:avLst/>
                  </a:prstGeom>
                  <a:noFill/>
                  <a:ln w="9525">
                    <a:noFill/>
                    <a:miter lim="800000"/>
                    <a:headEnd/>
                    <a:tailEnd/>
                  </a:ln>
                </p:spPr>
              </p:pic>
            </p:grpSp>
            <p:grpSp>
              <p:nvGrpSpPr>
                <p:cNvPr id="14" name="Group 251"/>
                <p:cNvGrpSpPr>
                  <a:grpSpLocks/>
                </p:cNvGrpSpPr>
                <p:nvPr/>
              </p:nvGrpSpPr>
              <p:grpSpPr bwMode="auto">
                <a:xfrm>
                  <a:off x="6175577" y="2247900"/>
                  <a:ext cx="1407151" cy="3895613"/>
                  <a:chOff x="6175335" y="2247328"/>
                  <a:chExt cx="1406896" cy="3896880"/>
                </a:xfrm>
              </p:grpSpPr>
              <p:pic>
                <p:nvPicPr>
                  <p:cNvPr id="146" name="Picture 138" descr="freeshipping_icon.gif"/>
                  <p:cNvPicPr>
                    <a:picLocks noChangeAspect="1"/>
                  </p:cNvPicPr>
                  <p:nvPr>
                    <p:custDataLst>
                      <p:tags r:id="rId5"/>
                    </p:custDataLst>
                  </p:nvPr>
                </p:nvPicPr>
                <p:blipFill>
                  <a:blip r:embed="rId34" cstate="print">
                    <a:lum bright="11000" contrast="-47000"/>
                  </a:blip>
                  <a:srcRect/>
                  <a:stretch>
                    <a:fillRect/>
                  </a:stretch>
                </p:blipFill>
                <p:spPr bwMode="auto">
                  <a:xfrm>
                    <a:off x="6631267" y="2993305"/>
                    <a:ext cx="447722" cy="366318"/>
                  </a:xfrm>
                  <a:prstGeom prst="rect">
                    <a:avLst/>
                  </a:prstGeom>
                  <a:noFill/>
                  <a:ln w="9525">
                    <a:noFill/>
                    <a:miter lim="800000"/>
                    <a:headEnd/>
                    <a:tailEnd/>
                  </a:ln>
                </p:spPr>
              </p:pic>
              <p:pic>
                <p:nvPicPr>
                  <p:cNvPr id="147" name="Picture 139" descr="analytics-plugin-icon-60pc.png"/>
                  <p:cNvPicPr>
                    <a:picLocks noChangeAspect="1"/>
                  </p:cNvPicPr>
                  <p:nvPr>
                    <p:custDataLst>
                      <p:tags r:id="rId6"/>
                    </p:custDataLst>
                  </p:nvPr>
                </p:nvPicPr>
                <p:blipFill>
                  <a:blip r:embed="rId35" cstate="print">
                    <a:lum bright="11000" contrast="-47000"/>
                  </a:blip>
                  <a:srcRect/>
                  <a:stretch>
                    <a:fillRect/>
                  </a:stretch>
                </p:blipFill>
                <p:spPr bwMode="auto">
                  <a:xfrm>
                    <a:off x="6618729" y="4515337"/>
                    <a:ext cx="527391" cy="427427"/>
                  </a:xfrm>
                  <a:prstGeom prst="rect">
                    <a:avLst/>
                  </a:prstGeom>
                  <a:noFill/>
                  <a:ln w="9525">
                    <a:noFill/>
                    <a:miter lim="800000"/>
                    <a:headEnd/>
                    <a:tailEnd/>
                  </a:ln>
                </p:spPr>
              </p:pic>
              <p:pic>
                <p:nvPicPr>
                  <p:cNvPr id="148" name="Picture 24"/>
                  <p:cNvPicPr>
                    <a:picLocks noChangeAspect="1" noChangeArrowheads="1"/>
                  </p:cNvPicPr>
                  <p:nvPr>
                    <p:custDataLst>
                      <p:tags r:id="rId7"/>
                    </p:custDataLst>
                  </p:nvPr>
                </p:nvPicPr>
                <p:blipFill>
                  <a:blip r:embed="rId36" cstate="print">
                    <a:clrChange>
                      <a:clrFrom>
                        <a:srgbClr val="FFFFFF"/>
                      </a:clrFrom>
                      <a:clrTo>
                        <a:srgbClr val="FFFFFF">
                          <a:alpha val="0"/>
                        </a:srgbClr>
                      </a:clrTo>
                    </a:clrChange>
                    <a:lum bright="11000" contrast="-47000"/>
                  </a:blip>
                  <a:srcRect/>
                  <a:stretch>
                    <a:fillRect/>
                  </a:stretch>
                </p:blipFill>
                <p:spPr bwMode="auto">
                  <a:xfrm>
                    <a:off x="6545304" y="5328882"/>
                    <a:ext cx="674240" cy="541929"/>
                  </a:xfrm>
                  <a:prstGeom prst="rect">
                    <a:avLst/>
                  </a:prstGeom>
                  <a:noFill/>
                  <a:ln w="9525">
                    <a:noFill/>
                    <a:miter lim="800000"/>
                    <a:headEnd/>
                    <a:tailEnd/>
                  </a:ln>
                </p:spPr>
              </p:pic>
              <p:sp>
                <p:nvSpPr>
                  <p:cNvPr id="149" name="Rectangle 7"/>
                  <p:cNvSpPr>
                    <a:spLocks noChangeArrowheads="1"/>
                  </p:cNvSpPr>
                  <p:nvPr/>
                </p:nvSpPr>
                <p:spPr bwMode="auto">
                  <a:xfrm>
                    <a:off x="6325654" y="2662368"/>
                    <a:ext cx="1101523" cy="290379"/>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icing</a:t>
                    </a:r>
                  </a:p>
                </p:txBody>
              </p:sp>
              <p:sp>
                <p:nvSpPr>
                  <p:cNvPr id="150" name="Rectangle 7"/>
                  <p:cNvSpPr>
                    <a:spLocks noChangeArrowheads="1"/>
                  </p:cNvSpPr>
                  <p:nvPr/>
                </p:nvSpPr>
                <p:spPr bwMode="auto">
                  <a:xfrm>
                    <a:off x="6175335" y="3340003"/>
                    <a:ext cx="1406896" cy="290379"/>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omotions</a:t>
                    </a:r>
                  </a:p>
                </p:txBody>
              </p:sp>
              <p:sp>
                <p:nvSpPr>
                  <p:cNvPr id="151" name="Rectangle 7"/>
                  <p:cNvSpPr>
                    <a:spLocks noChangeArrowheads="1"/>
                  </p:cNvSpPr>
                  <p:nvPr/>
                </p:nvSpPr>
                <p:spPr bwMode="auto">
                  <a:xfrm>
                    <a:off x="6289418" y="4006397"/>
                    <a:ext cx="1185650" cy="464607"/>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Order Capture</a:t>
                    </a:r>
                  </a:p>
                </p:txBody>
              </p:sp>
              <p:sp>
                <p:nvSpPr>
                  <p:cNvPr id="152" name="Rectangle 7"/>
                  <p:cNvSpPr>
                    <a:spLocks noChangeArrowheads="1"/>
                  </p:cNvSpPr>
                  <p:nvPr/>
                </p:nvSpPr>
                <p:spPr bwMode="auto">
                  <a:xfrm>
                    <a:off x="6379889" y="4926429"/>
                    <a:ext cx="1006295" cy="290379"/>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Logic</a:t>
                    </a:r>
                  </a:p>
                </p:txBody>
              </p:sp>
              <p:sp>
                <p:nvSpPr>
                  <p:cNvPr id="153" name="Rectangle 7"/>
                  <p:cNvSpPr>
                    <a:spLocks noChangeArrowheads="1"/>
                  </p:cNvSpPr>
                  <p:nvPr/>
                </p:nvSpPr>
                <p:spPr bwMode="auto">
                  <a:xfrm>
                    <a:off x="6379889" y="5853829"/>
                    <a:ext cx="1006295" cy="290379"/>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Data</a:t>
                    </a:r>
                  </a:p>
                </p:txBody>
              </p:sp>
              <p:sp>
                <p:nvSpPr>
                  <p:cNvPr id="154" name="Line 110"/>
                  <p:cNvSpPr>
                    <a:spLocks noChangeShapeType="1"/>
                  </p:cNvSpPr>
                  <p:nvPr/>
                </p:nvSpPr>
                <p:spPr bwMode="auto">
                  <a:xfrm rot="5400000">
                    <a:off x="5644283" y="4146840"/>
                    <a:ext cx="3785369" cy="0"/>
                  </a:xfrm>
                  <a:prstGeom prst="line">
                    <a:avLst/>
                  </a:prstGeom>
                  <a:noFill/>
                  <a:ln w="38100">
                    <a:solidFill>
                      <a:schemeClr val="accent1"/>
                    </a:solidFill>
                    <a:round/>
                    <a:headEnd/>
                    <a:tailEnd type="none" w="med" len="sm"/>
                  </a:ln>
                </p:spPr>
                <p:txBody>
                  <a:bodyPr/>
                  <a:lstStyle/>
                  <a:p>
                    <a:pPr defTabSz="914400"/>
                    <a:endParaRPr lang="fr-FR" sz="1200" dirty="0">
                      <a:solidFill>
                        <a:srgbClr val="000000"/>
                      </a:solidFill>
                      <a:ea typeface="ＭＳ Ｐゴシック" pitchFamily="34" charset="-128"/>
                    </a:endParaRPr>
                  </a:p>
                </p:txBody>
              </p:sp>
              <p:sp>
                <p:nvSpPr>
                  <p:cNvPr id="155" name="Oval 9"/>
                  <p:cNvSpPr>
                    <a:spLocks noChangeArrowheads="1"/>
                  </p:cNvSpPr>
                  <p:nvPr/>
                </p:nvSpPr>
                <p:spPr bwMode="auto">
                  <a:xfrm flipH="1">
                    <a:off x="6749710" y="4010026"/>
                    <a:ext cx="57140" cy="63521"/>
                  </a:xfrm>
                  <a:prstGeom prst="ellipse">
                    <a:avLst/>
                  </a:prstGeom>
                  <a:solidFill>
                    <a:schemeClr val="tx1">
                      <a:lumMod val="50000"/>
                      <a:lumOff val="50000"/>
                    </a:schemeClr>
                  </a:solid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56" name="Oval 10"/>
                  <p:cNvSpPr>
                    <a:spLocks noChangeArrowheads="1"/>
                  </p:cNvSpPr>
                  <p:nvPr/>
                </p:nvSpPr>
                <p:spPr bwMode="auto">
                  <a:xfrm flipH="1">
                    <a:off x="6925891" y="4010026"/>
                    <a:ext cx="57140" cy="63521"/>
                  </a:xfrm>
                  <a:prstGeom prst="ellipse">
                    <a:avLst/>
                  </a:prstGeom>
                  <a:solidFill>
                    <a:schemeClr val="tx1">
                      <a:lumMod val="50000"/>
                      <a:lumOff val="50000"/>
                    </a:schemeClr>
                  </a:solid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57" name="Freeform 11"/>
                  <p:cNvSpPr>
                    <a:spLocks/>
                  </p:cNvSpPr>
                  <p:nvPr/>
                </p:nvSpPr>
                <p:spPr bwMode="auto">
                  <a:xfrm flipH="1">
                    <a:off x="6681460" y="3655899"/>
                    <a:ext cx="436483" cy="339836"/>
                  </a:xfrm>
                  <a:custGeom>
                    <a:avLst/>
                    <a:gdLst/>
                    <a:ahLst/>
                    <a:cxnLst>
                      <a:cxn ang="0">
                        <a:pos x="465" y="66"/>
                      </a:cxn>
                      <a:cxn ang="0">
                        <a:pos x="114" y="66"/>
                      </a:cxn>
                      <a:cxn ang="0">
                        <a:pos x="102" y="57"/>
                      </a:cxn>
                      <a:cxn ang="0">
                        <a:pos x="92" y="9"/>
                      </a:cxn>
                      <a:cxn ang="0">
                        <a:pos x="80" y="0"/>
                      </a:cxn>
                      <a:cxn ang="0">
                        <a:pos x="15" y="0"/>
                      </a:cxn>
                      <a:cxn ang="0">
                        <a:pos x="0" y="15"/>
                      </a:cxn>
                      <a:cxn ang="0">
                        <a:pos x="15" y="31"/>
                      </a:cxn>
                      <a:cxn ang="0">
                        <a:pos x="55" y="31"/>
                      </a:cxn>
                      <a:cxn ang="0">
                        <a:pos x="67" y="40"/>
                      </a:cxn>
                      <a:cxn ang="0">
                        <a:pos x="72" y="62"/>
                      </a:cxn>
                      <a:cxn ang="0">
                        <a:pos x="131" y="320"/>
                      </a:cxn>
                      <a:cxn ang="0">
                        <a:pos x="170" y="351"/>
                      </a:cxn>
                      <a:cxn ang="0">
                        <a:pos x="392" y="351"/>
                      </a:cxn>
                      <a:cxn ang="0">
                        <a:pos x="407" y="335"/>
                      </a:cxn>
                      <a:cxn ang="0">
                        <a:pos x="392" y="320"/>
                      </a:cxn>
                      <a:cxn ang="0">
                        <a:pos x="189" y="320"/>
                      </a:cxn>
                      <a:cxn ang="0">
                        <a:pos x="162" y="293"/>
                      </a:cxn>
                      <a:cxn ang="0">
                        <a:pos x="189" y="266"/>
                      </a:cxn>
                      <a:cxn ang="0">
                        <a:pos x="422" y="266"/>
                      </a:cxn>
                      <a:cxn ang="0">
                        <a:pos x="461" y="235"/>
                      </a:cxn>
                      <a:cxn ang="0">
                        <a:pos x="490" y="97"/>
                      </a:cxn>
                      <a:cxn ang="0">
                        <a:pos x="465" y="66"/>
                      </a:cxn>
                    </a:cxnLst>
                    <a:rect l="0" t="0" r="r" b="b"/>
                    <a:pathLst>
                      <a:path w="494" h="351">
                        <a:moveTo>
                          <a:pt x="465" y="66"/>
                        </a:moveTo>
                        <a:cubicBezTo>
                          <a:pt x="114" y="66"/>
                          <a:pt x="114" y="66"/>
                          <a:pt x="114" y="66"/>
                        </a:cubicBezTo>
                        <a:cubicBezTo>
                          <a:pt x="109" y="66"/>
                          <a:pt x="104" y="62"/>
                          <a:pt x="102" y="57"/>
                        </a:cubicBezTo>
                        <a:cubicBezTo>
                          <a:pt x="92" y="9"/>
                          <a:pt x="92" y="9"/>
                          <a:pt x="92" y="9"/>
                        </a:cubicBezTo>
                        <a:cubicBezTo>
                          <a:pt x="91" y="4"/>
                          <a:pt x="85" y="0"/>
                          <a:pt x="80" y="0"/>
                        </a:cubicBezTo>
                        <a:cubicBezTo>
                          <a:pt x="15" y="0"/>
                          <a:pt x="15" y="0"/>
                          <a:pt x="15" y="0"/>
                        </a:cubicBezTo>
                        <a:cubicBezTo>
                          <a:pt x="6" y="0"/>
                          <a:pt x="0" y="7"/>
                          <a:pt x="0" y="15"/>
                        </a:cubicBezTo>
                        <a:cubicBezTo>
                          <a:pt x="0" y="24"/>
                          <a:pt x="6" y="31"/>
                          <a:pt x="15" y="31"/>
                        </a:cubicBezTo>
                        <a:cubicBezTo>
                          <a:pt x="55" y="31"/>
                          <a:pt x="55" y="31"/>
                          <a:pt x="55" y="31"/>
                        </a:cubicBezTo>
                        <a:cubicBezTo>
                          <a:pt x="60" y="31"/>
                          <a:pt x="66" y="35"/>
                          <a:pt x="67" y="40"/>
                        </a:cubicBezTo>
                        <a:cubicBezTo>
                          <a:pt x="72" y="62"/>
                          <a:pt x="72" y="62"/>
                          <a:pt x="72" y="62"/>
                        </a:cubicBezTo>
                        <a:cubicBezTo>
                          <a:pt x="131" y="320"/>
                          <a:pt x="131" y="320"/>
                          <a:pt x="131" y="320"/>
                        </a:cubicBezTo>
                        <a:cubicBezTo>
                          <a:pt x="135" y="337"/>
                          <a:pt x="152" y="351"/>
                          <a:pt x="170" y="351"/>
                        </a:cubicBezTo>
                        <a:cubicBezTo>
                          <a:pt x="392" y="351"/>
                          <a:pt x="392" y="351"/>
                          <a:pt x="392" y="351"/>
                        </a:cubicBezTo>
                        <a:cubicBezTo>
                          <a:pt x="400" y="351"/>
                          <a:pt x="407" y="344"/>
                          <a:pt x="407" y="335"/>
                        </a:cubicBezTo>
                        <a:cubicBezTo>
                          <a:pt x="407" y="327"/>
                          <a:pt x="400" y="320"/>
                          <a:pt x="392" y="320"/>
                        </a:cubicBezTo>
                        <a:cubicBezTo>
                          <a:pt x="392" y="320"/>
                          <a:pt x="190" y="320"/>
                          <a:pt x="189" y="320"/>
                        </a:cubicBezTo>
                        <a:cubicBezTo>
                          <a:pt x="174" y="320"/>
                          <a:pt x="162" y="308"/>
                          <a:pt x="162" y="293"/>
                        </a:cubicBezTo>
                        <a:cubicBezTo>
                          <a:pt x="162" y="278"/>
                          <a:pt x="174" y="266"/>
                          <a:pt x="189" y="266"/>
                        </a:cubicBezTo>
                        <a:cubicBezTo>
                          <a:pt x="190" y="266"/>
                          <a:pt x="422" y="266"/>
                          <a:pt x="422" y="266"/>
                        </a:cubicBezTo>
                        <a:cubicBezTo>
                          <a:pt x="440" y="266"/>
                          <a:pt x="457" y="252"/>
                          <a:pt x="461" y="235"/>
                        </a:cubicBezTo>
                        <a:cubicBezTo>
                          <a:pt x="490" y="97"/>
                          <a:pt x="490" y="97"/>
                          <a:pt x="490" y="97"/>
                        </a:cubicBezTo>
                        <a:cubicBezTo>
                          <a:pt x="494" y="80"/>
                          <a:pt x="483" y="66"/>
                          <a:pt x="465" y="66"/>
                        </a:cubicBezTo>
                        <a:close/>
                      </a:path>
                    </a:pathLst>
                  </a:custGeom>
                  <a:solidFill>
                    <a:schemeClr val="tx1">
                      <a:lumMod val="50000"/>
                      <a:lumOff val="50000"/>
                    </a:schemeClr>
                  </a:solid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pic>
                <p:nvPicPr>
                  <p:cNvPr id="158" name="Picture 101" descr="icons_f12.png"/>
                  <p:cNvPicPr>
                    <a:picLocks noChangeAspect="1"/>
                  </p:cNvPicPr>
                  <p:nvPr>
                    <p:custDataLst>
                      <p:tags r:id="rId8"/>
                    </p:custDataLst>
                  </p:nvPr>
                </p:nvPicPr>
                <p:blipFill>
                  <a:blip r:embed="rId37" cstate="print">
                    <a:lum bright="11000" contrast="-47000"/>
                  </a:blip>
                  <a:srcRect/>
                  <a:stretch>
                    <a:fillRect/>
                  </a:stretch>
                </p:blipFill>
                <p:spPr bwMode="auto">
                  <a:xfrm>
                    <a:off x="6703324" y="2247328"/>
                    <a:ext cx="466240" cy="462217"/>
                  </a:xfrm>
                  <a:prstGeom prst="rect">
                    <a:avLst/>
                  </a:prstGeom>
                  <a:noFill/>
                  <a:ln w="9525">
                    <a:noFill/>
                    <a:miter lim="800000"/>
                    <a:headEnd/>
                    <a:tailEnd/>
                  </a:ln>
                </p:spPr>
              </p:pic>
            </p:grpSp>
            <p:grpSp>
              <p:nvGrpSpPr>
                <p:cNvPr id="15" name="Group 252"/>
                <p:cNvGrpSpPr>
                  <a:grpSpLocks/>
                </p:cNvGrpSpPr>
                <p:nvPr/>
              </p:nvGrpSpPr>
              <p:grpSpPr bwMode="auto">
                <a:xfrm>
                  <a:off x="7541112" y="2247901"/>
                  <a:ext cx="1404931" cy="3879737"/>
                  <a:chOff x="7649574" y="2247328"/>
                  <a:chExt cx="1405107" cy="3879813"/>
                </a:xfrm>
              </p:grpSpPr>
              <p:pic>
                <p:nvPicPr>
                  <p:cNvPr id="133" name="Picture 164" descr="freeshipping_icon.gif"/>
                  <p:cNvPicPr>
                    <a:picLocks noChangeAspect="1"/>
                  </p:cNvPicPr>
                  <p:nvPr>
                    <p:custDataLst>
                      <p:tags r:id="rId1"/>
                    </p:custDataLst>
                  </p:nvPr>
                </p:nvPicPr>
                <p:blipFill>
                  <a:blip r:embed="rId34" cstate="print">
                    <a:lum bright="11000" contrast="-47000"/>
                  </a:blip>
                  <a:srcRect/>
                  <a:stretch>
                    <a:fillRect/>
                  </a:stretch>
                </p:blipFill>
                <p:spPr bwMode="auto">
                  <a:xfrm>
                    <a:off x="8105251" y="2976243"/>
                    <a:ext cx="447722" cy="366318"/>
                  </a:xfrm>
                  <a:prstGeom prst="rect">
                    <a:avLst/>
                  </a:prstGeom>
                  <a:noFill/>
                  <a:ln w="9525">
                    <a:noFill/>
                    <a:miter lim="800000"/>
                    <a:headEnd/>
                    <a:tailEnd/>
                  </a:ln>
                </p:spPr>
              </p:pic>
              <p:pic>
                <p:nvPicPr>
                  <p:cNvPr id="134" name="Picture 166" descr="analytics-plugin-icon-60pc.png"/>
                  <p:cNvPicPr>
                    <a:picLocks noChangeAspect="1"/>
                  </p:cNvPicPr>
                  <p:nvPr>
                    <p:custDataLst>
                      <p:tags r:id="rId2"/>
                    </p:custDataLst>
                  </p:nvPr>
                </p:nvPicPr>
                <p:blipFill>
                  <a:blip r:embed="rId35" cstate="print">
                    <a:lum bright="11000" contrast="-47000"/>
                  </a:blip>
                  <a:srcRect/>
                  <a:stretch>
                    <a:fillRect/>
                  </a:stretch>
                </p:blipFill>
                <p:spPr bwMode="auto">
                  <a:xfrm>
                    <a:off x="8092713" y="4498275"/>
                    <a:ext cx="527391" cy="427427"/>
                  </a:xfrm>
                  <a:prstGeom prst="rect">
                    <a:avLst/>
                  </a:prstGeom>
                  <a:noFill/>
                  <a:ln w="9525">
                    <a:noFill/>
                    <a:miter lim="800000"/>
                    <a:headEnd/>
                    <a:tailEnd/>
                  </a:ln>
                </p:spPr>
              </p:pic>
              <p:pic>
                <p:nvPicPr>
                  <p:cNvPr id="135" name="Picture 24"/>
                  <p:cNvPicPr>
                    <a:picLocks noChangeAspect="1" noChangeArrowheads="1"/>
                  </p:cNvPicPr>
                  <p:nvPr>
                    <p:custDataLst>
                      <p:tags r:id="rId3"/>
                    </p:custDataLst>
                  </p:nvPr>
                </p:nvPicPr>
                <p:blipFill>
                  <a:blip r:embed="rId36" cstate="print">
                    <a:clrChange>
                      <a:clrFrom>
                        <a:srgbClr val="FFFFFF"/>
                      </a:clrFrom>
                      <a:clrTo>
                        <a:srgbClr val="FFFFFF">
                          <a:alpha val="0"/>
                        </a:srgbClr>
                      </a:clrTo>
                    </a:clrChange>
                    <a:lum bright="11000" contrast="-47000"/>
                  </a:blip>
                  <a:srcRect/>
                  <a:stretch>
                    <a:fillRect/>
                  </a:stretch>
                </p:blipFill>
                <p:spPr bwMode="auto">
                  <a:xfrm>
                    <a:off x="8019288" y="5311820"/>
                    <a:ext cx="674240" cy="541929"/>
                  </a:xfrm>
                  <a:prstGeom prst="rect">
                    <a:avLst/>
                  </a:prstGeom>
                  <a:noFill/>
                  <a:ln w="9525">
                    <a:noFill/>
                    <a:miter lim="800000"/>
                    <a:headEnd/>
                    <a:tailEnd/>
                  </a:ln>
                </p:spPr>
              </p:pic>
              <p:sp>
                <p:nvSpPr>
                  <p:cNvPr id="136" name="Rectangle 7"/>
                  <p:cNvSpPr>
                    <a:spLocks noChangeArrowheads="1"/>
                  </p:cNvSpPr>
                  <p:nvPr/>
                </p:nvSpPr>
                <p:spPr bwMode="auto">
                  <a:xfrm>
                    <a:off x="7799641" y="2644776"/>
                    <a:ext cx="1099769" cy="290290"/>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icing</a:t>
                    </a:r>
                  </a:p>
                </p:txBody>
              </p:sp>
              <p:sp>
                <p:nvSpPr>
                  <p:cNvPr id="137" name="Rectangle 7"/>
                  <p:cNvSpPr>
                    <a:spLocks noChangeArrowheads="1"/>
                  </p:cNvSpPr>
                  <p:nvPr/>
                </p:nvSpPr>
                <p:spPr bwMode="auto">
                  <a:xfrm>
                    <a:off x="7649574" y="3323785"/>
                    <a:ext cx="1405107" cy="290290"/>
                  </a:xfrm>
                  <a:prstGeom prst="rect">
                    <a:avLst/>
                  </a:prstGeom>
                  <a:noFill/>
                  <a:ln w="9525">
                    <a:noFill/>
                    <a:miter lim="800000"/>
                    <a:headEnd/>
                    <a:tailEnd/>
                  </a:ln>
                </p:spPr>
                <p:txBody>
                  <a:bodyPr wrap="square"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Promotions</a:t>
                    </a:r>
                  </a:p>
                </p:txBody>
              </p:sp>
              <p:sp>
                <p:nvSpPr>
                  <p:cNvPr id="138" name="Rectangle 7"/>
                  <p:cNvSpPr>
                    <a:spLocks noChangeArrowheads="1"/>
                  </p:cNvSpPr>
                  <p:nvPr/>
                </p:nvSpPr>
                <p:spPr bwMode="auto">
                  <a:xfrm>
                    <a:off x="7763403" y="3989187"/>
                    <a:ext cx="1186012" cy="464465"/>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Order Capture</a:t>
                    </a:r>
                  </a:p>
                </p:txBody>
              </p:sp>
              <p:sp>
                <p:nvSpPr>
                  <p:cNvPr id="139" name="Rectangle 7"/>
                  <p:cNvSpPr>
                    <a:spLocks noChangeArrowheads="1"/>
                  </p:cNvSpPr>
                  <p:nvPr/>
                </p:nvSpPr>
                <p:spPr bwMode="auto">
                  <a:xfrm>
                    <a:off x="7853903" y="4908933"/>
                    <a:ext cx="1005013" cy="290290"/>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Logic</a:t>
                    </a:r>
                  </a:p>
                </p:txBody>
              </p:sp>
              <p:sp>
                <p:nvSpPr>
                  <p:cNvPr id="140" name="Rectangle 7"/>
                  <p:cNvSpPr>
                    <a:spLocks noChangeArrowheads="1"/>
                  </p:cNvSpPr>
                  <p:nvPr/>
                </p:nvSpPr>
                <p:spPr bwMode="auto">
                  <a:xfrm>
                    <a:off x="7853903" y="5836851"/>
                    <a:ext cx="1005013" cy="290290"/>
                  </a:xfrm>
                  <a:prstGeom prst="rect">
                    <a:avLst/>
                  </a:prstGeom>
                  <a:noFill/>
                  <a:ln w="9525">
                    <a:noFill/>
                    <a:miter lim="800000"/>
                    <a:headEnd/>
                    <a:tailEnd/>
                  </a:ln>
                </p:spPr>
                <p:txBody>
                  <a:bodyPr anchor="ctr">
                    <a:spAutoFit/>
                  </a:bodyPr>
                  <a:lstStyle/>
                  <a:p>
                    <a:pPr algn="ctr" defTabSz="609172" eaLnBrk="0" hangingPunct="0">
                      <a:buClr>
                        <a:srgbClr val="4F81BD"/>
                      </a:buClr>
                      <a:defRPr/>
                    </a:pPr>
                    <a:r>
                      <a:rPr lang="en-US" sz="900" dirty="0">
                        <a:solidFill>
                          <a:srgbClr val="000000">
                            <a:lumMod val="65000"/>
                            <a:lumOff val="35000"/>
                          </a:srgbClr>
                        </a:solidFill>
                        <a:latin typeface="Arial"/>
                        <a:ea typeface="MS PGothic" pitchFamily="34" charset="-128"/>
                      </a:rPr>
                      <a:t>Data</a:t>
                    </a:r>
                  </a:p>
                </p:txBody>
              </p:sp>
              <p:grpSp>
                <p:nvGrpSpPr>
                  <p:cNvPr id="16" name="Group 195"/>
                  <p:cNvGrpSpPr/>
                  <p:nvPr/>
                </p:nvGrpSpPr>
                <p:grpSpPr>
                  <a:xfrm flipH="1">
                    <a:off x="8155778" y="3639397"/>
                    <a:ext cx="436892" cy="417358"/>
                    <a:chOff x="-2157414" y="1806577"/>
                    <a:chExt cx="1852613" cy="1619248"/>
                  </a:xfrm>
                  <a:solidFill>
                    <a:schemeClr val="tx1">
                      <a:lumMod val="50000"/>
                      <a:lumOff val="50000"/>
                    </a:schemeClr>
                  </a:solidFill>
                </p:grpSpPr>
                <p:sp>
                  <p:nvSpPr>
                    <p:cNvPr id="143" name="Oval 9"/>
                    <p:cNvSpPr>
                      <a:spLocks noChangeArrowheads="1"/>
                    </p:cNvSpPr>
                    <p:nvPr/>
                  </p:nvSpPr>
                  <p:spPr bwMode="auto">
                    <a:xfrm>
                      <a:off x="-836613" y="3181350"/>
                      <a:ext cx="242888" cy="244475"/>
                    </a:xfrm>
                    <a:prstGeom prst="ellipse">
                      <a:avLst/>
                    </a:pr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44" name="Oval 10"/>
                    <p:cNvSpPr>
                      <a:spLocks noChangeArrowheads="1"/>
                    </p:cNvSpPr>
                    <p:nvPr/>
                  </p:nvSpPr>
                  <p:spPr bwMode="auto">
                    <a:xfrm>
                      <a:off x="-1579563" y="3181350"/>
                      <a:ext cx="242888" cy="244475"/>
                    </a:xfrm>
                    <a:prstGeom prst="ellipse">
                      <a:avLst/>
                    </a:pr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sp>
                  <p:nvSpPr>
                    <p:cNvPr id="145" name="Freeform 11"/>
                    <p:cNvSpPr>
                      <a:spLocks/>
                    </p:cNvSpPr>
                    <p:nvPr/>
                  </p:nvSpPr>
                  <p:spPr bwMode="auto">
                    <a:xfrm>
                      <a:off x="-2157414" y="1806577"/>
                      <a:ext cx="1852613" cy="1314451"/>
                    </a:xfrm>
                    <a:custGeom>
                      <a:avLst/>
                      <a:gdLst/>
                      <a:ahLst/>
                      <a:cxnLst>
                        <a:cxn ang="0">
                          <a:pos x="465" y="66"/>
                        </a:cxn>
                        <a:cxn ang="0">
                          <a:pos x="114" y="66"/>
                        </a:cxn>
                        <a:cxn ang="0">
                          <a:pos x="102" y="57"/>
                        </a:cxn>
                        <a:cxn ang="0">
                          <a:pos x="92" y="9"/>
                        </a:cxn>
                        <a:cxn ang="0">
                          <a:pos x="80" y="0"/>
                        </a:cxn>
                        <a:cxn ang="0">
                          <a:pos x="15" y="0"/>
                        </a:cxn>
                        <a:cxn ang="0">
                          <a:pos x="0" y="15"/>
                        </a:cxn>
                        <a:cxn ang="0">
                          <a:pos x="15" y="31"/>
                        </a:cxn>
                        <a:cxn ang="0">
                          <a:pos x="55" y="31"/>
                        </a:cxn>
                        <a:cxn ang="0">
                          <a:pos x="67" y="40"/>
                        </a:cxn>
                        <a:cxn ang="0">
                          <a:pos x="72" y="62"/>
                        </a:cxn>
                        <a:cxn ang="0">
                          <a:pos x="131" y="320"/>
                        </a:cxn>
                        <a:cxn ang="0">
                          <a:pos x="170" y="351"/>
                        </a:cxn>
                        <a:cxn ang="0">
                          <a:pos x="392" y="351"/>
                        </a:cxn>
                        <a:cxn ang="0">
                          <a:pos x="407" y="335"/>
                        </a:cxn>
                        <a:cxn ang="0">
                          <a:pos x="392" y="320"/>
                        </a:cxn>
                        <a:cxn ang="0">
                          <a:pos x="189" y="320"/>
                        </a:cxn>
                        <a:cxn ang="0">
                          <a:pos x="162" y="293"/>
                        </a:cxn>
                        <a:cxn ang="0">
                          <a:pos x="189" y="266"/>
                        </a:cxn>
                        <a:cxn ang="0">
                          <a:pos x="422" y="266"/>
                        </a:cxn>
                        <a:cxn ang="0">
                          <a:pos x="461" y="235"/>
                        </a:cxn>
                        <a:cxn ang="0">
                          <a:pos x="490" y="97"/>
                        </a:cxn>
                        <a:cxn ang="0">
                          <a:pos x="465" y="66"/>
                        </a:cxn>
                      </a:cxnLst>
                      <a:rect l="0" t="0" r="r" b="b"/>
                      <a:pathLst>
                        <a:path w="494" h="351">
                          <a:moveTo>
                            <a:pt x="465" y="66"/>
                          </a:moveTo>
                          <a:cubicBezTo>
                            <a:pt x="114" y="66"/>
                            <a:pt x="114" y="66"/>
                            <a:pt x="114" y="66"/>
                          </a:cubicBezTo>
                          <a:cubicBezTo>
                            <a:pt x="109" y="66"/>
                            <a:pt x="104" y="62"/>
                            <a:pt x="102" y="57"/>
                          </a:cubicBezTo>
                          <a:cubicBezTo>
                            <a:pt x="92" y="9"/>
                            <a:pt x="92" y="9"/>
                            <a:pt x="92" y="9"/>
                          </a:cubicBezTo>
                          <a:cubicBezTo>
                            <a:pt x="91" y="4"/>
                            <a:pt x="85" y="0"/>
                            <a:pt x="80" y="0"/>
                          </a:cubicBezTo>
                          <a:cubicBezTo>
                            <a:pt x="15" y="0"/>
                            <a:pt x="15" y="0"/>
                            <a:pt x="15" y="0"/>
                          </a:cubicBezTo>
                          <a:cubicBezTo>
                            <a:pt x="6" y="0"/>
                            <a:pt x="0" y="7"/>
                            <a:pt x="0" y="15"/>
                          </a:cubicBezTo>
                          <a:cubicBezTo>
                            <a:pt x="0" y="24"/>
                            <a:pt x="6" y="31"/>
                            <a:pt x="15" y="31"/>
                          </a:cubicBezTo>
                          <a:cubicBezTo>
                            <a:pt x="55" y="31"/>
                            <a:pt x="55" y="31"/>
                            <a:pt x="55" y="31"/>
                          </a:cubicBezTo>
                          <a:cubicBezTo>
                            <a:pt x="60" y="31"/>
                            <a:pt x="66" y="35"/>
                            <a:pt x="67" y="40"/>
                          </a:cubicBezTo>
                          <a:cubicBezTo>
                            <a:pt x="72" y="62"/>
                            <a:pt x="72" y="62"/>
                            <a:pt x="72" y="62"/>
                          </a:cubicBezTo>
                          <a:cubicBezTo>
                            <a:pt x="131" y="320"/>
                            <a:pt x="131" y="320"/>
                            <a:pt x="131" y="320"/>
                          </a:cubicBezTo>
                          <a:cubicBezTo>
                            <a:pt x="135" y="337"/>
                            <a:pt x="152" y="351"/>
                            <a:pt x="170" y="351"/>
                          </a:cubicBezTo>
                          <a:cubicBezTo>
                            <a:pt x="392" y="351"/>
                            <a:pt x="392" y="351"/>
                            <a:pt x="392" y="351"/>
                          </a:cubicBezTo>
                          <a:cubicBezTo>
                            <a:pt x="400" y="351"/>
                            <a:pt x="407" y="344"/>
                            <a:pt x="407" y="335"/>
                          </a:cubicBezTo>
                          <a:cubicBezTo>
                            <a:pt x="407" y="327"/>
                            <a:pt x="400" y="320"/>
                            <a:pt x="392" y="320"/>
                          </a:cubicBezTo>
                          <a:cubicBezTo>
                            <a:pt x="392" y="320"/>
                            <a:pt x="190" y="320"/>
                            <a:pt x="189" y="320"/>
                          </a:cubicBezTo>
                          <a:cubicBezTo>
                            <a:pt x="174" y="320"/>
                            <a:pt x="162" y="308"/>
                            <a:pt x="162" y="293"/>
                          </a:cubicBezTo>
                          <a:cubicBezTo>
                            <a:pt x="162" y="278"/>
                            <a:pt x="174" y="266"/>
                            <a:pt x="189" y="266"/>
                          </a:cubicBezTo>
                          <a:cubicBezTo>
                            <a:pt x="190" y="266"/>
                            <a:pt x="422" y="266"/>
                            <a:pt x="422" y="266"/>
                          </a:cubicBezTo>
                          <a:cubicBezTo>
                            <a:pt x="440" y="266"/>
                            <a:pt x="457" y="252"/>
                            <a:pt x="461" y="235"/>
                          </a:cubicBezTo>
                          <a:cubicBezTo>
                            <a:pt x="490" y="97"/>
                            <a:pt x="490" y="97"/>
                            <a:pt x="490" y="97"/>
                          </a:cubicBezTo>
                          <a:cubicBezTo>
                            <a:pt x="494" y="80"/>
                            <a:pt x="483" y="66"/>
                            <a:pt x="465" y="66"/>
                          </a:cubicBezTo>
                          <a:close/>
                        </a:path>
                      </a:pathLst>
                    </a:custGeom>
                    <a:grpFill/>
                    <a:ln w="9525">
                      <a:noFill/>
                      <a:round/>
                      <a:headEnd/>
                      <a:tailEnd/>
                    </a:ln>
                  </p:spPr>
                  <p:txBody>
                    <a:bodyPr/>
                    <a:lstStyle/>
                    <a:p>
                      <a:pPr defTabSz="914400">
                        <a:lnSpc>
                          <a:spcPct val="95000"/>
                        </a:lnSpc>
                        <a:spcBef>
                          <a:spcPct val="30000"/>
                        </a:spcBef>
                        <a:defRPr/>
                      </a:pPr>
                      <a:endParaRPr lang="en-US" sz="1400" kern="0" dirty="0">
                        <a:solidFill>
                          <a:srgbClr val="FFFFFF"/>
                        </a:solidFill>
                        <a:ea typeface="ＭＳ Ｐゴシック" pitchFamily="34" charset="-128"/>
                      </a:endParaRPr>
                    </a:p>
                  </p:txBody>
                </p:sp>
              </p:grpSp>
              <p:pic>
                <p:nvPicPr>
                  <p:cNvPr id="142" name="Picture 101" descr="icons_f12.png"/>
                  <p:cNvPicPr>
                    <a:picLocks noChangeAspect="1"/>
                  </p:cNvPicPr>
                  <p:nvPr>
                    <p:custDataLst>
                      <p:tags r:id="rId4"/>
                    </p:custDataLst>
                  </p:nvPr>
                </p:nvPicPr>
                <p:blipFill>
                  <a:blip r:embed="rId37" cstate="print">
                    <a:lum bright="11000" contrast="-47000"/>
                  </a:blip>
                  <a:srcRect/>
                  <a:stretch>
                    <a:fillRect/>
                  </a:stretch>
                </p:blipFill>
                <p:spPr bwMode="auto">
                  <a:xfrm>
                    <a:off x="8163636" y="2247328"/>
                    <a:ext cx="466240" cy="462217"/>
                  </a:xfrm>
                  <a:prstGeom prst="rect">
                    <a:avLst/>
                  </a:prstGeom>
                  <a:noFill/>
                  <a:ln w="9525">
                    <a:noFill/>
                    <a:miter lim="800000"/>
                    <a:headEnd/>
                    <a:tailEnd/>
                  </a:ln>
                </p:spPr>
              </p:pic>
            </p:grpSp>
            <p:pic>
              <p:nvPicPr>
                <p:cNvPr id="129" name="Picture 115" descr="icons.png"/>
                <p:cNvPicPr>
                  <a:picLocks noChangeAspect="1"/>
                </p:cNvPicPr>
                <p:nvPr/>
              </p:nvPicPr>
              <p:blipFill>
                <a:blip r:embed="rId38" cstate="print">
                  <a:lum bright="11000" contrast="-47000"/>
                </a:blip>
                <a:srcRect/>
                <a:stretch>
                  <a:fillRect/>
                </a:stretch>
              </p:blipFill>
              <p:spPr bwMode="auto">
                <a:xfrm>
                  <a:off x="603250" y="1257300"/>
                  <a:ext cx="566738" cy="561975"/>
                </a:xfrm>
                <a:prstGeom prst="rect">
                  <a:avLst/>
                </a:prstGeom>
                <a:noFill/>
                <a:ln w="9525">
                  <a:noFill/>
                  <a:miter lim="800000"/>
                  <a:headEnd/>
                  <a:tailEnd/>
                </a:ln>
              </p:spPr>
            </p:pic>
            <p:sp>
              <p:nvSpPr>
                <p:cNvPr id="130" name="Line 110"/>
                <p:cNvSpPr>
                  <a:spLocks noChangeShapeType="1"/>
                </p:cNvSpPr>
                <p:nvPr/>
              </p:nvSpPr>
              <p:spPr bwMode="auto">
                <a:xfrm>
                  <a:off x="280988" y="2116138"/>
                  <a:ext cx="8583612" cy="0"/>
                </a:xfrm>
                <a:prstGeom prst="line">
                  <a:avLst/>
                </a:prstGeom>
                <a:noFill/>
                <a:ln w="38100">
                  <a:solidFill>
                    <a:schemeClr val="accent1"/>
                  </a:solidFill>
                  <a:round/>
                  <a:headEnd/>
                  <a:tailEnd type="none" w="med" len="sm"/>
                </a:ln>
              </p:spPr>
              <p:txBody>
                <a:bodyPr/>
                <a:lstStyle/>
                <a:p>
                  <a:pPr defTabSz="914400"/>
                  <a:endParaRPr lang="fr-FR" sz="1200" dirty="0">
                    <a:solidFill>
                      <a:srgbClr val="000000"/>
                    </a:solidFill>
                    <a:ea typeface="ＭＳ Ｐゴシック" pitchFamily="34" charset="-128"/>
                  </a:endParaRPr>
                </a:p>
              </p:txBody>
            </p:sp>
            <p:pic>
              <p:nvPicPr>
                <p:cNvPr id="131" name="Picture 25" descr="0084316308864_100X100.jpg"/>
                <p:cNvPicPr>
                  <a:picLocks noChangeAspect="1"/>
                </p:cNvPicPr>
                <p:nvPr/>
              </p:nvPicPr>
              <p:blipFill>
                <a:blip r:embed="rId39" cstate="print">
                  <a:clrChange>
                    <a:clrFrom>
                      <a:srgbClr val="FFFFFF"/>
                    </a:clrFrom>
                    <a:clrTo>
                      <a:srgbClr val="FFFFFF">
                        <a:alpha val="0"/>
                      </a:srgbClr>
                    </a:clrTo>
                  </a:clrChange>
                  <a:lum bright="11000" contrast="-47000"/>
                </a:blip>
                <a:srcRect t="18779" b="19249"/>
                <a:stretch>
                  <a:fillRect/>
                </a:stretch>
              </p:blipFill>
              <p:spPr bwMode="auto">
                <a:xfrm rot="2989581">
                  <a:off x="3203341" y="1139032"/>
                  <a:ext cx="765175" cy="655637"/>
                </a:xfrm>
                <a:prstGeom prst="rect">
                  <a:avLst/>
                </a:prstGeom>
                <a:noFill/>
                <a:ln w="9525">
                  <a:noFill/>
                  <a:miter lim="800000"/>
                  <a:headEnd/>
                  <a:tailEnd/>
                </a:ln>
              </p:spPr>
            </p:pic>
            <p:sp>
              <p:nvSpPr>
                <p:cNvPr id="132" name="Rectangle 112"/>
                <p:cNvSpPr>
                  <a:spLocks noChangeArrowheads="1"/>
                </p:cNvSpPr>
                <p:nvPr/>
              </p:nvSpPr>
              <p:spPr bwMode="auto">
                <a:xfrm>
                  <a:off x="3006393" y="1774569"/>
                  <a:ext cx="1370504" cy="348342"/>
                </a:xfrm>
                <a:prstGeom prst="rect">
                  <a:avLst/>
                </a:prstGeom>
                <a:noFill/>
                <a:ln w="9525">
                  <a:noFill/>
                  <a:miter lim="800000"/>
                  <a:headEnd/>
                  <a:tailEnd/>
                </a:ln>
              </p:spPr>
              <p:txBody>
                <a:bodyPr wrap="square">
                  <a:spAutoFit/>
                </a:bodyPr>
                <a:lstStyle/>
                <a:p>
                  <a:pPr algn="ctr" defTabSz="607378" eaLnBrk="0" hangingPunct="0">
                    <a:buClr>
                      <a:srgbClr val="4F81BD"/>
                    </a:buClr>
                  </a:pPr>
                  <a:r>
                    <a:rPr lang="en-US" sz="1200" b="1" dirty="0">
                      <a:solidFill>
                        <a:srgbClr val="FF0000"/>
                      </a:solidFill>
                      <a:ea typeface="MS PGothic" pitchFamily="34" charset="-128"/>
                    </a:rPr>
                    <a:t>Tablet</a:t>
                  </a:r>
                </a:p>
              </p:txBody>
            </p:sp>
          </p:grpSp>
        </p:grpSp>
        <p:sp>
          <p:nvSpPr>
            <p:cNvPr id="209" name="Rounded Rectangle 208"/>
            <p:cNvSpPr/>
            <p:nvPr/>
          </p:nvSpPr>
          <p:spPr bwMode="auto">
            <a:xfrm>
              <a:off x="4775741" y="846466"/>
              <a:ext cx="3888000" cy="234476"/>
            </a:xfrm>
            <a:prstGeom prst="roundRect">
              <a:avLst/>
            </a:prstGeom>
            <a:solidFill>
              <a:schemeClr val="accent4"/>
            </a:solidFill>
            <a:ln w="9525" cap="flat" cmpd="sng" algn="ctr">
              <a:solidFill>
                <a:schemeClr val="accent1"/>
              </a:solidFill>
              <a:prstDash val="solid"/>
              <a:round/>
              <a:headEnd type="none" w="med" len="med"/>
              <a:tailEnd type="none" w="med" len="med"/>
            </a:ln>
            <a:effectLst/>
          </p:spPr>
          <p:txBody>
            <a:bodyPr vert="horz" wrap="square" lIns="72000" tIns="18000" rIns="72000" bIns="18000" numCol="1" rtlCol="0" anchor="ctr" anchorCtr="0" compatLnSpc="1">
              <a:prstTxWarp prst="textNoShape">
                <a:avLst/>
              </a:prstTxWarp>
              <a:spAutoFit/>
            </a:bodyPr>
            <a:lstStyle/>
            <a:p>
              <a:pPr algn="ctr" defTabSz="914400" eaLnBrk="0" hangingPunct="0">
                <a:defRPr/>
              </a:pPr>
              <a:r>
                <a:rPr lang="en-US" sz="1600" b="1" dirty="0">
                  <a:solidFill>
                    <a:srgbClr val="FFFFFF"/>
                  </a:solidFill>
                  <a:ea typeface="ＭＳ Ｐゴシック" pitchFamily="34" charset="-128"/>
                </a:rPr>
                <a:t>Siloed Channels Create Inconsistency</a:t>
              </a:r>
            </a:p>
          </p:txBody>
        </p:sp>
      </p:grpSp>
    </p:spTree>
    <p:extLst>
      <p:ext uri="{BB962C8B-B14F-4D97-AF65-F5344CB8AC3E}">
        <p14:creationId xmlns:p14="http://schemas.microsoft.com/office/powerpoint/2010/main" val="3934030989"/>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etfair</a:t>
            </a:r>
            <a:r>
              <a:rPr lang="en-US" dirty="0"/>
              <a:t> boosts revenue with Oracle analytics</a:t>
            </a:r>
          </a:p>
        </p:txBody>
      </p:sp>
      <p:sp>
        <p:nvSpPr>
          <p:cNvPr id="6" name="Slide Number Placeholder 5"/>
          <p:cNvSpPr>
            <a:spLocks noGrp="1"/>
          </p:cNvSpPr>
          <p:nvPr>
            <p:ph type="sldNum" sz="quarter" idx="4294967295"/>
          </p:nvPr>
        </p:nvSpPr>
        <p:spPr>
          <a:xfrm>
            <a:off x="11276011" y="6556248"/>
            <a:ext cx="381661" cy="182880"/>
          </a:xfrm>
          <a:prstGeom prst="rect">
            <a:avLst/>
          </a:prstGeom>
        </p:spPr>
        <p:txBody>
          <a:bodyPr/>
          <a:lstStyle/>
          <a:p>
            <a:fld id="{C51EAA63-D034-42AE-91FA-B13B9518C7BE}" type="slidenum">
              <a:rPr lang="en-US" smtClean="0">
                <a:solidFill>
                  <a:srgbClr val="5F5F5F">
                    <a:lumMod val="60000"/>
                    <a:lumOff val="40000"/>
                  </a:srgbClr>
                </a:solidFill>
              </a:rPr>
              <a:pPr/>
              <a:t>27</a:t>
            </a:fld>
            <a:endParaRPr lang="en-US" dirty="0">
              <a:solidFill>
                <a:srgbClr val="5F5F5F">
                  <a:lumMod val="60000"/>
                  <a:lumOff val="40000"/>
                </a:srgbClr>
              </a:solidFill>
            </a:endParaRPr>
          </a:p>
        </p:txBody>
      </p:sp>
      <p:pic>
        <p:nvPicPr>
          <p:cNvPr id="7" name="Picture 2"/>
          <p:cNvPicPr>
            <a:picLocks noChangeAspect="1" noChangeArrowheads="1"/>
          </p:cNvPicPr>
          <p:nvPr/>
        </p:nvPicPr>
        <p:blipFill>
          <a:blip r:embed="rId2" cstate="print"/>
          <a:srcRect l="978" t="8590" r="1086" b="22390"/>
          <a:stretch>
            <a:fillRect/>
          </a:stretch>
        </p:blipFill>
        <p:spPr bwMode="auto">
          <a:xfrm>
            <a:off x="8676456" y="1612579"/>
            <a:ext cx="3212837" cy="2176461"/>
          </a:xfrm>
          <a:prstGeom prst="rect">
            <a:avLst/>
          </a:prstGeom>
          <a:noFill/>
          <a:ln w="9525">
            <a:noFill/>
            <a:miter lim="800000"/>
            <a:headEnd/>
            <a:tailEnd/>
          </a:ln>
        </p:spPr>
      </p:pic>
      <p:sp>
        <p:nvSpPr>
          <p:cNvPr id="4" name="TextBox 3"/>
          <p:cNvSpPr txBox="1"/>
          <p:nvPr/>
        </p:nvSpPr>
        <p:spPr>
          <a:xfrm>
            <a:off x="532192" y="5733256"/>
            <a:ext cx="9649072" cy="360040"/>
          </a:xfrm>
          <a:prstGeom prst="rect">
            <a:avLst/>
          </a:prstGeom>
          <a:noFill/>
        </p:spPr>
        <p:txBody>
          <a:bodyPr wrap="none" lIns="0" tIns="0" rIns="0" bIns="0" rtlCol="0">
            <a:noAutofit/>
          </a:bodyPr>
          <a:lstStyle/>
          <a:p>
            <a:pPr defTabSz="914400" fontAlgn="base">
              <a:lnSpc>
                <a:spcPct val="90000"/>
              </a:lnSpc>
              <a:spcBef>
                <a:spcPct val="0"/>
              </a:spcBef>
              <a:spcAft>
                <a:spcPct val="0"/>
              </a:spcAft>
            </a:pPr>
            <a:r>
              <a:rPr lang="en-US" sz="1800" dirty="0">
                <a:solidFill>
                  <a:srgbClr val="5F5F5F"/>
                </a:solidFill>
                <a:latin typeface="Arial" pitchFamily="34" charset="0"/>
                <a:cs typeface="Arial" pitchFamily="34" charset="0"/>
                <a:hlinkClick r:id="rId3"/>
              </a:rPr>
              <a:t>http://</a:t>
            </a:r>
            <a:r>
              <a:rPr lang="en-US" sz="1800" dirty="0" smtClean="0">
                <a:solidFill>
                  <a:srgbClr val="5F5F5F"/>
                </a:solidFill>
                <a:latin typeface="Arial" pitchFamily="34" charset="0"/>
                <a:cs typeface="Arial" pitchFamily="34" charset="0"/>
                <a:hlinkClick r:id="rId3"/>
              </a:rPr>
              <a:t>www.computing.co.uk/ctg/news/2144534/betfair-boosts-revenue-oracle-analytics</a:t>
            </a:r>
            <a:endParaRPr lang="hr-HR" sz="1800" dirty="0" smtClean="0">
              <a:solidFill>
                <a:srgbClr val="5F5F5F"/>
              </a:solidFill>
              <a:latin typeface="Arial" pitchFamily="34" charset="0"/>
              <a:cs typeface="Arial" pitchFamily="34" charset="0"/>
            </a:endParaRPr>
          </a:p>
          <a:p>
            <a:pPr defTabSz="914400" fontAlgn="base">
              <a:lnSpc>
                <a:spcPct val="90000"/>
              </a:lnSpc>
              <a:spcBef>
                <a:spcPct val="0"/>
              </a:spcBef>
              <a:spcAft>
                <a:spcPct val="0"/>
              </a:spcAft>
            </a:pPr>
            <a:endParaRPr lang="en-US" sz="1800" dirty="0">
              <a:solidFill>
                <a:srgbClr val="5F5F5F"/>
              </a:solidFill>
              <a:latin typeface="Arial" pitchFamily="34" charset="0"/>
              <a:cs typeface="Arial" pitchFamily="34" charset="0"/>
            </a:endParaRPr>
          </a:p>
        </p:txBody>
      </p:sp>
      <p:sp>
        <p:nvSpPr>
          <p:cNvPr id="16" name="TextBox 15"/>
          <p:cNvSpPr txBox="1"/>
          <p:nvPr/>
        </p:nvSpPr>
        <p:spPr>
          <a:xfrm>
            <a:off x="547402" y="1603748"/>
            <a:ext cx="8129053" cy="4057500"/>
          </a:xfrm>
          <a:prstGeom prst="rect">
            <a:avLst/>
          </a:prstGeom>
          <a:noFill/>
        </p:spPr>
        <p:txBody>
          <a:bodyPr wrap="square" lIns="0" tIns="0" rIns="0" bIns="0" rtlCol="0">
            <a:noAutofit/>
          </a:bodyPr>
          <a:lstStyle/>
          <a:p>
            <a:pPr algn="just" defTabSz="914400" fontAlgn="base">
              <a:spcBef>
                <a:spcPct val="0"/>
              </a:spcBef>
              <a:spcAft>
                <a:spcPct val="0"/>
              </a:spcAft>
            </a:pPr>
            <a:r>
              <a:rPr lang="en-US" sz="1800" dirty="0" smtClean="0">
                <a:solidFill>
                  <a:srgbClr val="5F5F5F"/>
                </a:solidFill>
                <a:latin typeface="Arial" pitchFamily="34" charset="0"/>
                <a:cs typeface="Arial" pitchFamily="34" charset="0"/>
              </a:rPr>
              <a:t>James Knight, web capabilities product manager at </a:t>
            </a:r>
            <a:r>
              <a:rPr lang="en-US" sz="1800" dirty="0" err="1" smtClean="0">
                <a:solidFill>
                  <a:srgbClr val="5F5F5F"/>
                </a:solidFill>
                <a:latin typeface="Arial" pitchFamily="34" charset="0"/>
                <a:cs typeface="Arial" pitchFamily="34" charset="0"/>
              </a:rPr>
              <a:t>Betfair</a:t>
            </a:r>
            <a:r>
              <a:rPr lang="en-US" sz="1800" dirty="0" smtClean="0">
                <a:solidFill>
                  <a:srgbClr val="5F5F5F"/>
                </a:solidFill>
                <a:latin typeface="Arial" pitchFamily="34" charset="0"/>
                <a:cs typeface="Arial" pitchFamily="34" charset="0"/>
              </a:rPr>
              <a:t>, told delegates yesterday at Gartner's Business Intelligence Summit that an </a:t>
            </a:r>
            <a:r>
              <a:rPr lang="en-US" sz="1800" b="1" dirty="0" smtClean="0">
                <a:solidFill>
                  <a:srgbClr val="5F5F5F"/>
                </a:solidFill>
                <a:latin typeface="Arial" pitchFamily="34" charset="0"/>
                <a:cs typeface="Arial" pitchFamily="34" charset="0"/>
              </a:rPr>
              <a:t>initial 23 potential suppliers was eventually cut down to one.</a:t>
            </a:r>
          </a:p>
          <a:p>
            <a:pPr algn="just" defTabSz="914400" fontAlgn="base">
              <a:spcBef>
                <a:spcPct val="0"/>
              </a:spcBef>
              <a:spcAft>
                <a:spcPct val="0"/>
              </a:spcAft>
            </a:pPr>
            <a:r>
              <a:rPr lang="en-US" sz="1800" dirty="0" smtClean="0">
                <a:solidFill>
                  <a:srgbClr val="5F5F5F"/>
                </a:solidFill>
                <a:latin typeface="Arial" pitchFamily="34" charset="0"/>
                <a:cs typeface="Arial" pitchFamily="34" charset="0"/>
              </a:rPr>
              <a:t> </a:t>
            </a:r>
          </a:p>
          <a:p>
            <a:pPr algn="just" defTabSz="914400" fontAlgn="base">
              <a:spcBef>
                <a:spcPct val="0"/>
              </a:spcBef>
              <a:spcAft>
                <a:spcPct val="0"/>
              </a:spcAft>
            </a:pPr>
            <a:r>
              <a:rPr lang="en-US" sz="1800" dirty="0" smtClean="0">
                <a:solidFill>
                  <a:srgbClr val="5F5F5F"/>
                </a:solidFill>
                <a:latin typeface="Arial" pitchFamily="34" charset="0"/>
                <a:cs typeface="Arial" pitchFamily="34" charset="0"/>
              </a:rPr>
              <a:t>"We went through a rigorous selection process and found 23 potential suppliers. We cut this to a shortlist of six, who performed technology presentations for us, after which we cut to three suppliers."</a:t>
            </a:r>
          </a:p>
          <a:p>
            <a:pPr algn="just" defTabSz="914400" fontAlgn="base">
              <a:spcBef>
                <a:spcPct val="0"/>
              </a:spcBef>
              <a:spcAft>
                <a:spcPct val="0"/>
              </a:spcAft>
            </a:pPr>
            <a:r>
              <a:rPr lang="en-US" sz="1800" dirty="0" smtClean="0">
                <a:solidFill>
                  <a:srgbClr val="5F5F5F"/>
                </a:solidFill>
                <a:latin typeface="Arial" pitchFamily="34" charset="0"/>
                <a:cs typeface="Arial" pitchFamily="34" charset="0"/>
              </a:rPr>
              <a:t> </a:t>
            </a:r>
          </a:p>
          <a:p>
            <a:pPr algn="just" defTabSz="914400" fontAlgn="base">
              <a:spcBef>
                <a:spcPct val="0"/>
              </a:spcBef>
              <a:spcAft>
                <a:spcPct val="0"/>
              </a:spcAft>
            </a:pPr>
            <a:r>
              <a:rPr lang="en-US" sz="1800" dirty="0" smtClean="0">
                <a:solidFill>
                  <a:srgbClr val="5F5F5F"/>
                </a:solidFill>
                <a:latin typeface="Arial" pitchFamily="34" charset="0"/>
                <a:cs typeface="Arial" pitchFamily="34" charset="0"/>
              </a:rPr>
              <a:t>After visiting firms around the US and Europe, </a:t>
            </a:r>
            <a:r>
              <a:rPr lang="en-US" sz="1800" dirty="0" err="1" smtClean="0">
                <a:solidFill>
                  <a:srgbClr val="5F5F5F"/>
                </a:solidFill>
                <a:latin typeface="Arial" pitchFamily="34" charset="0"/>
                <a:cs typeface="Arial" pitchFamily="34" charset="0"/>
              </a:rPr>
              <a:t>Betfair</a:t>
            </a:r>
            <a:r>
              <a:rPr lang="en-US" sz="1800" dirty="0" smtClean="0">
                <a:solidFill>
                  <a:srgbClr val="5F5F5F"/>
                </a:solidFill>
                <a:latin typeface="Arial" pitchFamily="34" charset="0"/>
                <a:cs typeface="Arial" pitchFamily="34" charset="0"/>
              </a:rPr>
              <a:t> eventually decided to select Oracle's RTD.</a:t>
            </a:r>
          </a:p>
          <a:p>
            <a:pPr algn="just" defTabSz="914400" fontAlgn="base">
              <a:spcBef>
                <a:spcPct val="0"/>
              </a:spcBef>
              <a:spcAft>
                <a:spcPct val="0"/>
              </a:spcAft>
            </a:pPr>
            <a:r>
              <a:rPr lang="en-US" sz="1800" dirty="0" smtClean="0">
                <a:solidFill>
                  <a:srgbClr val="5F5F5F"/>
                </a:solidFill>
                <a:latin typeface="Arial" pitchFamily="34" charset="0"/>
                <a:cs typeface="Arial" pitchFamily="34" charset="0"/>
              </a:rPr>
              <a:t> </a:t>
            </a:r>
          </a:p>
          <a:p>
            <a:pPr algn="just" defTabSz="914400" fontAlgn="base">
              <a:spcBef>
                <a:spcPct val="0"/>
              </a:spcBef>
              <a:spcAft>
                <a:spcPct val="0"/>
              </a:spcAft>
            </a:pPr>
            <a:r>
              <a:rPr lang="en-US" sz="1800" dirty="0" smtClean="0">
                <a:solidFill>
                  <a:srgbClr val="5F5F5F"/>
                </a:solidFill>
                <a:latin typeface="Arial" pitchFamily="34" charset="0"/>
                <a:cs typeface="Arial" pitchFamily="34" charset="0"/>
              </a:rPr>
              <a:t> </a:t>
            </a:r>
          </a:p>
          <a:p>
            <a:pPr algn="just" defTabSz="914400" fontAlgn="base">
              <a:spcBef>
                <a:spcPct val="0"/>
              </a:spcBef>
              <a:spcAft>
                <a:spcPct val="0"/>
              </a:spcAft>
            </a:pPr>
            <a:r>
              <a:rPr lang="en-US" sz="1800" dirty="0" smtClean="0">
                <a:solidFill>
                  <a:srgbClr val="5F5F5F"/>
                </a:solidFill>
                <a:latin typeface="Arial" pitchFamily="34" charset="0"/>
                <a:cs typeface="Arial" pitchFamily="34" charset="0"/>
              </a:rPr>
              <a:t>"We've seen a </a:t>
            </a:r>
            <a:r>
              <a:rPr lang="en-US" sz="1800" b="1" dirty="0" smtClean="0">
                <a:solidFill>
                  <a:srgbClr val="5F5F5F"/>
                </a:solidFill>
                <a:latin typeface="Arial" pitchFamily="34" charset="0"/>
                <a:cs typeface="Arial" pitchFamily="34" charset="0"/>
              </a:rPr>
              <a:t>400 per cent uplift in click rate</a:t>
            </a:r>
            <a:r>
              <a:rPr lang="en-US" sz="1800" dirty="0" smtClean="0">
                <a:solidFill>
                  <a:srgbClr val="5F5F5F"/>
                </a:solidFill>
                <a:latin typeface="Arial" pitchFamily="34" charset="0"/>
                <a:cs typeface="Arial" pitchFamily="34" charset="0"/>
              </a:rPr>
              <a:t> in the target group which is driven by RTD," explained Knight.</a:t>
            </a:r>
          </a:p>
          <a:p>
            <a:pPr algn="just" defTabSz="914400" fontAlgn="base">
              <a:lnSpc>
                <a:spcPct val="90000"/>
              </a:lnSpc>
              <a:spcBef>
                <a:spcPct val="0"/>
              </a:spcBef>
              <a:spcAft>
                <a:spcPct val="0"/>
              </a:spcAft>
            </a:pPr>
            <a:endParaRPr lang="en-US" sz="1800" dirty="0">
              <a:solidFill>
                <a:srgbClr val="5F5F5F"/>
              </a:solidFill>
              <a:latin typeface="Arial" pitchFamily="34" charset="0"/>
              <a:cs typeface="Arial" pitchFamily="34" charset="0"/>
            </a:endParaRPr>
          </a:p>
        </p:txBody>
      </p:sp>
    </p:spTree>
    <p:extLst>
      <p:ext uri="{BB962C8B-B14F-4D97-AF65-F5344CB8AC3E}">
        <p14:creationId xmlns:p14="http://schemas.microsoft.com/office/powerpoint/2010/main" val="85938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3"/>
          <p:cNvPicPr>
            <a:picLocks noChangeAspect="1" noChangeArrowheads="1"/>
          </p:cNvPicPr>
          <p:nvPr/>
        </p:nvPicPr>
        <p:blipFill>
          <a:blip r:embed="rId3" cstate="print"/>
          <a:srcRect/>
          <a:stretch>
            <a:fillRect/>
          </a:stretch>
        </p:blipFill>
        <p:spPr bwMode="auto">
          <a:xfrm>
            <a:off x="1538417" y="915994"/>
            <a:ext cx="9099296" cy="5221287"/>
          </a:xfrm>
          <a:prstGeom prst="rect">
            <a:avLst/>
          </a:prstGeom>
          <a:noFill/>
          <a:ln w="9525">
            <a:noFill/>
            <a:round/>
            <a:headEnd/>
            <a:tailEnd/>
          </a:ln>
        </p:spPr>
      </p:pic>
    </p:spTree>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Picture Placeholder 50"/>
          <p:cNvSpPr>
            <a:spLocks noGrp="1"/>
          </p:cNvSpPr>
          <p:nvPr>
            <p:ph type="pic" sz="quarter" idx="15"/>
          </p:nvPr>
        </p:nvSpPr>
        <p:spPr/>
      </p:sp>
      <p:sp>
        <p:nvSpPr>
          <p:cNvPr id="33" name="Text Placeholder 32"/>
          <p:cNvSpPr>
            <a:spLocks noGrp="1"/>
          </p:cNvSpPr>
          <p:nvPr>
            <p:ph type="body" sz="quarter" idx="13"/>
          </p:nvPr>
        </p:nvSpPr>
        <p:spPr>
          <a:xfrm>
            <a:off x="1004463" y="2479524"/>
            <a:ext cx="4785149" cy="3616476"/>
          </a:xfrm>
        </p:spPr>
        <p:txBody>
          <a:bodyPr>
            <a:noAutofit/>
          </a:bodyPr>
          <a:lstStyle/>
          <a:p>
            <a:pPr marL="304735" lvl="1" indent="-224318" defTabSz="304735">
              <a:lnSpc>
                <a:spcPct val="100000"/>
              </a:lnSpc>
              <a:buClr>
                <a:srgbClr val="FF0000"/>
              </a:buClr>
              <a:buFont typeface="Wingdings" pitchFamily="2" charset="2"/>
              <a:buChar char="§"/>
            </a:pPr>
            <a:r>
              <a:rPr lang="en-US" sz="2000" dirty="0" smtClean="0">
                <a:solidFill>
                  <a:srgbClr val="000000"/>
                </a:solidFill>
                <a:sym typeface="Wingdings" pitchFamily="2" charset="2"/>
              </a:rPr>
              <a:t>Data remains in Database &amp; Hadoop</a:t>
            </a:r>
          </a:p>
          <a:p>
            <a:pPr marL="533315" lvl="2" indent="-224318" defTabSz="304735">
              <a:lnSpc>
                <a:spcPct val="100000"/>
              </a:lnSpc>
              <a:buClr>
                <a:srgbClr val="FF0000"/>
              </a:buClr>
              <a:buFont typeface="Wingdings" pitchFamily="2" charset="2"/>
              <a:buChar char="§"/>
            </a:pPr>
            <a:r>
              <a:rPr lang="en-US" sz="1800" dirty="0" smtClean="0">
                <a:solidFill>
                  <a:srgbClr val="000000"/>
                </a:solidFill>
                <a:sym typeface="Wingdings" pitchFamily="2" charset="2"/>
              </a:rPr>
              <a:t>Model building and scoring occur in-database</a:t>
            </a:r>
          </a:p>
          <a:p>
            <a:pPr marL="533315" lvl="2" indent="-224318" defTabSz="304735">
              <a:lnSpc>
                <a:spcPct val="100000"/>
              </a:lnSpc>
              <a:buClr>
                <a:srgbClr val="FF0000"/>
              </a:buClr>
              <a:buFont typeface="Wingdings" pitchFamily="2" charset="2"/>
              <a:buChar char="§"/>
            </a:pPr>
            <a:r>
              <a:rPr lang="en-US" sz="1800" dirty="0" smtClean="0">
                <a:solidFill>
                  <a:srgbClr val="000000"/>
                </a:solidFill>
                <a:sym typeface="Wingdings" pitchFamily="2" charset="2"/>
              </a:rPr>
              <a:t>Use R packages with data-parallel invocations</a:t>
            </a:r>
            <a:endParaRPr lang="en-US" sz="1600" dirty="0" smtClean="0">
              <a:solidFill>
                <a:srgbClr val="000000"/>
              </a:solidFill>
              <a:sym typeface="Wingdings" pitchFamily="2" charset="2"/>
            </a:endParaRPr>
          </a:p>
          <a:p>
            <a:pPr marL="304735" lvl="1" indent="-224318" defTabSz="304735">
              <a:lnSpc>
                <a:spcPct val="100000"/>
              </a:lnSpc>
              <a:buClr>
                <a:srgbClr val="FF0000"/>
              </a:buClr>
              <a:buFont typeface="Wingdings" pitchFamily="2" charset="2"/>
              <a:buChar char="§"/>
            </a:pPr>
            <a:r>
              <a:rPr lang="en-US" sz="2000" dirty="0" smtClean="0">
                <a:solidFill>
                  <a:srgbClr val="000000"/>
                </a:solidFill>
                <a:sym typeface="Wingdings" pitchFamily="2" charset="2"/>
              </a:rPr>
              <a:t>Leverage investment in Oracle IT</a:t>
            </a:r>
          </a:p>
          <a:p>
            <a:pPr marL="533315" lvl="2" indent="-224318" defTabSz="304735">
              <a:lnSpc>
                <a:spcPct val="100000"/>
              </a:lnSpc>
              <a:buClr>
                <a:srgbClr val="FF0000"/>
              </a:buClr>
              <a:buFont typeface="Wingdings" pitchFamily="2" charset="2"/>
              <a:buChar char="§"/>
            </a:pPr>
            <a:r>
              <a:rPr lang="en-US" sz="1800" dirty="0" smtClean="0">
                <a:solidFill>
                  <a:srgbClr val="000000"/>
                </a:solidFill>
                <a:sym typeface="Wingdings" pitchFamily="2" charset="2"/>
              </a:rPr>
              <a:t>Eliminate data duplication</a:t>
            </a:r>
          </a:p>
          <a:p>
            <a:pPr marL="533315" lvl="2" indent="-224318" defTabSz="304735">
              <a:lnSpc>
                <a:spcPct val="100000"/>
              </a:lnSpc>
              <a:buClr>
                <a:srgbClr val="FF0000"/>
              </a:buClr>
              <a:buFont typeface="Wingdings" pitchFamily="2" charset="2"/>
              <a:buChar char="§"/>
            </a:pPr>
            <a:r>
              <a:rPr lang="en-US" sz="1800" dirty="0" smtClean="0">
                <a:solidFill>
                  <a:srgbClr val="000000"/>
                </a:solidFill>
                <a:sym typeface="Wingdings" pitchFamily="2" charset="2"/>
              </a:rPr>
              <a:t>Eliminate separate analytical servers</a:t>
            </a:r>
          </a:p>
          <a:p>
            <a:pPr marL="304735" lvl="1" indent="-224318" defTabSz="304735">
              <a:lnSpc>
                <a:spcPct val="100000"/>
              </a:lnSpc>
              <a:buClr>
                <a:srgbClr val="FF0000"/>
              </a:buClr>
              <a:buFont typeface="Wingdings" pitchFamily="2" charset="2"/>
              <a:buChar char="§"/>
            </a:pPr>
            <a:r>
              <a:rPr lang="en-US" sz="2000" dirty="0" smtClean="0">
                <a:solidFill>
                  <a:srgbClr val="000000"/>
                </a:solidFill>
                <a:sym typeface="Wingdings" pitchFamily="2" charset="2"/>
              </a:rPr>
              <a:t>Deliver enterprise-wide applications </a:t>
            </a:r>
          </a:p>
          <a:p>
            <a:pPr marL="533315" lvl="2" indent="-224318" defTabSz="304735">
              <a:lnSpc>
                <a:spcPct val="100000"/>
              </a:lnSpc>
              <a:buClr>
                <a:srgbClr val="FF0000"/>
              </a:buClr>
              <a:buFont typeface="Wingdings" pitchFamily="2" charset="2"/>
              <a:buChar char="§"/>
            </a:pPr>
            <a:r>
              <a:rPr lang="en-US" sz="1800" dirty="0" smtClean="0">
                <a:solidFill>
                  <a:srgbClr val="000000"/>
                </a:solidFill>
                <a:sym typeface="Wingdings" pitchFamily="2" charset="2"/>
              </a:rPr>
              <a:t>GUI for Predictive Analytics &amp; code gen</a:t>
            </a:r>
          </a:p>
          <a:p>
            <a:pPr marL="533315" lvl="2" indent="-224318" defTabSz="304735">
              <a:lnSpc>
                <a:spcPct val="100000"/>
              </a:lnSpc>
              <a:buClr>
                <a:srgbClr val="FF0000"/>
              </a:buClr>
              <a:buFont typeface="Wingdings" pitchFamily="2" charset="2"/>
              <a:buChar char="§"/>
            </a:pPr>
            <a:r>
              <a:rPr lang="en-US" sz="1800" dirty="0" smtClean="0">
                <a:solidFill>
                  <a:srgbClr val="000000"/>
                </a:solidFill>
                <a:sym typeface="Wingdings" pitchFamily="2" charset="2"/>
              </a:rPr>
              <a:t>R interface leverages database as HPC engine</a:t>
            </a:r>
          </a:p>
        </p:txBody>
      </p:sp>
      <p:sp>
        <p:nvSpPr>
          <p:cNvPr id="12" name="Text Placeholder 11"/>
          <p:cNvSpPr>
            <a:spLocks noGrp="1"/>
          </p:cNvSpPr>
          <p:nvPr>
            <p:ph type="body" sz="quarter" idx="14"/>
          </p:nvPr>
        </p:nvSpPr>
        <p:spPr/>
        <p:txBody>
          <a:bodyPr/>
          <a:lstStyle/>
          <a:p>
            <a:r>
              <a:rPr lang="en-US" dirty="0" smtClean="0"/>
              <a:t>Major Benefits</a:t>
            </a:r>
            <a:endParaRPr lang="en-US" dirty="0"/>
          </a:p>
        </p:txBody>
      </p:sp>
      <p:sp>
        <p:nvSpPr>
          <p:cNvPr id="66561" name="Rectangle 1"/>
          <p:cNvSpPr>
            <a:spLocks noGrp="1" noChangeArrowheads="1"/>
          </p:cNvSpPr>
          <p:nvPr>
            <p:ph type="title"/>
          </p:nvPr>
        </p:nvSpPr>
        <p:spPr/>
        <p:txBody>
          <a:bodyPr anchor="t" anchorCtr="0"/>
          <a:lstStyle/>
          <a:p>
            <a:pPr marL="76173" indent="-76173">
              <a:tabLst>
                <a:tab pos="76173" algn="l"/>
                <a:tab pos="609392" algn="l"/>
                <a:tab pos="1218784" algn="l"/>
                <a:tab pos="1828176" algn="l"/>
                <a:tab pos="2437568" algn="l"/>
                <a:tab pos="3046957" algn="l"/>
                <a:tab pos="3656352" algn="l"/>
                <a:tab pos="4265741" algn="l"/>
                <a:tab pos="4875133" algn="l"/>
                <a:tab pos="5484527" algn="l"/>
                <a:tab pos="6093917" algn="l"/>
                <a:tab pos="6703308" algn="l"/>
                <a:tab pos="7312703" algn="l"/>
                <a:tab pos="7922092" algn="l"/>
                <a:tab pos="8531484" algn="l"/>
                <a:tab pos="9140875" algn="l"/>
                <a:tab pos="9750267" algn="l"/>
                <a:tab pos="10359659" algn="l"/>
                <a:tab pos="10969051" algn="l"/>
                <a:tab pos="11578441" algn="l"/>
                <a:tab pos="12187833" algn="l"/>
              </a:tabLst>
            </a:pPr>
            <a:r>
              <a:rPr lang="en-US" dirty="0" smtClean="0"/>
              <a:t>Oracle’s Advanced Analytics</a:t>
            </a:r>
            <a:endParaRPr lang="en-US" sz="2700" dirty="0">
              <a:solidFill>
                <a:srgbClr val="FF0000"/>
              </a:solidFill>
            </a:endParaRPr>
          </a:p>
        </p:txBody>
      </p:sp>
      <p:sp>
        <p:nvSpPr>
          <p:cNvPr id="35" name="Text Placeholder 7"/>
          <p:cNvSpPr txBox="1">
            <a:spLocks/>
          </p:cNvSpPr>
          <p:nvPr/>
        </p:nvSpPr>
        <p:spPr bwMode="auto">
          <a:xfrm>
            <a:off x="1072183" y="762000"/>
            <a:ext cx="10969943" cy="4064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marL="0" lvl="1"/>
            <a:endParaRPr lang="en-US" sz="2700" dirty="0" smtClean="0">
              <a:solidFill>
                <a:schemeClr val="accent1"/>
              </a:solidFill>
            </a:endParaRPr>
          </a:p>
        </p:txBody>
      </p:sp>
      <p:grpSp>
        <p:nvGrpSpPr>
          <p:cNvPr id="2" name="Group 60"/>
          <p:cNvGrpSpPr/>
          <p:nvPr/>
        </p:nvGrpSpPr>
        <p:grpSpPr>
          <a:xfrm>
            <a:off x="6323909" y="1371600"/>
            <a:ext cx="4723503" cy="4933509"/>
            <a:chOff x="559834" y="1148676"/>
            <a:chExt cx="3770476" cy="3214501"/>
          </a:xfrm>
        </p:grpSpPr>
        <p:sp>
          <p:nvSpPr>
            <p:cNvPr id="62" name="Rectangle 61"/>
            <p:cNvSpPr>
              <a:spLocks noChangeArrowheads="1"/>
            </p:cNvSpPr>
            <p:nvPr/>
          </p:nvSpPr>
          <p:spPr bwMode="auto">
            <a:xfrm>
              <a:off x="3757054" y="2363726"/>
              <a:ext cx="534530" cy="1604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err="1" smtClean="0">
                  <a:solidFill>
                    <a:srgbClr val="FD0000"/>
                  </a:solidFill>
                  <a:cs typeface="Arial" pitchFamily="34" charset="0"/>
                </a:rPr>
                <a:t>avings</a:t>
              </a:r>
              <a:endParaRPr lang="en-US" sz="1800" dirty="0" smtClean="0">
                <a:solidFill>
                  <a:srgbClr val="000000"/>
                </a:solidFill>
                <a:cs typeface="Arial" pitchFamily="34" charset="0"/>
              </a:endParaRPr>
            </a:p>
          </p:txBody>
        </p:sp>
        <p:sp>
          <p:nvSpPr>
            <p:cNvPr id="63" name="Freeform 62"/>
            <p:cNvSpPr>
              <a:spLocks noEditPoints="1"/>
            </p:cNvSpPr>
            <p:nvPr/>
          </p:nvSpPr>
          <p:spPr bwMode="auto">
            <a:xfrm>
              <a:off x="1958578" y="1343939"/>
              <a:ext cx="2339975" cy="22225"/>
            </a:xfrm>
            <a:custGeom>
              <a:avLst/>
              <a:gdLst/>
              <a:ahLst/>
              <a:cxnLst>
                <a:cxn ang="0">
                  <a:pos x="55" y="0"/>
                </a:cxn>
                <a:cxn ang="0">
                  <a:pos x="0" y="14"/>
                </a:cxn>
                <a:cxn ang="0">
                  <a:pos x="95" y="0"/>
                </a:cxn>
                <a:cxn ang="0">
                  <a:pos x="150" y="14"/>
                </a:cxn>
                <a:cxn ang="0">
                  <a:pos x="95" y="0"/>
                </a:cxn>
                <a:cxn ang="0">
                  <a:pos x="244" y="0"/>
                </a:cxn>
                <a:cxn ang="0">
                  <a:pos x="190" y="14"/>
                </a:cxn>
                <a:cxn ang="0">
                  <a:pos x="285" y="0"/>
                </a:cxn>
                <a:cxn ang="0">
                  <a:pos x="339" y="14"/>
                </a:cxn>
                <a:cxn ang="0">
                  <a:pos x="285" y="0"/>
                </a:cxn>
                <a:cxn ang="0">
                  <a:pos x="434" y="0"/>
                </a:cxn>
                <a:cxn ang="0">
                  <a:pos x="380" y="14"/>
                </a:cxn>
                <a:cxn ang="0">
                  <a:pos x="475" y="0"/>
                </a:cxn>
                <a:cxn ang="0">
                  <a:pos x="529" y="14"/>
                </a:cxn>
                <a:cxn ang="0">
                  <a:pos x="475" y="0"/>
                </a:cxn>
                <a:cxn ang="0">
                  <a:pos x="624" y="0"/>
                </a:cxn>
                <a:cxn ang="0">
                  <a:pos x="570" y="14"/>
                </a:cxn>
                <a:cxn ang="0">
                  <a:pos x="665" y="0"/>
                </a:cxn>
                <a:cxn ang="0">
                  <a:pos x="719" y="14"/>
                </a:cxn>
                <a:cxn ang="0">
                  <a:pos x="665" y="0"/>
                </a:cxn>
                <a:cxn ang="0">
                  <a:pos x="814" y="0"/>
                </a:cxn>
                <a:cxn ang="0">
                  <a:pos x="760" y="14"/>
                </a:cxn>
                <a:cxn ang="0">
                  <a:pos x="855" y="0"/>
                </a:cxn>
                <a:cxn ang="0">
                  <a:pos x="909" y="14"/>
                </a:cxn>
                <a:cxn ang="0">
                  <a:pos x="855" y="0"/>
                </a:cxn>
                <a:cxn ang="0">
                  <a:pos x="1004" y="0"/>
                </a:cxn>
                <a:cxn ang="0">
                  <a:pos x="950" y="14"/>
                </a:cxn>
                <a:cxn ang="0">
                  <a:pos x="1045" y="0"/>
                </a:cxn>
                <a:cxn ang="0">
                  <a:pos x="1099" y="14"/>
                </a:cxn>
                <a:cxn ang="0">
                  <a:pos x="1045" y="0"/>
                </a:cxn>
                <a:cxn ang="0">
                  <a:pos x="1194" y="0"/>
                </a:cxn>
                <a:cxn ang="0">
                  <a:pos x="1140" y="14"/>
                </a:cxn>
                <a:cxn ang="0">
                  <a:pos x="1234" y="0"/>
                </a:cxn>
                <a:cxn ang="0">
                  <a:pos x="1289" y="14"/>
                </a:cxn>
                <a:cxn ang="0">
                  <a:pos x="1234" y="0"/>
                </a:cxn>
                <a:cxn ang="0">
                  <a:pos x="1384" y="0"/>
                </a:cxn>
                <a:cxn ang="0">
                  <a:pos x="1329" y="14"/>
                </a:cxn>
                <a:cxn ang="0">
                  <a:pos x="1424" y="0"/>
                </a:cxn>
                <a:cxn ang="0">
                  <a:pos x="1474" y="14"/>
                </a:cxn>
                <a:cxn ang="0">
                  <a:pos x="1424" y="0"/>
                </a:cxn>
              </a:cxnLst>
              <a:rect l="0" t="0" r="r" b="b"/>
              <a:pathLst>
                <a:path w="1474" h="14">
                  <a:moveTo>
                    <a:pt x="0" y="0"/>
                  </a:moveTo>
                  <a:lnTo>
                    <a:pt x="55" y="0"/>
                  </a:lnTo>
                  <a:lnTo>
                    <a:pt x="55" y="14"/>
                  </a:lnTo>
                  <a:lnTo>
                    <a:pt x="0" y="14"/>
                  </a:lnTo>
                  <a:lnTo>
                    <a:pt x="0" y="0"/>
                  </a:lnTo>
                  <a:close/>
                  <a:moveTo>
                    <a:pt x="95" y="0"/>
                  </a:moveTo>
                  <a:lnTo>
                    <a:pt x="150" y="0"/>
                  </a:lnTo>
                  <a:lnTo>
                    <a:pt x="150" y="14"/>
                  </a:lnTo>
                  <a:lnTo>
                    <a:pt x="95" y="14"/>
                  </a:lnTo>
                  <a:lnTo>
                    <a:pt x="95" y="0"/>
                  </a:lnTo>
                  <a:close/>
                  <a:moveTo>
                    <a:pt x="190" y="0"/>
                  </a:moveTo>
                  <a:lnTo>
                    <a:pt x="244" y="0"/>
                  </a:lnTo>
                  <a:lnTo>
                    <a:pt x="244" y="14"/>
                  </a:lnTo>
                  <a:lnTo>
                    <a:pt x="190" y="14"/>
                  </a:lnTo>
                  <a:lnTo>
                    <a:pt x="190" y="0"/>
                  </a:lnTo>
                  <a:close/>
                  <a:moveTo>
                    <a:pt x="285" y="0"/>
                  </a:moveTo>
                  <a:lnTo>
                    <a:pt x="339" y="0"/>
                  </a:lnTo>
                  <a:lnTo>
                    <a:pt x="339" y="14"/>
                  </a:lnTo>
                  <a:lnTo>
                    <a:pt x="285" y="14"/>
                  </a:lnTo>
                  <a:lnTo>
                    <a:pt x="285" y="0"/>
                  </a:lnTo>
                  <a:close/>
                  <a:moveTo>
                    <a:pt x="380" y="0"/>
                  </a:moveTo>
                  <a:lnTo>
                    <a:pt x="434" y="0"/>
                  </a:lnTo>
                  <a:lnTo>
                    <a:pt x="434" y="14"/>
                  </a:lnTo>
                  <a:lnTo>
                    <a:pt x="380" y="14"/>
                  </a:lnTo>
                  <a:lnTo>
                    <a:pt x="380" y="0"/>
                  </a:lnTo>
                  <a:close/>
                  <a:moveTo>
                    <a:pt x="475" y="0"/>
                  </a:moveTo>
                  <a:lnTo>
                    <a:pt x="529" y="0"/>
                  </a:lnTo>
                  <a:lnTo>
                    <a:pt x="529" y="14"/>
                  </a:lnTo>
                  <a:lnTo>
                    <a:pt x="475" y="14"/>
                  </a:lnTo>
                  <a:lnTo>
                    <a:pt x="475" y="0"/>
                  </a:lnTo>
                  <a:close/>
                  <a:moveTo>
                    <a:pt x="570" y="0"/>
                  </a:moveTo>
                  <a:lnTo>
                    <a:pt x="624" y="0"/>
                  </a:lnTo>
                  <a:lnTo>
                    <a:pt x="624" y="14"/>
                  </a:lnTo>
                  <a:lnTo>
                    <a:pt x="570" y="14"/>
                  </a:lnTo>
                  <a:lnTo>
                    <a:pt x="570" y="0"/>
                  </a:lnTo>
                  <a:close/>
                  <a:moveTo>
                    <a:pt x="665" y="0"/>
                  </a:moveTo>
                  <a:lnTo>
                    <a:pt x="719" y="0"/>
                  </a:lnTo>
                  <a:lnTo>
                    <a:pt x="719" y="14"/>
                  </a:lnTo>
                  <a:lnTo>
                    <a:pt x="665" y="14"/>
                  </a:lnTo>
                  <a:lnTo>
                    <a:pt x="665" y="0"/>
                  </a:lnTo>
                  <a:close/>
                  <a:moveTo>
                    <a:pt x="760" y="0"/>
                  </a:moveTo>
                  <a:lnTo>
                    <a:pt x="814" y="0"/>
                  </a:lnTo>
                  <a:lnTo>
                    <a:pt x="814" y="14"/>
                  </a:lnTo>
                  <a:lnTo>
                    <a:pt x="760" y="14"/>
                  </a:lnTo>
                  <a:lnTo>
                    <a:pt x="760" y="0"/>
                  </a:lnTo>
                  <a:close/>
                  <a:moveTo>
                    <a:pt x="855" y="0"/>
                  </a:moveTo>
                  <a:lnTo>
                    <a:pt x="909" y="0"/>
                  </a:lnTo>
                  <a:lnTo>
                    <a:pt x="909" y="14"/>
                  </a:lnTo>
                  <a:lnTo>
                    <a:pt x="855" y="14"/>
                  </a:lnTo>
                  <a:lnTo>
                    <a:pt x="855" y="0"/>
                  </a:lnTo>
                  <a:close/>
                  <a:moveTo>
                    <a:pt x="950" y="0"/>
                  </a:moveTo>
                  <a:lnTo>
                    <a:pt x="1004" y="0"/>
                  </a:lnTo>
                  <a:lnTo>
                    <a:pt x="1004" y="14"/>
                  </a:lnTo>
                  <a:lnTo>
                    <a:pt x="950" y="14"/>
                  </a:lnTo>
                  <a:lnTo>
                    <a:pt x="950" y="0"/>
                  </a:lnTo>
                  <a:close/>
                  <a:moveTo>
                    <a:pt x="1045" y="0"/>
                  </a:moveTo>
                  <a:lnTo>
                    <a:pt x="1099" y="0"/>
                  </a:lnTo>
                  <a:lnTo>
                    <a:pt x="1099" y="14"/>
                  </a:lnTo>
                  <a:lnTo>
                    <a:pt x="1045" y="14"/>
                  </a:lnTo>
                  <a:lnTo>
                    <a:pt x="1045" y="0"/>
                  </a:lnTo>
                  <a:close/>
                  <a:moveTo>
                    <a:pt x="1140" y="0"/>
                  </a:moveTo>
                  <a:lnTo>
                    <a:pt x="1194" y="0"/>
                  </a:lnTo>
                  <a:lnTo>
                    <a:pt x="1194" y="14"/>
                  </a:lnTo>
                  <a:lnTo>
                    <a:pt x="1140" y="14"/>
                  </a:lnTo>
                  <a:lnTo>
                    <a:pt x="1140" y="0"/>
                  </a:lnTo>
                  <a:close/>
                  <a:moveTo>
                    <a:pt x="1234" y="0"/>
                  </a:moveTo>
                  <a:lnTo>
                    <a:pt x="1289" y="0"/>
                  </a:lnTo>
                  <a:lnTo>
                    <a:pt x="1289" y="14"/>
                  </a:lnTo>
                  <a:lnTo>
                    <a:pt x="1234" y="14"/>
                  </a:lnTo>
                  <a:lnTo>
                    <a:pt x="1234" y="0"/>
                  </a:lnTo>
                  <a:close/>
                  <a:moveTo>
                    <a:pt x="1329" y="0"/>
                  </a:moveTo>
                  <a:lnTo>
                    <a:pt x="1384" y="0"/>
                  </a:lnTo>
                  <a:lnTo>
                    <a:pt x="1384" y="14"/>
                  </a:lnTo>
                  <a:lnTo>
                    <a:pt x="1329" y="14"/>
                  </a:lnTo>
                  <a:lnTo>
                    <a:pt x="1329" y="0"/>
                  </a:lnTo>
                  <a:close/>
                  <a:moveTo>
                    <a:pt x="1424" y="0"/>
                  </a:moveTo>
                  <a:lnTo>
                    <a:pt x="1474" y="0"/>
                  </a:lnTo>
                  <a:lnTo>
                    <a:pt x="1474" y="14"/>
                  </a:lnTo>
                  <a:lnTo>
                    <a:pt x="1424" y="14"/>
                  </a:lnTo>
                  <a:lnTo>
                    <a:pt x="1424"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64" name="Freeform 63"/>
            <p:cNvSpPr>
              <a:spLocks noEditPoints="1"/>
            </p:cNvSpPr>
            <p:nvPr/>
          </p:nvSpPr>
          <p:spPr bwMode="auto">
            <a:xfrm>
              <a:off x="1937940" y="3641051"/>
              <a:ext cx="931863" cy="530225"/>
            </a:xfrm>
            <a:custGeom>
              <a:avLst/>
              <a:gdLst/>
              <a:ahLst/>
              <a:cxnLst>
                <a:cxn ang="0">
                  <a:pos x="18" y="4"/>
                </a:cxn>
                <a:cxn ang="0">
                  <a:pos x="0" y="9"/>
                </a:cxn>
                <a:cxn ang="0">
                  <a:pos x="31" y="13"/>
                </a:cxn>
                <a:cxn ang="0">
                  <a:pos x="36" y="31"/>
                </a:cxn>
                <a:cxn ang="0">
                  <a:pos x="31" y="13"/>
                </a:cxn>
                <a:cxn ang="0">
                  <a:pos x="68" y="31"/>
                </a:cxn>
                <a:cxn ang="0">
                  <a:pos x="50" y="36"/>
                </a:cxn>
                <a:cxn ang="0">
                  <a:pos x="77" y="40"/>
                </a:cxn>
                <a:cxn ang="0">
                  <a:pos x="86" y="58"/>
                </a:cxn>
                <a:cxn ang="0">
                  <a:pos x="77" y="40"/>
                </a:cxn>
                <a:cxn ang="0">
                  <a:pos x="113" y="58"/>
                </a:cxn>
                <a:cxn ang="0">
                  <a:pos x="95" y="63"/>
                </a:cxn>
                <a:cxn ang="0">
                  <a:pos x="126" y="63"/>
                </a:cxn>
                <a:cxn ang="0">
                  <a:pos x="131" y="85"/>
                </a:cxn>
                <a:cxn ang="0">
                  <a:pos x="126" y="63"/>
                </a:cxn>
                <a:cxn ang="0">
                  <a:pos x="163" y="85"/>
                </a:cxn>
                <a:cxn ang="0">
                  <a:pos x="144" y="90"/>
                </a:cxn>
                <a:cxn ang="0">
                  <a:pos x="172" y="90"/>
                </a:cxn>
                <a:cxn ang="0">
                  <a:pos x="181" y="108"/>
                </a:cxn>
                <a:cxn ang="0">
                  <a:pos x="172" y="90"/>
                </a:cxn>
                <a:cxn ang="0">
                  <a:pos x="208" y="113"/>
                </a:cxn>
                <a:cxn ang="0">
                  <a:pos x="190" y="117"/>
                </a:cxn>
                <a:cxn ang="0">
                  <a:pos x="221" y="117"/>
                </a:cxn>
                <a:cxn ang="0">
                  <a:pos x="226" y="135"/>
                </a:cxn>
                <a:cxn ang="0">
                  <a:pos x="221" y="117"/>
                </a:cxn>
                <a:cxn ang="0">
                  <a:pos x="257" y="140"/>
                </a:cxn>
                <a:cxn ang="0">
                  <a:pos x="239" y="144"/>
                </a:cxn>
                <a:cxn ang="0">
                  <a:pos x="267" y="144"/>
                </a:cxn>
                <a:cxn ang="0">
                  <a:pos x="271" y="162"/>
                </a:cxn>
                <a:cxn ang="0">
                  <a:pos x="267" y="144"/>
                </a:cxn>
                <a:cxn ang="0">
                  <a:pos x="303" y="167"/>
                </a:cxn>
                <a:cxn ang="0">
                  <a:pos x="285" y="171"/>
                </a:cxn>
                <a:cxn ang="0">
                  <a:pos x="316" y="171"/>
                </a:cxn>
                <a:cxn ang="0">
                  <a:pos x="321" y="189"/>
                </a:cxn>
                <a:cxn ang="0">
                  <a:pos x="316" y="171"/>
                </a:cxn>
                <a:cxn ang="0">
                  <a:pos x="352" y="189"/>
                </a:cxn>
                <a:cxn ang="0">
                  <a:pos x="334" y="198"/>
                </a:cxn>
                <a:cxn ang="0">
                  <a:pos x="361" y="198"/>
                </a:cxn>
                <a:cxn ang="0">
                  <a:pos x="366" y="217"/>
                </a:cxn>
                <a:cxn ang="0">
                  <a:pos x="361" y="198"/>
                </a:cxn>
                <a:cxn ang="0">
                  <a:pos x="398" y="217"/>
                </a:cxn>
                <a:cxn ang="0">
                  <a:pos x="380" y="221"/>
                </a:cxn>
                <a:cxn ang="0">
                  <a:pos x="411" y="226"/>
                </a:cxn>
                <a:cxn ang="0">
                  <a:pos x="416" y="244"/>
                </a:cxn>
                <a:cxn ang="0">
                  <a:pos x="411" y="226"/>
                </a:cxn>
                <a:cxn ang="0">
                  <a:pos x="447" y="244"/>
                </a:cxn>
                <a:cxn ang="0">
                  <a:pos x="425" y="248"/>
                </a:cxn>
                <a:cxn ang="0">
                  <a:pos x="456" y="253"/>
                </a:cxn>
                <a:cxn ang="0">
                  <a:pos x="461" y="271"/>
                </a:cxn>
                <a:cxn ang="0">
                  <a:pos x="456" y="253"/>
                </a:cxn>
                <a:cxn ang="0">
                  <a:pos x="493" y="271"/>
                </a:cxn>
                <a:cxn ang="0">
                  <a:pos x="474" y="275"/>
                </a:cxn>
                <a:cxn ang="0">
                  <a:pos x="506" y="280"/>
                </a:cxn>
                <a:cxn ang="0">
                  <a:pos x="511" y="298"/>
                </a:cxn>
                <a:cxn ang="0">
                  <a:pos x="506" y="280"/>
                </a:cxn>
                <a:cxn ang="0">
                  <a:pos x="538" y="298"/>
                </a:cxn>
                <a:cxn ang="0">
                  <a:pos x="520" y="302"/>
                </a:cxn>
                <a:cxn ang="0">
                  <a:pos x="551" y="302"/>
                </a:cxn>
                <a:cxn ang="0">
                  <a:pos x="556" y="321"/>
                </a:cxn>
                <a:cxn ang="0">
                  <a:pos x="551" y="302"/>
                </a:cxn>
                <a:cxn ang="0">
                  <a:pos x="587" y="325"/>
                </a:cxn>
                <a:cxn ang="0">
                  <a:pos x="569" y="330"/>
                </a:cxn>
              </a:cxnLst>
              <a:rect l="0" t="0" r="r" b="b"/>
              <a:pathLst>
                <a:path w="587" h="334">
                  <a:moveTo>
                    <a:pt x="9" y="0"/>
                  </a:moveTo>
                  <a:lnTo>
                    <a:pt x="18" y="4"/>
                  </a:lnTo>
                  <a:lnTo>
                    <a:pt x="13" y="18"/>
                  </a:lnTo>
                  <a:lnTo>
                    <a:pt x="0" y="9"/>
                  </a:lnTo>
                  <a:lnTo>
                    <a:pt x="9" y="0"/>
                  </a:lnTo>
                  <a:close/>
                  <a:moveTo>
                    <a:pt x="31" y="13"/>
                  </a:moveTo>
                  <a:lnTo>
                    <a:pt x="45" y="18"/>
                  </a:lnTo>
                  <a:lnTo>
                    <a:pt x="36" y="31"/>
                  </a:lnTo>
                  <a:lnTo>
                    <a:pt x="27" y="22"/>
                  </a:lnTo>
                  <a:lnTo>
                    <a:pt x="31" y="13"/>
                  </a:lnTo>
                  <a:close/>
                  <a:moveTo>
                    <a:pt x="54" y="27"/>
                  </a:moveTo>
                  <a:lnTo>
                    <a:pt x="68" y="31"/>
                  </a:lnTo>
                  <a:lnTo>
                    <a:pt x="59" y="45"/>
                  </a:lnTo>
                  <a:lnTo>
                    <a:pt x="50" y="36"/>
                  </a:lnTo>
                  <a:lnTo>
                    <a:pt x="54" y="27"/>
                  </a:lnTo>
                  <a:close/>
                  <a:moveTo>
                    <a:pt x="77" y="40"/>
                  </a:moveTo>
                  <a:lnTo>
                    <a:pt x="90" y="45"/>
                  </a:lnTo>
                  <a:lnTo>
                    <a:pt x="86" y="58"/>
                  </a:lnTo>
                  <a:lnTo>
                    <a:pt x="72" y="49"/>
                  </a:lnTo>
                  <a:lnTo>
                    <a:pt x="77" y="40"/>
                  </a:lnTo>
                  <a:close/>
                  <a:moveTo>
                    <a:pt x="104" y="54"/>
                  </a:moveTo>
                  <a:lnTo>
                    <a:pt x="113" y="58"/>
                  </a:lnTo>
                  <a:lnTo>
                    <a:pt x="108" y="72"/>
                  </a:lnTo>
                  <a:lnTo>
                    <a:pt x="95" y="63"/>
                  </a:lnTo>
                  <a:lnTo>
                    <a:pt x="104" y="54"/>
                  </a:lnTo>
                  <a:close/>
                  <a:moveTo>
                    <a:pt x="126" y="63"/>
                  </a:moveTo>
                  <a:lnTo>
                    <a:pt x="140" y="72"/>
                  </a:lnTo>
                  <a:lnTo>
                    <a:pt x="131" y="85"/>
                  </a:lnTo>
                  <a:lnTo>
                    <a:pt x="117" y="76"/>
                  </a:lnTo>
                  <a:lnTo>
                    <a:pt x="126" y="63"/>
                  </a:lnTo>
                  <a:close/>
                  <a:moveTo>
                    <a:pt x="149" y="76"/>
                  </a:moveTo>
                  <a:lnTo>
                    <a:pt x="163" y="85"/>
                  </a:lnTo>
                  <a:lnTo>
                    <a:pt x="154" y="95"/>
                  </a:lnTo>
                  <a:lnTo>
                    <a:pt x="144" y="90"/>
                  </a:lnTo>
                  <a:lnTo>
                    <a:pt x="149" y="76"/>
                  </a:lnTo>
                  <a:close/>
                  <a:moveTo>
                    <a:pt x="172" y="90"/>
                  </a:moveTo>
                  <a:lnTo>
                    <a:pt x="185" y="99"/>
                  </a:lnTo>
                  <a:lnTo>
                    <a:pt x="181" y="108"/>
                  </a:lnTo>
                  <a:lnTo>
                    <a:pt x="167" y="104"/>
                  </a:lnTo>
                  <a:lnTo>
                    <a:pt x="172" y="90"/>
                  </a:lnTo>
                  <a:close/>
                  <a:moveTo>
                    <a:pt x="199" y="104"/>
                  </a:moveTo>
                  <a:lnTo>
                    <a:pt x="208" y="113"/>
                  </a:lnTo>
                  <a:lnTo>
                    <a:pt x="203" y="122"/>
                  </a:lnTo>
                  <a:lnTo>
                    <a:pt x="190" y="117"/>
                  </a:lnTo>
                  <a:lnTo>
                    <a:pt x="199" y="104"/>
                  </a:lnTo>
                  <a:close/>
                  <a:moveTo>
                    <a:pt x="221" y="117"/>
                  </a:moveTo>
                  <a:lnTo>
                    <a:pt x="230" y="126"/>
                  </a:lnTo>
                  <a:lnTo>
                    <a:pt x="226" y="135"/>
                  </a:lnTo>
                  <a:lnTo>
                    <a:pt x="212" y="131"/>
                  </a:lnTo>
                  <a:lnTo>
                    <a:pt x="221" y="117"/>
                  </a:lnTo>
                  <a:close/>
                  <a:moveTo>
                    <a:pt x="244" y="131"/>
                  </a:moveTo>
                  <a:lnTo>
                    <a:pt x="257" y="140"/>
                  </a:lnTo>
                  <a:lnTo>
                    <a:pt x="248" y="149"/>
                  </a:lnTo>
                  <a:lnTo>
                    <a:pt x="239" y="144"/>
                  </a:lnTo>
                  <a:lnTo>
                    <a:pt x="244" y="131"/>
                  </a:lnTo>
                  <a:close/>
                  <a:moveTo>
                    <a:pt x="267" y="144"/>
                  </a:moveTo>
                  <a:lnTo>
                    <a:pt x="280" y="153"/>
                  </a:lnTo>
                  <a:lnTo>
                    <a:pt x="271" y="162"/>
                  </a:lnTo>
                  <a:lnTo>
                    <a:pt x="262" y="158"/>
                  </a:lnTo>
                  <a:lnTo>
                    <a:pt x="267" y="144"/>
                  </a:lnTo>
                  <a:close/>
                  <a:moveTo>
                    <a:pt x="294" y="158"/>
                  </a:moveTo>
                  <a:lnTo>
                    <a:pt x="303" y="167"/>
                  </a:lnTo>
                  <a:lnTo>
                    <a:pt x="298" y="176"/>
                  </a:lnTo>
                  <a:lnTo>
                    <a:pt x="285" y="171"/>
                  </a:lnTo>
                  <a:lnTo>
                    <a:pt x="294" y="158"/>
                  </a:lnTo>
                  <a:close/>
                  <a:moveTo>
                    <a:pt x="316" y="171"/>
                  </a:moveTo>
                  <a:lnTo>
                    <a:pt x="325" y="176"/>
                  </a:lnTo>
                  <a:lnTo>
                    <a:pt x="321" y="189"/>
                  </a:lnTo>
                  <a:lnTo>
                    <a:pt x="307" y="185"/>
                  </a:lnTo>
                  <a:lnTo>
                    <a:pt x="316" y="171"/>
                  </a:lnTo>
                  <a:close/>
                  <a:moveTo>
                    <a:pt x="339" y="185"/>
                  </a:moveTo>
                  <a:lnTo>
                    <a:pt x="352" y="189"/>
                  </a:lnTo>
                  <a:lnTo>
                    <a:pt x="343" y="203"/>
                  </a:lnTo>
                  <a:lnTo>
                    <a:pt x="334" y="198"/>
                  </a:lnTo>
                  <a:lnTo>
                    <a:pt x="339" y="185"/>
                  </a:lnTo>
                  <a:close/>
                  <a:moveTo>
                    <a:pt x="361" y="198"/>
                  </a:moveTo>
                  <a:lnTo>
                    <a:pt x="375" y="203"/>
                  </a:lnTo>
                  <a:lnTo>
                    <a:pt x="366" y="217"/>
                  </a:lnTo>
                  <a:lnTo>
                    <a:pt x="357" y="208"/>
                  </a:lnTo>
                  <a:lnTo>
                    <a:pt x="361" y="198"/>
                  </a:lnTo>
                  <a:close/>
                  <a:moveTo>
                    <a:pt x="384" y="212"/>
                  </a:moveTo>
                  <a:lnTo>
                    <a:pt x="398" y="217"/>
                  </a:lnTo>
                  <a:lnTo>
                    <a:pt x="393" y="230"/>
                  </a:lnTo>
                  <a:lnTo>
                    <a:pt x="380" y="221"/>
                  </a:lnTo>
                  <a:lnTo>
                    <a:pt x="384" y="212"/>
                  </a:lnTo>
                  <a:close/>
                  <a:moveTo>
                    <a:pt x="411" y="226"/>
                  </a:moveTo>
                  <a:lnTo>
                    <a:pt x="420" y="230"/>
                  </a:lnTo>
                  <a:lnTo>
                    <a:pt x="416" y="244"/>
                  </a:lnTo>
                  <a:lnTo>
                    <a:pt x="402" y="235"/>
                  </a:lnTo>
                  <a:lnTo>
                    <a:pt x="411" y="226"/>
                  </a:lnTo>
                  <a:close/>
                  <a:moveTo>
                    <a:pt x="434" y="239"/>
                  </a:moveTo>
                  <a:lnTo>
                    <a:pt x="447" y="244"/>
                  </a:lnTo>
                  <a:lnTo>
                    <a:pt x="438" y="257"/>
                  </a:lnTo>
                  <a:lnTo>
                    <a:pt x="425" y="248"/>
                  </a:lnTo>
                  <a:lnTo>
                    <a:pt x="434" y="239"/>
                  </a:lnTo>
                  <a:close/>
                  <a:moveTo>
                    <a:pt x="456" y="253"/>
                  </a:moveTo>
                  <a:lnTo>
                    <a:pt x="470" y="257"/>
                  </a:lnTo>
                  <a:lnTo>
                    <a:pt x="461" y="271"/>
                  </a:lnTo>
                  <a:lnTo>
                    <a:pt x="452" y="262"/>
                  </a:lnTo>
                  <a:lnTo>
                    <a:pt x="456" y="253"/>
                  </a:lnTo>
                  <a:close/>
                  <a:moveTo>
                    <a:pt x="479" y="266"/>
                  </a:moveTo>
                  <a:lnTo>
                    <a:pt x="493" y="271"/>
                  </a:lnTo>
                  <a:lnTo>
                    <a:pt x="488" y="284"/>
                  </a:lnTo>
                  <a:lnTo>
                    <a:pt x="474" y="275"/>
                  </a:lnTo>
                  <a:lnTo>
                    <a:pt x="479" y="266"/>
                  </a:lnTo>
                  <a:close/>
                  <a:moveTo>
                    <a:pt x="506" y="280"/>
                  </a:moveTo>
                  <a:lnTo>
                    <a:pt x="515" y="284"/>
                  </a:lnTo>
                  <a:lnTo>
                    <a:pt x="511" y="298"/>
                  </a:lnTo>
                  <a:lnTo>
                    <a:pt x="497" y="289"/>
                  </a:lnTo>
                  <a:lnTo>
                    <a:pt x="506" y="280"/>
                  </a:lnTo>
                  <a:close/>
                  <a:moveTo>
                    <a:pt x="529" y="289"/>
                  </a:moveTo>
                  <a:lnTo>
                    <a:pt x="538" y="298"/>
                  </a:lnTo>
                  <a:lnTo>
                    <a:pt x="533" y="312"/>
                  </a:lnTo>
                  <a:lnTo>
                    <a:pt x="520" y="302"/>
                  </a:lnTo>
                  <a:lnTo>
                    <a:pt x="529" y="289"/>
                  </a:lnTo>
                  <a:close/>
                  <a:moveTo>
                    <a:pt x="551" y="302"/>
                  </a:moveTo>
                  <a:lnTo>
                    <a:pt x="565" y="312"/>
                  </a:lnTo>
                  <a:lnTo>
                    <a:pt x="556" y="321"/>
                  </a:lnTo>
                  <a:lnTo>
                    <a:pt x="547" y="316"/>
                  </a:lnTo>
                  <a:lnTo>
                    <a:pt x="551" y="302"/>
                  </a:lnTo>
                  <a:close/>
                  <a:moveTo>
                    <a:pt x="574" y="316"/>
                  </a:moveTo>
                  <a:lnTo>
                    <a:pt x="587" y="325"/>
                  </a:lnTo>
                  <a:lnTo>
                    <a:pt x="578" y="334"/>
                  </a:lnTo>
                  <a:lnTo>
                    <a:pt x="569" y="330"/>
                  </a:lnTo>
                  <a:lnTo>
                    <a:pt x="574" y="316"/>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65" name="Freeform 64"/>
            <p:cNvSpPr>
              <a:spLocks noEditPoints="1"/>
            </p:cNvSpPr>
            <p:nvPr/>
          </p:nvSpPr>
          <p:spPr bwMode="auto">
            <a:xfrm>
              <a:off x="1937940" y="3009226"/>
              <a:ext cx="990600" cy="990600"/>
            </a:xfrm>
            <a:custGeom>
              <a:avLst/>
              <a:gdLst/>
              <a:ahLst/>
              <a:cxnLst>
                <a:cxn ang="0">
                  <a:pos x="9" y="18"/>
                </a:cxn>
                <a:cxn ang="0">
                  <a:pos x="27" y="18"/>
                </a:cxn>
                <a:cxn ang="0">
                  <a:pos x="18" y="27"/>
                </a:cxn>
                <a:cxn ang="0">
                  <a:pos x="59" y="50"/>
                </a:cxn>
                <a:cxn ang="0">
                  <a:pos x="50" y="36"/>
                </a:cxn>
                <a:cxn ang="0">
                  <a:pos x="68" y="77"/>
                </a:cxn>
                <a:cxn ang="0">
                  <a:pos x="86" y="77"/>
                </a:cxn>
                <a:cxn ang="0">
                  <a:pos x="77" y="86"/>
                </a:cxn>
                <a:cxn ang="0">
                  <a:pos x="113" y="104"/>
                </a:cxn>
                <a:cxn ang="0">
                  <a:pos x="104" y="95"/>
                </a:cxn>
                <a:cxn ang="0">
                  <a:pos x="126" y="135"/>
                </a:cxn>
                <a:cxn ang="0">
                  <a:pos x="144" y="135"/>
                </a:cxn>
                <a:cxn ang="0">
                  <a:pos x="135" y="144"/>
                </a:cxn>
                <a:cxn ang="0">
                  <a:pos x="172" y="163"/>
                </a:cxn>
                <a:cxn ang="0">
                  <a:pos x="163" y="154"/>
                </a:cxn>
                <a:cxn ang="0">
                  <a:pos x="181" y="190"/>
                </a:cxn>
                <a:cxn ang="0">
                  <a:pos x="203" y="190"/>
                </a:cxn>
                <a:cxn ang="0">
                  <a:pos x="190" y="203"/>
                </a:cxn>
                <a:cxn ang="0">
                  <a:pos x="230" y="221"/>
                </a:cxn>
                <a:cxn ang="0">
                  <a:pos x="221" y="212"/>
                </a:cxn>
                <a:cxn ang="0">
                  <a:pos x="239" y="248"/>
                </a:cxn>
                <a:cxn ang="0">
                  <a:pos x="257" y="248"/>
                </a:cxn>
                <a:cxn ang="0">
                  <a:pos x="248" y="257"/>
                </a:cxn>
                <a:cxn ang="0">
                  <a:pos x="289" y="280"/>
                </a:cxn>
                <a:cxn ang="0">
                  <a:pos x="280" y="267"/>
                </a:cxn>
                <a:cxn ang="0">
                  <a:pos x="298" y="307"/>
                </a:cxn>
                <a:cxn ang="0">
                  <a:pos x="316" y="307"/>
                </a:cxn>
                <a:cxn ang="0">
                  <a:pos x="307" y="316"/>
                </a:cxn>
                <a:cxn ang="0">
                  <a:pos x="343" y="334"/>
                </a:cxn>
                <a:cxn ang="0">
                  <a:pos x="334" y="325"/>
                </a:cxn>
                <a:cxn ang="0">
                  <a:pos x="352" y="366"/>
                </a:cxn>
                <a:cxn ang="0">
                  <a:pos x="375" y="366"/>
                </a:cxn>
                <a:cxn ang="0">
                  <a:pos x="366" y="375"/>
                </a:cxn>
                <a:cxn ang="0">
                  <a:pos x="402" y="393"/>
                </a:cxn>
                <a:cxn ang="0">
                  <a:pos x="393" y="384"/>
                </a:cxn>
                <a:cxn ang="0">
                  <a:pos x="411" y="420"/>
                </a:cxn>
                <a:cxn ang="0">
                  <a:pos x="429" y="420"/>
                </a:cxn>
                <a:cxn ang="0">
                  <a:pos x="420" y="429"/>
                </a:cxn>
                <a:cxn ang="0">
                  <a:pos x="461" y="452"/>
                </a:cxn>
                <a:cxn ang="0">
                  <a:pos x="452" y="443"/>
                </a:cxn>
                <a:cxn ang="0">
                  <a:pos x="470" y="479"/>
                </a:cxn>
                <a:cxn ang="0">
                  <a:pos x="488" y="479"/>
                </a:cxn>
                <a:cxn ang="0">
                  <a:pos x="479" y="488"/>
                </a:cxn>
                <a:cxn ang="0">
                  <a:pos x="520" y="506"/>
                </a:cxn>
                <a:cxn ang="0">
                  <a:pos x="506" y="497"/>
                </a:cxn>
                <a:cxn ang="0">
                  <a:pos x="529" y="538"/>
                </a:cxn>
                <a:cxn ang="0">
                  <a:pos x="547" y="538"/>
                </a:cxn>
                <a:cxn ang="0">
                  <a:pos x="538" y="547"/>
                </a:cxn>
                <a:cxn ang="0">
                  <a:pos x="574" y="565"/>
                </a:cxn>
                <a:cxn ang="0">
                  <a:pos x="565" y="556"/>
                </a:cxn>
                <a:cxn ang="0">
                  <a:pos x="583" y="596"/>
                </a:cxn>
                <a:cxn ang="0">
                  <a:pos x="606" y="596"/>
                </a:cxn>
                <a:cxn ang="0">
                  <a:pos x="597" y="606"/>
                </a:cxn>
                <a:cxn ang="0">
                  <a:pos x="624" y="615"/>
                </a:cxn>
                <a:cxn ang="0">
                  <a:pos x="624" y="615"/>
                </a:cxn>
              </a:cxnLst>
              <a:rect l="0" t="0" r="r" b="b"/>
              <a:pathLst>
                <a:path w="624" h="624">
                  <a:moveTo>
                    <a:pt x="9" y="0"/>
                  </a:moveTo>
                  <a:lnTo>
                    <a:pt x="18" y="9"/>
                  </a:lnTo>
                  <a:lnTo>
                    <a:pt x="9" y="18"/>
                  </a:lnTo>
                  <a:lnTo>
                    <a:pt x="0" y="9"/>
                  </a:lnTo>
                  <a:lnTo>
                    <a:pt x="9" y="0"/>
                  </a:lnTo>
                  <a:close/>
                  <a:moveTo>
                    <a:pt x="27" y="18"/>
                  </a:moveTo>
                  <a:lnTo>
                    <a:pt x="36" y="27"/>
                  </a:lnTo>
                  <a:lnTo>
                    <a:pt x="27" y="36"/>
                  </a:lnTo>
                  <a:lnTo>
                    <a:pt x="18" y="27"/>
                  </a:lnTo>
                  <a:lnTo>
                    <a:pt x="27" y="18"/>
                  </a:lnTo>
                  <a:close/>
                  <a:moveTo>
                    <a:pt x="50" y="36"/>
                  </a:moveTo>
                  <a:lnTo>
                    <a:pt x="59" y="50"/>
                  </a:lnTo>
                  <a:lnTo>
                    <a:pt x="50" y="59"/>
                  </a:lnTo>
                  <a:lnTo>
                    <a:pt x="36" y="50"/>
                  </a:lnTo>
                  <a:lnTo>
                    <a:pt x="50" y="36"/>
                  </a:lnTo>
                  <a:close/>
                  <a:moveTo>
                    <a:pt x="68" y="59"/>
                  </a:moveTo>
                  <a:lnTo>
                    <a:pt x="77" y="68"/>
                  </a:lnTo>
                  <a:lnTo>
                    <a:pt x="68" y="77"/>
                  </a:lnTo>
                  <a:lnTo>
                    <a:pt x="59" y="68"/>
                  </a:lnTo>
                  <a:lnTo>
                    <a:pt x="68" y="59"/>
                  </a:lnTo>
                  <a:close/>
                  <a:moveTo>
                    <a:pt x="86" y="77"/>
                  </a:moveTo>
                  <a:lnTo>
                    <a:pt x="95" y="86"/>
                  </a:lnTo>
                  <a:lnTo>
                    <a:pt x="86" y="95"/>
                  </a:lnTo>
                  <a:lnTo>
                    <a:pt x="77" y="86"/>
                  </a:lnTo>
                  <a:lnTo>
                    <a:pt x="86" y="77"/>
                  </a:lnTo>
                  <a:close/>
                  <a:moveTo>
                    <a:pt x="104" y="95"/>
                  </a:moveTo>
                  <a:lnTo>
                    <a:pt x="113" y="104"/>
                  </a:lnTo>
                  <a:lnTo>
                    <a:pt x="104" y="113"/>
                  </a:lnTo>
                  <a:lnTo>
                    <a:pt x="95" y="104"/>
                  </a:lnTo>
                  <a:lnTo>
                    <a:pt x="104" y="95"/>
                  </a:lnTo>
                  <a:close/>
                  <a:moveTo>
                    <a:pt x="126" y="113"/>
                  </a:moveTo>
                  <a:lnTo>
                    <a:pt x="135" y="126"/>
                  </a:lnTo>
                  <a:lnTo>
                    <a:pt x="126" y="135"/>
                  </a:lnTo>
                  <a:lnTo>
                    <a:pt x="113" y="126"/>
                  </a:lnTo>
                  <a:lnTo>
                    <a:pt x="126" y="113"/>
                  </a:lnTo>
                  <a:close/>
                  <a:moveTo>
                    <a:pt x="144" y="135"/>
                  </a:moveTo>
                  <a:lnTo>
                    <a:pt x="154" y="144"/>
                  </a:lnTo>
                  <a:lnTo>
                    <a:pt x="144" y="154"/>
                  </a:lnTo>
                  <a:lnTo>
                    <a:pt x="135" y="144"/>
                  </a:lnTo>
                  <a:lnTo>
                    <a:pt x="144" y="135"/>
                  </a:lnTo>
                  <a:close/>
                  <a:moveTo>
                    <a:pt x="163" y="154"/>
                  </a:moveTo>
                  <a:lnTo>
                    <a:pt x="172" y="163"/>
                  </a:lnTo>
                  <a:lnTo>
                    <a:pt x="163" y="172"/>
                  </a:lnTo>
                  <a:lnTo>
                    <a:pt x="154" y="163"/>
                  </a:lnTo>
                  <a:lnTo>
                    <a:pt x="163" y="154"/>
                  </a:lnTo>
                  <a:close/>
                  <a:moveTo>
                    <a:pt x="181" y="172"/>
                  </a:moveTo>
                  <a:lnTo>
                    <a:pt x="190" y="181"/>
                  </a:lnTo>
                  <a:lnTo>
                    <a:pt x="181" y="190"/>
                  </a:lnTo>
                  <a:lnTo>
                    <a:pt x="172" y="181"/>
                  </a:lnTo>
                  <a:lnTo>
                    <a:pt x="181" y="172"/>
                  </a:lnTo>
                  <a:close/>
                  <a:moveTo>
                    <a:pt x="203" y="190"/>
                  </a:moveTo>
                  <a:lnTo>
                    <a:pt x="212" y="203"/>
                  </a:lnTo>
                  <a:lnTo>
                    <a:pt x="203" y="212"/>
                  </a:lnTo>
                  <a:lnTo>
                    <a:pt x="190" y="203"/>
                  </a:lnTo>
                  <a:lnTo>
                    <a:pt x="203" y="190"/>
                  </a:lnTo>
                  <a:close/>
                  <a:moveTo>
                    <a:pt x="221" y="212"/>
                  </a:moveTo>
                  <a:lnTo>
                    <a:pt x="230" y="221"/>
                  </a:lnTo>
                  <a:lnTo>
                    <a:pt x="221" y="230"/>
                  </a:lnTo>
                  <a:lnTo>
                    <a:pt x="212" y="221"/>
                  </a:lnTo>
                  <a:lnTo>
                    <a:pt x="221" y="212"/>
                  </a:lnTo>
                  <a:close/>
                  <a:moveTo>
                    <a:pt x="239" y="230"/>
                  </a:moveTo>
                  <a:lnTo>
                    <a:pt x="248" y="239"/>
                  </a:lnTo>
                  <a:lnTo>
                    <a:pt x="239" y="248"/>
                  </a:lnTo>
                  <a:lnTo>
                    <a:pt x="230" y="239"/>
                  </a:lnTo>
                  <a:lnTo>
                    <a:pt x="239" y="230"/>
                  </a:lnTo>
                  <a:close/>
                  <a:moveTo>
                    <a:pt x="257" y="248"/>
                  </a:moveTo>
                  <a:lnTo>
                    <a:pt x="267" y="257"/>
                  </a:lnTo>
                  <a:lnTo>
                    <a:pt x="257" y="267"/>
                  </a:lnTo>
                  <a:lnTo>
                    <a:pt x="248" y="257"/>
                  </a:lnTo>
                  <a:lnTo>
                    <a:pt x="257" y="248"/>
                  </a:lnTo>
                  <a:close/>
                  <a:moveTo>
                    <a:pt x="280" y="267"/>
                  </a:moveTo>
                  <a:lnTo>
                    <a:pt x="289" y="280"/>
                  </a:lnTo>
                  <a:lnTo>
                    <a:pt x="280" y="289"/>
                  </a:lnTo>
                  <a:lnTo>
                    <a:pt x="267" y="280"/>
                  </a:lnTo>
                  <a:lnTo>
                    <a:pt x="280" y="267"/>
                  </a:lnTo>
                  <a:close/>
                  <a:moveTo>
                    <a:pt x="298" y="289"/>
                  </a:moveTo>
                  <a:lnTo>
                    <a:pt x="307" y="298"/>
                  </a:lnTo>
                  <a:lnTo>
                    <a:pt x="298" y="307"/>
                  </a:lnTo>
                  <a:lnTo>
                    <a:pt x="289" y="298"/>
                  </a:lnTo>
                  <a:lnTo>
                    <a:pt x="298" y="289"/>
                  </a:lnTo>
                  <a:close/>
                  <a:moveTo>
                    <a:pt x="316" y="307"/>
                  </a:moveTo>
                  <a:lnTo>
                    <a:pt x="325" y="316"/>
                  </a:lnTo>
                  <a:lnTo>
                    <a:pt x="316" y="325"/>
                  </a:lnTo>
                  <a:lnTo>
                    <a:pt x="307" y="316"/>
                  </a:lnTo>
                  <a:lnTo>
                    <a:pt x="316" y="307"/>
                  </a:lnTo>
                  <a:close/>
                  <a:moveTo>
                    <a:pt x="334" y="325"/>
                  </a:moveTo>
                  <a:lnTo>
                    <a:pt x="343" y="334"/>
                  </a:lnTo>
                  <a:lnTo>
                    <a:pt x="334" y="343"/>
                  </a:lnTo>
                  <a:lnTo>
                    <a:pt x="325" y="334"/>
                  </a:lnTo>
                  <a:lnTo>
                    <a:pt x="334" y="325"/>
                  </a:lnTo>
                  <a:close/>
                  <a:moveTo>
                    <a:pt x="352" y="343"/>
                  </a:moveTo>
                  <a:lnTo>
                    <a:pt x="366" y="352"/>
                  </a:lnTo>
                  <a:lnTo>
                    <a:pt x="352" y="366"/>
                  </a:lnTo>
                  <a:lnTo>
                    <a:pt x="343" y="352"/>
                  </a:lnTo>
                  <a:lnTo>
                    <a:pt x="352" y="343"/>
                  </a:lnTo>
                  <a:close/>
                  <a:moveTo>
                    <a:pt x="375" y="366"/>
                  </a:moveTo>
                  <a:lnTo>
                    <a:pt x="384" y="375"/>
                  </a:lnTo>
                  <a:lnTo>
                    <a:pt x="375" y="384"/>
                  </a:lnTo>
                  <a:lnTo>
                    <a:pt x="366" y="375"/>
                  </a:lnTo>
                  <a:lnTo>
                    <a:pt x="375" y="366"/>
                  </a:lnTo>
                  <a:close/>
                  <a:moveTo>
                    <a:pt x="393" y="384"/>
                  </a:moveTo>
                  <a:lnTo>
                    <a:pt x="402" y="393"/>
                  </a:lnTo>
                  <a:lnTo>
                    <a:pt x="393" y="402"/>
                  </a:lnTo>
                  <a:lnTo>
                    <a:pt x="384" y="393"/>
                  </a:lnTo>
                  <a:lnTo>
                    <a:pt x="393" y="384"/>
                  </a:lnTo>
                  <a:close/>
                  <a:moveTo>
                    <a:pt x="411" y="402"/>
                  </a:moveTo>
                  <a:lnTo>
                    <a:pt x="420" y="411"/>
                  </a:lnTo>
                  <a:lnTo>
                    <a:pt x="411" y="420"/>
                  </a:lnTo>
                  <a:lnTo>
                    <a:pt x="402" y="411"/>
                  </a:lnTo>
                  <a:lnTo>
                    <a:pt x="411" y="402"/>
                  </a:lnTo>
                  <a:close/>
                  <a:moveTo>
                    <a:pt x="429" y="420"/>
                  </a:moveTo>
                  <a:lnTo>
                    <a:pt x="443" y="429"/>
                  </a:lnTo>
                  <a:lnTo>
                    <a:pt x="429" y="443"/>
                  </a:lnTo>
                  <a:lnTo>
                    <a:pt x="420" y="429"/>
                  </a:lnTo>
                  <a:lnTo>
                    <a:pt x="429" y="420"/>
                  </a:lnTo>
                  <a:close/>
                  <a:moveTo>
                    <a:pt x="452" y="443"/>
                  </a:moveTo>
                  <a:lnTo>
                    <a:pt x="461" y="452"/>
                  </a:lnTo>
                  <a:lnTo>
                    <a:pt x="452" y="461"/>
                  </a:lnTo>
                  <a:lnTo>
                    <a:pt x="443" y="452"/>
                  </a:lnTo>
                  <a:lnTo>
                    <a:pt x="452" y="443"/>
                  </a:lnTo>
                  <a:close/>
                  <a:moveTo>
                    <a:pt x="470" y="461"/>
                  </a:moveTo>
                  <a:lnTo>
                    <a:pt x="479" y="470"/>
                  </a:lnTo>
                  <a:lnTo>
                    <a:pt x="470" y="479"/>
                  </a:lnTo>
                  <a:lnTo>
                    <a:pt x="461" y="470"/>
                  </a:lnTo>
                  <a:lnTo>
                    <a:pt x="470" y="461"/>
                  </a:lnTo>
                  <a:close/>
                  <a:moveTo>
                    <a:pt x="488" y="479"/>
                  </a:moveTo>
                  <a:lnTo>
                    <a:pt x="497" y="488"/>
                  </a:lnTo>
                  <a:lnTo>
                    <a:pt x="488" y="497"/>
                  </a:lnTo>
                  <a:lnTo>
                    <a:pt x="479" y="488"/>
                  </a:lnTo>
                  <a:lnTo>
                    <a:pt x="488" y="479"/>
                  </a:lnTo>
                  <a:close/>
                  <a:moveTo>
                    <a:pt x="506" y="497"/>
                  </a:moveTo>
                  <a:lnTo>
                    <a:pt x="520" y="506"/>
                  </a:lnTo>
                  <a:lnTo>
                    <a:pt x="506" y="520"/>
                  </a:lnTo>
                  <a:lnTo>
                    <a:pt x="497" y="506"/>
                  </a:lnTo>
                  <a:lnTo>
                    <a:pt x="506" y="497"/>
                  </a:lnTo>
                  <a:close/>
                  <a:moveTo>
                    <a:pt x="529" y="520"/>
                  </a:moveTo>
                  <a:lnTo>
                    <a:pt x="538" y="529"/>
                  </a:lnTo>
                  <a:lnTo>
                    <a:pt x="529" y="538"/>
                  </a:lnTo>
                  <a:lnTo>
                    <a:pt x="520" y="529"/>
                  </a:lnTo>
                  <a:lnTo>
                    <a:pt x="529" y="520"/>
                  </a:lnTo>
                  <a:close/>
                  <a:moveTo>
                    <a:pt x="547" y="538"/>
                  </a:moveTo>
                  <a:lnTo>
                    <a:pt x="556" y="547"/>
                  </a:lnTo>
                  <a:lnTo>
                    <a:pt x="547" y="556"/>
                  </a:lnTo>
                  <a:lnTo>
                    <a:pt x="538" y="547"/>
                  </a:lnTo>
                  <a:lnTo>
                    <a:pt x="547" y="538"/>
                  </a:lnTo>
                  <a:close/>
                  <a:moveTo>
                    <a:pt x="565" y="556"/>
                  </a:moveTo>
                  <a:lnTo>
                    <a:pt x="574" y="565"/>
                  </a:lnTo>
                  <a:lnTo>
                    <a:pt x="565" y="574"/>
                  </a:lnTo>
                  <a:lnTo>
                    <a:pt x="556" y="565"/>
                  </a:lnTo>
                  <a:lnTo>
                    <a:pt x="565" y="556"/>
                  </a:lnTo>
                  <a:close/>
                  <a:moveTo>
                    <a:pt x="583" y="574"/>
                  </a:moveTo>
                  <a:lnTo>
                    <a:pt x="597" y="583"/>
                  </a:lnTo>
                  <a:lnTo>
                    <a:pt x="583" y="596"/>
                  </a:lnTo>
                  <a:lnTo>
                    <a:pt x="574" y="583"/>
                  </a:lnTo>
                  <a:lnTo>
                    <a:pt x="583" y="574"/>
                  </a:lnTo>
                  <a:close/>
                  <a:moveTo>
                    <a:pt x="606" y="596"/>
                  </a:moveTo>
                  <a:lnTo>
                    <a:pt x="615" y="606"/>
                  </a:lnTo>
                  <a:lnTo>
                    <a:pt x="606" y="615"/>
                  </a:lnTo>
                  <a:lnTo>
                    <a:pt x="597" y="606"/>
                  </a:lnTo>
                  <a:lnTo>
                    <a:pt x="606" y="596"/>
                  </a:lnTo>
                  <a:close/>
                  <a:moveTo>
                    <a:pt x="624" y="615"/>
                  </a:moveTo>
                  <a:lnTo>
                    <a:pt x="624" y="615"/>
                  </a:lnTo>
                  <a:lnTo>
                    <a:pt x="615" y="624"/>
                  </a:lnTo>
                  <a:lnTo>
                    <a:pt x="615" y="624"/>
                  </a:lnTo>
                  <a:lnTo>
                    <a:pt x="624" y="61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66" name="Freeform 65"/>
            <p:cNvSpPr>
              <a:spLocks noEditPoints="1"/>
            </p:cNvSpPr>
            <p:nvPr/>
          </p:nvSpPr>
          <p:spPr bwMode="auto">
            <a:xfrm>
              <a:off x="1937940" y="2607589"/>
              <a:ext cx="990600" cy="1276350"/>
            </a:xfrm>
            <a:custGeom>
              <a:avLst/>
              <a:gdLst/>
              <a:ahLst/>
              <a:cxnLst>
                <a:cxn ang="0">
                  <a:pos x="9" y="18"/>
                </a:cxn>
                <a:cxn ang="0">
                  <a:pos x="27" y="22"/>
                </a:cxn>
                <a:cxn ang="0">
                  <a:pos x="18" y="31"/>
                </a:cxn>
                <a:cxn ang="0">
                  <a:pos x="50" y="54"/>
                </a:cxn>
                <a:cxn ang="0">
                  <a:pos x="45" y="45"/>
                </a:cxn>
                <a:cxn ang="0">
                  <a:pos x="59" y="86"/>
                </a:cxn>
                <a:cxn ang="0">
                  <a:pos x="77" y="86"/>
                </a:cxn>
                <a:cxn ang="0">
                  <a:pos x="68" y="95"/>
                </a:cxn>
                <a:cxn ang="0">
                  <a:pos x="99" y="117"/>
                </a:cxn>
                <a:cxn ang="0">
                  <a:pos x="95" y="108"/>
                </a:cxn>
                <a:cxn ang="0">
                  <a:pos x="108" y="149"/>
                </a:cxn>
                <a:cxn ang="0">
                  <a:pos x="126" y="149"/>
                </a:cxn>
                <a:cxn ang="0">
                  <a:pos x="117" y="158"/>
                </a:cxn>
                <a:cxn ang="0">
                  <a:pos x="149" y="181"/>
                </a:cxn>
                <a:cxn ang="0">
                  <a:pos x="144" y="171"/>
                </a:cxn>
                <a:cxn ang="0">
                  <a:pos x="158" y="212"/>
                </a:cxn>
                <a:cxn ang="0">
                  <a:pos x="176" y="217"/>
                </a:cxn>
                <a:cxn ang="0">
                  <a:pos x="167" y="221"/>
                </a:cxn>
                <a:cxn ang="0">
                  <a:pos x="199" y="248"/>
                </a:cxn>
                <a:cxn ang="0">
                  <a:pos x="194" y="235"/>
                </a:cxn>
                <a:cxn ang="0">
                  <a:pos x="208" y="275"/>
                </a:cxn>
                <a:cxn ang="0">
                  <a:pos x="226" y="280"/>
                </a:cxn>
                <a:cxn ang="0">
                  <a:pos x="217" y="289"/>
                </a:cxn>
                <a:cxn ang="0">
                  <a:pos x="248" y="312"/>
                </a:cxn>
                <a:cxn ang="0">
                  <a:pos x="244" y="303"/>
                </a:cxn>
                <a:cxn ang="0">
                  <a:pos x="257" y="343"/>
                </a:cxn>
                <a:cxn ang="0">
                  <a:pos x="276" y="343"/>
                </a:cxn>
                <a:cxn ang="0">
                  <a:pos x="267" y="352"/>
                </a:cxn>
                <a:cxn ang="0">
                  <a:pos x="298" y="375"/>
                </a:cxn>
                <a:cxn ang="0">
                  <a:pos x="294" y="366"/>
                </a:cxn>
                <a:cxn ang="0">
                  <a:pos x="307" y="407"/>
                </a:cxn>
                <a:cxn ang="0">
                  <a:pos x="325" y="407"/>
                </a:cxn>
                <a:cxn ang="0">
                  <a:pos x="316" y="416"/>
                </a:cxn>
                <a:cxn ang="0">
                  <a:pos x="348" y="438"/>
                </a:cxn>
                <a:cxn ang="0">
                  <a:pos x="343" y="429"/>
                </a:cxn>
                <a:cxn ang="0">
                  <a:pos x="357" y="470"/>
                </a:cxn>
                <a:cxn ang="0">
                  <a:pos x="375" y="474"/>
                </a:cxn>
                <a:cxn ang="0">
                  <a:pos x="366" y="479"/>
                </a:cxn>
                <a:cxn ang="0">
                  <a:pos x="398" y="506"/>
                </a:cxn>
                <a:cxn ang="0">
                  <a:pos x="393" y="492"/>
                </a:cxn>
                <a:cxn ang="0">
                  <a:pos x="407" y="533"/>
                </a:cxn>
                <a:cxn ang="0">
                  <a:pos x="425" y="538"/>
                </a:cxn>
                <a:cxn ang="0">
                  <a:pos x="416" y="547"/>
                </a:cxn>
                <a:cxn ang="0">
                  <a:pos x="447" y="569"/>
                </a:cxn>
                <a:cxn ang="0">
                  <a:pos x="443" y="560"/>
                </a:cxn>
                <a:cxn ang="0">
                  <a:pos x="456" y="601"/>
                </a:cxn>
                <a:cxn ang="0">
                  <a:pos x="474" y="601"/>
                </a:cxn>
                <a:cxn ang="0">
                  <a:pos x="465" y="610"/>
                </a:cxn>
                <a:cxn ang="0">
                  <a:pos x="497" y="633"/>
                </a:cxn>
                <a:cxn ang="0">
                  <a:pos x="493" y="623"/>
                </a:cxn>
                <a:cxn ang="0">
                  <a:pos x="506" y="664"/>
                </a:cxn>
                <a:cxn ang="0">
                  <a:pos x="524" y="664"/>
                </a:cxn>
                <a:cxn ang="0">
                  <a:pos x="515" y="673"/>
                </a:cxn>
                <a:cxn ang="0">
                  <a:pos x="547" y="696"/>
                </a:cxn>
                <a:cxn ang="0">
                  <a:pos x="542" y="687"/>
                </a:cxn>
                <a:cxn ang="0">
                  <a:pos x="556" y="727"/>
                </a:cxn>
                <a:cxn ang="0">
                  <a:pos x="574" y="732"/>
                </a:cxn>
                <a:cxn ang="0">
                  <a:pos x="565" y="736"/>
                </a:cxn>
                <a:cxn ang="0">
                  <a:pos x="597" y="764"/>
                </a:cxn>
                <a:cxn ang="0">
                  <a:pos x="592" y="750"/>
                </a:cxn>
                <a:cxn ang="0">
                  <a:pos x="606" y="791"/>
                </a:cxn>
                <a:cxn ang="0">
                  <a:pos x="624" y="795"/>
                </a:cxn>
                <a:cxn ang="0">
                  <a:pos x="615" y="804"/>
                </a:cxn>
              </a:cxnLst>
              <a:rect l="0" t="0" r="r" b="b"/>
              <a:pathLst>
                <a:path w="624" h="804">
                  <a:moveTo>
                    <a:pt x="9" y="0"/>
                  </a:moveTo>
                  <a:lnTo>
                    <a:pt x="18" y="13"/>
                  </a:lnTo>
                  <a:lnTo>
                    <a:pt x="9" y="18"/>
                  </a:lnTo>
                  <a:lnTo>
                    <a:pt x="0" y="9"/>
                  </a:lnTo>
                  <a:lnTo>
                    <a:pt x="9" y="0"/>
                  </a:lnTo>
                  <a:close/>
                  <a:moveTo>
                    <a:pt x="27" y="22"/>
                  </a:moveTo>
                  <a:lnTo>
                    <a:pt x="36" y="31"/>
                  </a:lnTo>
                  <a:lnTo>
                    <a:pt x="22" y="40"/>
                  </a:lnTo>
                  <a:lnTo>
                    <a:pt x="18" y="31"/>
                  </a:lnTo>
                  <a:lnTo>
                    <a:pt x="27" y="22"/>
                  </a:lnTo>
                  <a:close/>
                  <a:moveTo>
                    <a:pt x="45" y="45"/>
                  </a:moveTo>
                  <a:lnTo>
                    <a:pt x="50" y="54"/>
                  </a:lnTo>
                  <a:lnTo>
                    <a:pt x="40" y="63"/>
                  </a:lnTo>
                  <a:lnTo>
                    <a:pt x="31" y="49"/>
                  </a:lnTo>
                  <a:lnTo>
                    <a:pt x="45" y="45"/>
                  </a:lnTo>
                  <a:close/>
                  <a:moveTo>
                    <a:pt x="59" y="63"/>
                  </a:moveTo>
                  <a:lnTo>
                    <a:pt x="68" y="77"/>
                  </a:lnTo>
                  <a:lnTo>
                    <a:pt x="59" y="86"/>
                  </a:lnTo>
                  <a:lnTo>
                    <a:pt x="50" y="72"/>
                  </a:lnTo>
                  <a:lnTo>
                    <a:pt x="59" y="63"/>
                  </a:lnTo>
                  <a:close/>
                  <a:moveTo>
                    <a:pt x="77" y="86"/>
                  </a:moveTo>
                  <a:lnTo>
                    <a:pt x="86" y="99"/>
                  </a:lnTo>
                  <a:lnTo>
                    <a:pt x="72" y="104"/>
                  </a:lnTo>
                  <a:lnTo>
                    <a:pt x="68" y="95"/>
                  </a:lnTo>
                  <a:lnTo>
                    <a:pt x="77" y="86"/>
                  </a:lnTo>
                  <a:close/>
                  <a:moveTo>
                    <a:pt x="95" y="108"/>
                  </a:moveTo>
                  <a:lnTo>
                    <a:pt x="99" y="117"/>
                  </a:lnTo>
                  <a:lnTo>
                    <a:pt x="90" y="126"/>
                  </a:lnTo>
                  <a:lnTo>
                    <a:pt x="81" y="117"/>
                  </a:lnTo>
                  <a:lnTo>
                    <a:pt x="95" y="108"/>
                  </a:lnTo>
                  <a:close/>
                  <a:moveTo>
                    <a:pt x="108" y="131"/>
                  </a:moveTo>
                  <a:lnTo>
                    <a:pt x="117" y="140"/>
                  </a:lnTo>
                  <a:lnTo>
                    <a:pt x="108" y="149"/>
                  </a:lnTo>
                  <a:lnTo>
                    <a:pt x="99" y="135"/>
                  </a:lnTo>
                  <a:lnTo>
                    <a:pt x="108" y="131"/>
                  </a:lnTo>
                  <a:close/>
                  <a:moveTo>
                    <a:pt x="126" y="149"/>
                  </a:moveTo>
                  <a:lnTo>
                    <a:pt x="135" y="162"/>
                  </a:lnTo>
                  <a:lnTo>
                    <a:pt x="122" y="171"/>
                  </a:lnTo>
                  <a:lnTo>
                    <a:pt x="117" y="158"/>
                  </a:lnTo>
                  <a:lnTo>
                    <a:pt x="126" y="149"/>
                  </a:lnTo>
                  <a:close/>
                  <a:moveTo>
                    <a:pt x="144" y="171"/>
                  </a:moveTo>
                  <a:lnTo>
                    <a:pt x="149" y="181"/>
                  </a:lnTo>
                  <a:lnTo>
                    <a:pt x="140" y="190"/>
                  </a:lnTo>
                  <a:lnTo>
                    <a:pt x="131" y="181"/>
                  </a:lnTo>
                  <a:lnTo>
                    <a:pt x="144" y="171"/>
                  </a:lnTo>
                  <a:close/>
                  <a:moveTo>
                    <a:pt x="158" y="194"/>
                  </a:moveTo>
                  <a:lnTo>
                    <a:pt x="167" y="203"/>
                  </a:lnTo>
                  <a:lnTo>
                    <a:pt x="158" y="212"/>
                  </a:lnTo>
                  <a:lnTo>
                    <a:pt x="149" y="203"/>
                  </a:lnTo>
                  <a:lnTo>
                    <a:pt x="158" y="194"/>
                  </a:lnTo>
                  <a:close/>
                  <a:moveTo>
                    <a:pt x="176" y="217"/>
                  </a:moveTo>
                  <a:lnTo>
                    <a:pt x="185" y="226"/>
                  </a:lnTo>
                  <a:lnTo>
                    <a:pt x="172" y="235"/>
                  </a:lnTo>
                  <a:lnTo>
                    <a:pt x="167" y="221"/>
                  </a:lnTo>
                  <a:lnTo>
                    <a:pt x="176" y="217"/>
                  </a:lnTo>
                  <a:close/>
                  <a:moveTo>
                    <a:pt x="194" y="235"/>
                  </a:moveTo>
                  <a:lnTo>
                    <a:pt x="199" y="248"/>
                  </a:lnTo>
                  <a:lnTo>
                    <a:pt x="190" y="257"/>
                  </a:lnTo>
                  <a:lnTo>
                    <a:pt x="181" y="244"/>
                  </a:lnTo>
                  <a:lnTo>
                    <a:pt x="194" y="235"/>
                  </a:lnTo>
                  <a:close/>
                  <a:moveTo>
                    <a:pt x="208" y="257"/>
                  </a:moveTo>
                  <a:lnTo>
                    <a:pt x="217" y="266"/>
                  </a:lnTo>
                  <a:lnTo>
                    <a:pt x="208" y="275"/>
                  </a:lnTo>
                  <a:lnTo>
                    <a:pt x="199" y="266"/>
                  </a:lnTo>
                  <a:lnTo>
                    <a:pt x="208" y="257"/>
                  </a:lnTo>
                  <a:close/>
                  <a:moveTo>
                    <a:pt x="226" y="280"/>
                  </a:moveTo>
                  <a:lnTo>
                    <a:pt x="235" y="289"/>
                  </a:lnTo>
                  <a:lnTo>
                    <a:pt x="221" y="298"/>
                  </a:lnTo>
                  <a:lnTo>
                    <a:pt x="217" y="289"/>
                  </a:lnTo>
                  <a:lnTo>
                    <a:pt x="226" y="280"/>
                  </a:lnTo>
                  <a:close/>
                  <a:moveTo>
                    <a:pt x="244" y="303"/>
                  </a:moveTo>
                  <a:lnTo>
                    <a:pt x="248" y="312"/>
                  </a:lnTo>
                  <a:lnTo>
                    <a:pt x="239" y="321"/>
                  </a:lnTo>
                  <a:lnTo>
                    <a:pt x="230" y="307"/>
                  </a:lnTo>
                  <a:lnTo>
                    <a:pt x="244" y="303"/>
                  </a:lnTo>
                  <a:close/>
                  <a:moveTo>
                    <a:pt x="257" y="321"/>
                  </a:moveTo>
                  <a:lnTo>
                    <a:pt x="267" y="334"/>
                  </a:lnTo>
                  <a:lnTo>
                    <a:pt x="257" y="343"/>
                  </a:lnTo>
                  <a:lnTo>
                    <a:pt x="248" y="330"/>
                  </a:lnTo>
                  <a:lnTo>
                    <a:pt x="257" y="321"/>
                  </a:lnTo>
                  <a:close/>
                  <a:moveTo>
                    <a:pt x="276" y="343"/>
                  </a:moveTo>
                  <a:lnTo>
                    <a:pt x="285" y="352"/>
                  </a:lnTo>
                  <a:lnTo>
                    <a:pt x="271" y="361"/>
                  </a:lnTo>
                  <a:lnTo>
                    <a:pt x="267" y="352"/>
                  </a:lnTo>
                  <a:lnTo>
                    <a:pt x="276" y="343"/>
                  </a:lnTo>
                  <a:close/>
                  <a:moveTo>
                    <a:pt x="294" y="366"/>
                  </a:moveTo>
                  <a:lnTo>
                    <a:pt x="298" y="375"/>
                  </a:lnTo>
                  <a:lnTo>
                    <a:pt x="289" y="384"/>
                  </a:lnTo>
                  <a:lnTo>
                    <a:pt x="280" y="375"/>
                  </a:lnTo>
                  <a:lnTo>
                    <a:pt x="294" y="366"/>
                  </a:lnTo>
                  <a:close/>
                  <a:moveTo>
                    <a:pt x="307" y="388"/>
                  </a:moveTo>
                  <a:lnTo>
                    <a:pt x="316" y="397"/>
                  </a:lnTo>
                  <a:lnTo>
                    <a:pt x="307" y="407"/>
                  </a:lnTo>
                  <a:lnTo>
                    <a:pt x="298" y="393"/>
                  </a:lnTo>
                  <a:lnTo>
                    <a:pt x="307" y="388"/>
                  </a:lnTo>
                  <a:close/>
                  <a:moveTo>
                    <a:pt x="325" y="407"/>
                  </a:moveTo>
                  <a:lnTo>
                    <a:pt x="334" y="420"/>
                  </a:lnTo>
                  <a:lnTo>
                    <a:pt x="321" y="429"/>
                  </a:lnTo>
                  <a:lnTo>
                    <a:pt x="316" y="416"/>
                  </a:lnTo>
                  <a:lnTo>
                    <a:pt x="325" y="407"/>
                  </a:lnTo>
                  <a:close/>
                  <a:moveTo>
                    <a:pt x="343" y="429"/>
                  </a:moveTo>
                  <a:lnTo>
                    <a:pt x="348" y="438"/>
                  </a:lnTo>
                  <a:lnTo>
                    <a:pt x="339" y="447"/>
                  </a:lnTo>
                  <a:lnTo>
                    <a:pt x="330" y="438"/>
                  </a:lnTo>
                  <a:lnTo>
                    <a:pt x="343" y="429"/>
                  </a:lnTo>
                  <a:close/>
                  <a:moveTo>
                    <a:pt x="357" y="452"/>
                  </a:moveTo>
                  <a:lnTo>
                    <a:pt x="366" y="461"/>
                  </a:lnTo>
                  <a:lnTo>
                    <a:pt x="357" y="470"/>
                  </a:lnTo>
                  <a:lnTo>
                    <a:pt x="348" y="461"/>
                  </a:lnTo>
                  <a:lnTo>
                    <a:pt x="357" y="452"/>
                  </a:lnTo>
                  <a:close/>
                  <a:moveTo>
                    <a:pt x="375" y="474"/>
                  </a:moveTo>
                  <a:lnTo>
                    <a:pt x="384" y="483"/>
                  </a:lnTo>
                  <a:lnTo>
                    <a:pt x="370" y="492"/>
                  </a:lnTo>
                  <a:lnTo>
                    <a:pt x="366" y="479"/>
                  </a:lnTo>
                  <a:lnTo>
                    <a:pt x="375" y="474"/>
                  </a:lnTo>
                  <a:close/>
                  <a:moveTo>
                    <a:pt x="393" y="492"/>
                  </a:moveTo>
                  <a:lnTo>
                    <a:pt x="398" y="506"/>
                  </a:lnTo>
                  <a:lnTo>
                    <a:pt x="389" y="515"/>
                  </a:lnTo>
                  <a:lnTo>
                    <a:pt x="380" y="501"/>
                  </a:lnTo>
                  <a:lnTo>
                    <a:pt x="393" y="492"/>
                  </a:lnTo>
                  <a:close/>
                  <a:moveTo>
                    <a:pt x="407" y="515"/>
                  </a:moveTo>
                  <a:lnTo>
                    <a:pt x="416" y="524"/>
                  </a:lnTo>
                  <a:lnTo>
                    <a:pt x="407" y="533"/>
                  </a:lnTo>
                  <a:lnTo>
                    <a:pt x="398" y="524"/>
                  </a:lnTo>
                  <a:lnTo>
                    <a:pt x="407" y="515"/>
                  </a:lnTo>
                  <a:close/>
                  <a:moveTo>
                    <a:pt x="425" y="538"/>
                  </a:moveTo>
                  <a:lnTo>
                    <a:pt x="434" y="547"/>
                  </a:lnTo>
                  <a:lnTo>
                    <a:pt x="420" y="556"/>
                  </a:lnTo>
                  <a:lnTo>
                    <a:pt x="416" y="547"/>
                  </a:lnTo>
                  <a:lnTo>
                    <a:pt x="425" y="538"/>
                  </a:lnTo>
                  <a:close/>
                  <a:moveTo>
                    <a:pt x="443" y="560"/>
                  </a:moveTo>
                  <a:lnTo>
                    <a:pt x="447" y="569"/>
                  </a:lnTo>
                  <a:lnTo>
                    <a:pt x="438" y="578"/>
                  </a:lnTo>
                  <a:lnTo>
                    <a:pt x="429" y="565"/>
                  </a:lnTo>
                  <a:lnTo>
                    <a:pt x="443" y="560"/>
                  </a:lnTo>
                  <a:close/>
                  <a:moveTo>
                    <a:pt x="456" y="578"/>
                  </a:moveTo>
                  <a:lnTo>
                    <a:pt x="465" y="592"/>
                  </a:lnTo>
                  <a:lnTo>
                    <a:pt x="456" y="601"/>
                  </a:lnTo>
                  <a:lnTo>
                    <a:pt x="447" y="587"/>
                  </a:lnTo>
                  <a:lnTo>
                    <a:pt x="456" y="578"/>
                  </a:lnTo>
                  <a:close/>
                  <a:moveTo>
                    <a:pt x="474" y="601"/>
                  </a:moveTo>
                  <a:lnTo>
                    <a:pt x="483" y="610"/>
                  </a:lnTo>
                  <a:lnTo>
                    <a:pt x="470" y="619"/>
                  </a:lnTo>
                  <a:lnTo>
                    <a:pt x="465" y="610"/>
                  </a:lnTo>
                  <a:lnTo>
                    <a:pt x="474" y="601"/>
                  </a:lnTo>
                  <a:close/>
                  <a:moveTo>
                    <a:pt x="493" y="623"/>
                  </a:moveTo>
                  <a:lnTo>
                    <a:pt x="497" y="633"/>
                  </a:lnTo>
                  <a:lnTo>
                    <a:pt x="488" y="642"/>
                  </a:lnTo>
                  <a:lnTo>
                    <a:pt x="479" y="633"/>
                  </a:lnTo>
                  <a:lnTo>
                    <a:pt x="493" y="623"/>
                  </a:lnTo>
                  <a:close/>
                  <a:moveTo>
                    <a:pt x="506" y="646"/>
                  </a:moveTo>
                  <a:lnTo>
                    <a:pt x="515" y="655"/>
                  </a:lnTo>
                  <a:lnTo>
                    <a:pt x="506" y="664"/>
                  </a:lnTo>
                  <a:lnTo>
                    <a:pt x="497" y="651"/>
                  </a:lnTo>
                  <a:lnTo>
                    <a:pt x="506" y="646"/>
                  </a:lnTo>
                  <a:close/>
                  <a:moveTo>
                    <a:pt x="524" y="664"/>
                  </a:moveTo>
                  <a:lnTo>
                    <a:pt x="533" y="678"/>
                  </a:lnTo>
                  <a:lnTo>
                    <a:pt x="520" y="687"/>
                  </a:lnTo>
                  <a:lnTo>
                    <a:pt x="515" y="673"/>
                  </a:lnTo>
                  <a:lnTo>
                    <a:pt x="524" y="664"/>
                  </a:lnTo>
                  <a:close/>
                  <a:moveTo>
                    <a:pt x="542" y="687"/>
                  </a:moveTo>
                  <a:lnTo>
                    <a:pt x="547" y="696"/>
                  </a:lnTo>
                  <a:lnTo>
                    <a:pt x="538" y="705"/>
                  </a:lnTo>
                  <a:lnTo>
                    <a:pt x="529" y="696"/>
                  </a:lnTo>
                  <a:lnTo>
                    <a:pt x="542" y="687"/>
                  </a:lnTo>
                  <a:close/>
                  <a:moveTo>
                    <a:pt x="556" y="709"/>
                  </a:moveTo>
                  <a:lnTo>
                    <a:pt x="565" y="718"/>
                  </a:lnTo>
                  <a:lnTo>
                    <a:pt x="556" y="727"/>
                  </a:lnTo>
                  <a:lnTo>
                    <a:pt x="547" y="718"/>
                  </a:lnTo>
                  <a:lnTo>
                    <a:pt x="556" y="709"/>
                  </a:lnTo>
                  <a:close/>
                  <a:moveTo>
                    <a:pt x="574" y="732"/>
                  </a:moveTo>
                  <a:lnTo>
                    <a:pt x="583" y="741"/>
                  </a:lnTo>
                  <a:lnTo>
                    <a:pt x="569" y="750"/>
                  </a:lnTo>
                  <a:lnTo>
                    <a:pt x="565" y="736"/>
                  </a:lnTo>
                  <a:lnTo>
                    <a:pt x="574" y="732"/>
                  </a:lnTo>
                  <a:close/>
                  <a:moveTo>
                    <a:pt x="592" y="750"/>
                  </a:moveTo>
                  <a:lnTo>
                    <a:pt x="597" y="764"/>
                  </a:lnTo>
                  <a:lnTo>
                    <a:pt x="587" y="773"/>
                  </a:lnTo>
                  <a:lnTo>
                    <a:pt x="578" y="759"/>
                  </a:lnTo>
                  <a:lnTo>
                    <a:pt x="592" y="750"/>
                  </a:lnTo>
                  <a:close/>
                  <a:moveTo>
                    <a:pt x="606" y="773"/>
                  </a:moveTo>
                  <a:lnTo>
                    <a:pt x="615" y="782"/>
                  </a:lnTo>
                  <a:lnTo>
                    <a:pt x="606" y="791"/>
                  </a:lnTo>
                  <a:lnTo>
                    <a:pt x="597" y="782"/>
                  </a:lnTo>
                  <a:lnTo>
                    <a:pt x="606" y="773"/>
                  </a:lnTo>
                  <a:close/>
                  <a:moveTo>
                    <a:pt x="624" y="795"/>
                  </a:moveTo>
                  <a:lnTo>
                    <a:pt x="624" y="795"/>
                  </a:lnTo>
                  <a:lnTo>
                    <a:pt x="615" y="804"/>
                  </a:lnTo>
                  <a:lnTo>
                    <a:pt x="615" y="804"/>
                  </a:lnTo>
                  <a:lnTo>
                    <a:pt x="624" y="79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67" name="Freeform 66"/>
            <p:cNvSpPr>
              <a:spLocks noEditPoints="1"/>
            </p:cNvSpPr>
            <p:nvPr/>
          </p:nvSpPr>
          <p:spPr bwMode="auto">
            <a:xfrm>
              <a:off x="1937940" y="2147214"/>
              <a:ext cx="990600" cy="1614488"/>
            </a:xfrm>
            <a:custGeom>
              <a:avLst/>
              <a:gdLst/>
              <a:ahLst/>
              <a:cxnLst>
                <a:cxn ang="0">
                  <a:pos x="0" y="9"/>
                </a:cxn>
                <a:cxn ang="0">
                  <a:pos x="18" y="46"/>
                </a:cxn>
                <a:cxn ang="0">
                  <a:pos x="45" y="59"/>
                </a:cxn>
                <a:cxn ang="0">
                  <a:pos x="54" y="73"/>
                </a:cxn>
                <a:cxn ang="0">
                  <a:pos x="54" y="73"/>
                </a:cxn>
                <a:cxn ang="0">
                  <a:pos x="54" y="100"/>
                </a:cxn>
                <a:cxn ang="0">
                  <a:pos x="77" y="136"/>
                </a:cxn>
                <a:cxn ang="0">
                  <a:pos x="104" y="154"/>
                </a:cxn>
                <a:cxn ang="0">
                  <a:pos x="108" y="163"/>
                </a:cxn>
                <a:cxn ang="0">
                  <a:pos x="108" y="163"/>
                </a:cxn>
                <a:cxn ang="0">
                  <a:pos x="113" y="195"/>
                </a:cxn>
                <a:cxn ang="0">
                  <a:pos x="131" y="231"/>
                </a:cxn>
                <a:cxn ang="0">
                  <a:pos x="158" y="245"/>
                </a:cxn>
                <a:cxn ang="0">
                  <a:pos x="167" y="258"/>
                </a:cxn>
                <a:cxn ang="0">
                  <a:pos x="167" y="258"/>
                </a:cxn>
                <a:cxn ang="0">
                  <a:pos x="167" y="285"/>
                </a:cxn>
                <a:cxn ang="0">
                  <a:pos x="190" y="321"/>
                </a:cxn>
                <a:cxn ang="0">
                  <a:pos x="212" y="339"/>
                </a:cxn>
                <a:cxn ang="0">
                  <a:pos x="221" y="348"/>
                </a:cxn>
                <a:cxn ang="0">
                  <a:pos x="221" y="348"/>
                </a:cxn>
                <a:cxn ang="0">
                  <a:pos x="226" y="380"/>
                </a:cxn>
                <a:cxn ang="0">
                  <a:pos x="244" y="416"/>
                </a:cxn>
                <a:cxn ang="0">
                  <a:pos x="271" y="430"/>
                </a:cxn>
                <a:cxn ang="0">
                  <a:pos x="280" y="443"/>
                </a:cxn>
                <a:cxn ang="0">
                  <a:pos x="280" y="443"/>
                </a:cxn>
                <a:cxn ang="0">
                  <a:pos x="280" y="471"/>
                </a:cxn>
                <a:cxn ang="0">
                  <a:pos x="303" y="507"/>
                </a:cxn>
                <a:cxn ang="0">
                  <a:pos x="325" y="525"/>
                </a:cxn>
                <a:cxn ang="0">
                  <a:pos x="334" y="534"/>
                </a:cxn>
                <a:cxn ang="0">
                  <a:pos x="334" y="534"/>
                </a:cxn>
                <a:cxn ang="0">
                  <a:pos x="339" y="565"/>
                </a:cxn>
                <a:cxn ang="0">
                  <a:pos x="357" y="602"/>
                </a:cxn>
                <a:cxn ang="0">
                  <a:pos x="384" y="615"/>
                </a:cxn>
                <a:cxn ang="0">
                  <a:pos x="389" y="629"/>
                </a:cxn>
                <a:cxn ang="0">
                  <a:pos x="389" y="629"/>
                </a:cxn>
                <a:cxn ang="0">
                  <a:pos x="393" y="656"/>
                </a:cxn>
                <a:cxn ang="0">
                  <a:pos x="416" y="692"/>
                </a:cxn>
                <a:cxn ang="0">
                  <a:pos x="438" y="710"/>
                </a:cxn>
                <a:cxn ang="0">
                  <a:pos x="447" y="719"/>
                </a:cxn>
                <a:cxn ang="0">
                  <a:pos x="447" y="719"/>
                </a:cxn>
                <a:cxn ang="0">
                  <a:pos x="447" y="751"/>
                </a:cxn>
                <a:cxn ang="0">
                  <a:pos x="470" y="787"/>
                </a:cxn>
                <a:cxn ang="0">
                  <a:pos x="497" y="800"/>
                </a:cxn>
                <a:cxn ang="0">
                  <a:pos x="502" y="814"/>
                </a:cxn>
                <a:cxn ang="0">
                  <a:pos x="502" y="814"/>
                </a:cxn>
                <a:cxn ang="0">
                  <a:pos x="506" y="841"/>
                </a:cxn>
                <a:cxn ang="0">
                  <a:pos x="529" y="877"/>
                </a:cxn>
                <a:cxn ang="0">
                  <a:pos x="551" y="895"/>
                </a:cxn>
                <a:cxn ang="0">
                  <a:pos x="560" y="904"/>
                </a:cxn>
                <a:cxn ang="0">
                  <a:pos x="560" y="904"/>
                </a:cxn>
                <a:cxn ang="0">
                  <a:pos x="560" y="936"/>
                </a:cxn>
                <a:cxn ang="0">
                  <a:pos x="583" y="972"/>
                </a:cxn>
                <a:cxn ang="0">
                  <a:pos x="610" y="986"/>
                </a:cxn>
                <a:cxn ang="0">
                  <a:pos x="615" y="999"/>
                </a:cxn>
                <a:cxn ang="0">
                  <a:pos x="615" y="999"/>
                </a:cxn>
              </a:cxnLst>
              <a:rect l="0" t="0" r="r" b="b"/>
              <a:pathLst>
                <a:path w="624" h="1017">
                  <a:moveTo>
                    <a:pt x="9" y="0"/>
                  </a:moveTo>
                  <a:lnTo>
                    <a:pt x="18" y="14"/>
                  </a:lnTo>
                  <a:lnTo>
                    <a:pt x="4" y="19"/>
                  </a:lnTo>
                  <a:lnTo>
                    <a:pt x="0" y="9"/>
                  </a:lnTo>
                  <a:lnTo>
                    <a:pt x="9" y="0"/>
                  </a:lnTo>
                  <a:close/>
                  <a:moveTo>
                    <a:pt x="22" y="23"/>
                  </a:moveTo>
                  <a:lnTo>
                    <a:pt x="31" y="37"/>
                  </a:lnTo>
                  <a:lnTo>
                    <a:pt x="18" y="46"/>
                  </a:lnTo>
                  <a:lnTo>
                    <a:pt x="13" y="32"/>
                  </a:lnTo>
                  <a:lnTo>
                    <a:pt x="22" y="23"/>
                  </a:lnTo>
                  <a:close/>
                  <a:moveTo>
                    <a:pt x="40" y="50"/>
                  </a:moveTo>
                  <a:lnTo>
                    <a:pt x="45" y="59"/>
                  </a:lnTo>
                  <a:lnTo>
                    <a:pt x="36" y="68"/>
                  </a:lnTo>
                  <a:lnTo>
                    <a:pt x="27" y="55"/>
                  </a:lnTo>
                  <a:lnTo>
                    <a:pt x="40" y="50"/>
                  </a:lnTo>
                  <a:close/>
                  <a:moveTo>
                    <a:pt x="54" y="73"/>
                  </a:moveTo>
                  <a:lnTo>
                    <a:pt x="59" y="82"/>
                  </a:lnTo>
                  <a:lnTo>
                    <a:pt x="50" y="91"/>
                  </a:lnTo>
                  <a:lnTo>
                    <a:pt x="40" y="77"/>
                  </a:lnTo>
                  <a:lnTo>
                    <a:pt x="54" y="73"/>
                  </a:lnTo>
                  <a:close/>
                  <a:moveTo>
                    <a:pt x="68" y="95"/>
                  </a:moveTo>
                  <a:lnTo>
                    <a:pt x="72" y="104"/>
                  </a:lnTo>
                  <a:lnTo>
                    <a:pt x="63" y="113"/>
                  </a:lnTo>
                  <a:lnTo>
                    <a:pt x="54" y="100"/>
                  </a:lnTo>
                  <a:lnTo>
                    <a:pt x="68" y="95"/>
                  </a:lnTo>
                  <a:close/>
                  <a:moveTo>
                    <a:pt x="81" y="118"/>
                  </a:moveTo>
                  <a:lnTo>
                    <a:pt x="86" y="127"/>
                  </a:lnTo>
                  <a:lnTo>
                    <a:pt x="77" y="136"/>
                  </a:lnTo>
                  <a:lnTo>
                    <a:pt x="68" y="122"/>
                  </a:lnTo>
                  <a:lnTo>
                    <a:pt x="81" y="118"/>
                  </a:lnTo>
                  <a:close/>
                  <a:moveTo>
                    <a:pt x="95" y="141"/>
                  </a:moveTo>
                  <a:lnTo>
                    <a:pt x="104" y="154"/>
                  </a:lnTo>
                  <a:lnTo>
                    <a:pt x="90" y="159"/>
                  </a:lnTo>
                  <a:lnTo>
                    <a:pt x="81" y="150"/>
                  </a:lnTo>
                  <a:lnTo>
                    <a:pt x="95" y="141"/>
                  </a:lnTo>
                  <a:close/>
                  <a:moveTo>
                    <a:pt x="108" y="163"/>
                  </a:moveTo>
                  <a:lnTo>
                    <a:pt x="117" y="177"/>
                  </a:lnTo>
                  <a:lnTo>
                    <a:pt x="104" y="181"/>
                  </a:lnTo>
                  <a:lnTo>
                    <a:pt x="99" y="172"/>
                  </a:lnTo>
                  <a:lnTo>
                    <a:pt x="108" y="163"/>
                  </a:lnTo>
                  <a:close/>
                  <a:moveTo>
                    <a:pt x="122" y="186"/>
                  </a:moveTo>
                  <a:lnTo>
                    <a:pt x="131" y="199"/>
                  </a:lnTo>
                  <a:lnTo>
                    <a:pt x="117" y="204"/>
                  </a:lnTo>
                  <a:lnTo>
                    <a:pt x="113" y="195"/>
                  </a:lnTo>
                  <a:lnTo>
                    <a:pt x="122" y="186"/>
                  </a:lnTo>
                  <a:close/>
                  <a:moveTo>
                    <a:pt x="135" y="208"/>
                  </a:moveTo>
                  <a:lnTo>
                    <a:pt x="144" y="222"/>
                  </a:lnTo>
                  <a:lnTo>
                    <a:pt x="131" y="231"/>
                  </a:lnTo>
                  <a:lnTo>
                    <a:pt x="126" y="217"/>
                  </a:lnTo>
                  <a:lnTo>
                    <a:pt x="135" y="208"/>
                  </a:lnTo>
                  <a:close/>
                  <a:moveTo>
                    <a:pt x="149" y="235"/>
                  </a:moveTo>
                  <a:lnTo>
                    <a:pt x="158" y="245"/>
                  </a:lnTo>
                  <a:lnTo>
                    <a:pt x="144" y="254"/>
                  </a:lnTo>
                  <a:lnTo>
                    <a:pt x="140" y="240"/>
                  </a:lnTo>
                  <a:lnTo>
                    <a:pt x="149" y="235"/>
                  </a:lnTo>
                  <a:close/>
                  <a:moveTo>
                    <a:pt x="167" y="258"/>
                  </a:moveTo>
                  <a:lnTo>
                    <a:pt x="172" y="267"/>
                  </a:lnTo>
                  <a:lnTo>
                    <a:pt x="163" y="276"/>
                  </a:lnTo>
                  <a:lnTo>
                    <a:pt x="154" y="263"/>
                  </a:lnTo>
                  <a:lnTo>
                    <a:pt x="167" y="258"/>
                  </a:lnTo>
                  <a:close/>
                  <a:moveTo>
                    <a:pt x="181" y="281"/>
                  </a:moveTo>
                  <a:lnTo>
                    <a:pt x="185" y="290"/>
                  </a:lnTo>
                  <a:lnTo>
                    <a:pt x="176" y="299"/>
                  </a:lnTo>
                  <a:lnTo>
                    <a:pt x="167" y="285"/>
                  </a:lnTo>
                  <a:lnTo>
                    <a:pt x="181" y="281"/>
                  </a:lnTo>
                  <a:close/>
                  <a:moveTo>
                    <a:pt x="194" y="303"/>
                  </a:moveTo>
                  <a:lnTo>
                    <a:pt x="199" y="317"/>
                  </a:lnTo>
                  <a:lnTo>
                    <a:pt x="190" y="321"/>
                  </a:lnTo>
                  <a:lnTo>
                    <a:pt x="181" y="312"/>
                  </a:lnTo>
                  <a:lnTo>
                    <a:pt x="194" y="303"/>
                  </a:lnTo>
                  <a:close/>
                  <a:moveTo>
                    <a:pt x="208" y="326"/>
                  </a:moveTo>
                  <a:lnTo>
                    <a:pt x="212" y="339"/>
                  </a:lnTo>
                  <a:lnTo>
                    <a:pt x="203" y="344"/>
                  </a:lnTo>
                  <a:lnTo>
                    <a:pt x="194" y="335"/>
                  </a:lnTo>
                  <a:lnTo>
                    <a:pt x="208" y="326"/>
                  </a:lnTo>
                  <a:close/>
                  <a:moveTo>
                    <a:pt x="221" y="348"/>
                  </a:moveTo>
                  <a:lnTo>
                    <a:pt x="230" y="362"/>
                  </a:lnTo>
                  <a:lnTo>
                    <a:pt x="217" y="367"/>
                  </a:lnTo>
                  <a:lnTo>
                    <a:pt x="208" y="358"/>
                  </a:lnTo>
                  <a:lnTo>
                    <a:pt x="221" y="348"/>
                  </a:lnTo>
                  <a:close/>
                  <a:moveTo>
                    <a:pt x="235" y="371"/>
                  </a:moveTo>
                  <a:lnTo>
                    <a:pt x="244" y="385"/>
                  </a:lnTo>
                  <a:lnTo>
                    <a:pt x="230" y="389"/>
                  </a:lnTo>
                  <a:lnTo>
                    <a:pt x="226" y="380"/>
                  </a:lnTo>
                  <a:lnTo>
                    <a:pt x="235" y="371"/>
                  </a:lnTo>
                  <a:close/>
                  <a:moveTo>
                    <a:pt x="248" y="394"/>
                  </a:moveTo>
                  <a:lnTo>
                    <a:pt x="257" y="407"/>
                  </a:lnTo>
                  <a:lnTo>
                    <a:pt x="244" y="416"/>
                  </a:lnTo>
                  <a:lnTo>
                    <a:pt x="239" y="403"/>
                  </a:lnTo>
                  <a:lnTo>
                    <a:pt x="248" y="394"/>
                  </a:lnTo>
                  <a:close/>
                  <a:moveTo>
                    <a:pt x="262" y="421"/>
                  </a:moveTo>
                  <a:lnTo>
                    <a:pt x="271" y="430"/>
                  </a:lnTo>
                  <a:lnTo>
                    <a:pt x="257" y="439"/>
                  </a:lnTo>
                  <a:lnTo>
                    <a:pt x="253" y="425"/>
                  </a:lnTo>
                  <a:lnTo>
                    <a:pt x="262" y="421"/>
                  </a:lnTo>
                  <a:close/>
                  <a:moveTo>
                    <a:pt x="280" y="443"/>
                  </a:moveTo>
                  <a:lnTo>
                    <a:pt x="285" y="452"/>
                  </a:lnTo>
                  <a:lnTo>
                    <a:pt x="271" y="461"/>
                  </a:lnTo>
                  <a:lnTo>
                    <a:pt x="267" y="448"/>
                  </a:lnTo>
                  <a:lnTo>
                    <a:pt x="280" y="443"/>
                  </a:lnTo>
                  <a:close/>
                  <a:moveTo>
                    <a:pt x="294" y="466"/>
                  </a:moveTo>
                  <a:lnTo>
                    <a:pt x="298" y="475"/>
                  </a:lnTo>
                  <a:lnTo>
                    <a:pt x="289" y="484"/>
                  </a:lnTo>
                  <a:lnTo>
                    <a:pt x="280" y="471"/>
                  </a:lnTo>
                  <a:lnTo>
                    <a:pt x="294" y="466"/>
                  </a:lnTo>
                  <a:close/>
                  <a:moveTo>
                    <a:pt x="307" y="489"/>
                  </a:moveTo>
                  <a:lnTo>
                    <a:pt x="312" y="502"/>
                  </a:lnTo>
                  <a:lnTo>
                    <a:pt x="303" y="507"/>
                  </a:lnTo>
                  <a:lnTo>
                    <a:pt x="294" y="498"/>
                  </a:lnTo>
                  <a:lnTo>
                    <a:pt x="307" y="489"/>
                  </a:lnTo>
                  <a:close/>
                  <a:moveTo>
                    <a:pt x="321" y="511"/>
                  </a:moveTo>
                  <a:lnTo>
                    <a:pt x="325" y="525"/>
                  </a:lnTo>
                  <a:lnTo>
                    <a:pt x="316" y="529"/>
                  </a:lnTo>
                  <a:lnTo>
                    <a:pt x="307" y="520"/>
                  </a:lnTo>
                  <a:lnTo>
                    <a:pt x="321" y="511"/>
                  </a:lnTo>
                  <a:close/>
                  <a:moveTo>
                    <a:pt x="334" y="534"/>
                  </a:moveTo>
                  <a:lnTo>
                    <a:pt x="343" y="547"/>
                  </a:lnTo>
                  <a:lnTo>
                    <a:pt x="330" y="552"/>
                  </a:lnTo>
                  <a:lnTo>
                    <a:pt x="321" y="543"/>
                  </a:lnTo>
                  <a:lnTo>
                    <a:pt x="334" y="534"/>
                  </a:lnTo>
                  <a:close/>
                  <a:moveTo>
                    <a:pt x="348" y="556"/>
                  </a:moveTo>
                  <a:lnTo>
                    <a:pt x="357" y="570"/>
                  </a:lnTo>
                  <a:lnTo>
                    <a:pt x="343" y="574"/>
                  </a:lnTo>
                  <a:lnTo>
                    <a:pt x="339" y="565"/>
                  </a:lnTo>
                  <a:lnTo>
                    <a:pt x="348" y="556"/>
                  </a:lnTo>
                  <a:close/>
                  <a:moveTo>
                    <a:pt x="361" y="579"/>
                  </a:moveTo>
                  <a:lnTo>
                    <a:pt x="370" y="593"/>
                  </a:lnTo>
                  <a:lnTo>
                    <a:pt x="357" y="602"/>
                  </a:lnTo>
                  <a:lnTo>
                    <a:pt x="352" y="588"/>
                  </a:lnTo>
                  <a:lnTo>
                    <a:pt x="361" y="579"/>
                  </a:lnTo>
                  <a:close/>
                  <a:moveTo>
                    <a:pt x="375" y="606"/>
                  </a:moveTo>
                  <a:lnTo>
                    <a:pt x="384" y="615"/>
                  </a:lnTo>
                  <a:lnTo>
                    <a:pt x="370" y="624"/>
                  </a:lnTo>
                  <a:lnTo>
                    <a:pt x="366" y="611"/>
                  </a:lnTo>
                  <a:lnTo>
                    <a:pt x="375" y="606"/>
                  </a:lnTo>
                  <a:close/>
                  <a:moveTo>
                    <a:pt x="389" y="629"/>
                  </a:moveTo>
                  <a:lnTo>
                    <a:pt x="398" y="638"/>
                  </a:lnTo>
                  <a:lnTo>
                    <a:pt x="384" y="647"/>
                  </a:lnTo>
                  <a:lnTo>
                    <a:pt x="380" y="633"/>
                  </a:lnTo>
                  <a:lnTo>
                    <a:pt x="389" y="629"/>
                  </a:lnTo>
                  <a:close/>
                  <a:moveTo>
                    <a:pt x="407" y="651"/>
                  </a:moveTo>
                  <a:lnTo>
                    <a:pt x="411" y="660"/>
                  </a:lnTo>
                  <a:lnTo>
                    <a:pt x="402" y="669"/>
                  </a:lnTo>
                  <a:lnTo>
                    <a:pt x="393" y="656"/>
                  </a:lnTo>
                  <a:lnTo>
                    <a:pt x="407" y="651"/>
                  </a:lnTo>
                  <a:close/>
                  <a:moveTo>
                    <a:pt x="420" y="674"/>
                  </a:moveTo>
                  <a:lnTo>
                    <a:pt x="425" y="687"/>
                  </a:lnTo>
                  <a:lnTo>
                    <a:pt x="416" y="692"/>
                  </a:lnTo>
                  <a:lnTo>
                    <a:pt x="407" y="683"/>
                  </a:lnTo>
                  <a:lnTo>
                    <a:pt x="420" y="674"/>
                  </a:lnTo>
                  <a:close/>
                  <a:moveTo>
                    <a:pt x="434" y="697"/>
                  </a:moveTo>
                  <a:lnTo>
                    <a:pt x="438" y="710"/>
                  </a:lnTo>
                  <a:lnTo>
                    <a:pt x="429" y="715"/>
                  </a:lnTo>
                  <a:lnTo>
                    <a:pt x="420" y="706"/>
                  </a:lnTo>
                  <a:lnTo>
                    <a:pt x="434" y="697"/>
                  </a:lnTo>
                  <a:close/>
                  <a:moveTo>
                    <a:pt x="447" y="719"/>
                  </a:moveTo>
                  <a:lnTo>
                    <a:pt x="452" y="733"/>
                  </a:lnTo>
                  <a:lnTo>
                    <a:pt x="443" y="737"/>
                  </a:lnTo>
                  <a:lnTo>
                    <a:pt x="434" y="728"/>
                  </a:lnTo>
                  <a:lnTo>
                    <a:pt x="447" y="719"/>
                  </a:lnTo>
                  <a:close/>
                  <a:moveTo>
                    <a:pt x="461" y="742"/>
                  </a:moveTo>
                  <a:lnTo>
                    <a:pt x="470" y="755"/>
                  </a:lnTo>
                  <a:lnTo>
                    <a:pt x="456" y="764"/>
                  </a:lnTo>
                  <a:lnTo>
                    <a:pt x="447" y="751"/>
                  </a:lnTo>
                  <a:lnTo>
                    <a:pt x="461" y="742"/>
                  </a:lnTo>
                  <a:close/>
                  <a:moveTo>
                    <a:pt x="474" y="769"/>
                  </a:moveTo>
                  <a:lnTo>
                    <a:pt x="483" y="778"/>
                  </a:lnTo>
                  <a:lnTo>
                    <a:pt x="470" y="787"/>
                  </a:lnTo>
                  <a:lnTo>
                    <a:pt x="465" y="773"/>
                  </a:lnTo>
                  <a:lnTo>
                    <a:pt x="474" y="769"/>
                  </a:lnTo>
                  <a:close/>
                  <a:moveTo>
                    <a:pt x="488" y="791"/>
                  </a:moveTo>
                  <a:lnTo>
                    <a:pt x="497" y="800"/>
                  </a:lnTo>
                  <a:lnTo>
                    <a:pt x="483" y="810"/>
                  </a:lnTo>
                  <a:lnTo>
                    <a:pt x="479" y="796"/>
                  </a:lnTo>
                  <a:lnTo>
                    <a:pt x="488" y="791"/>
                  </a:lnTo>
                  <a:close/>
                  <a:moveTo>
                    <a:pt x="502" y="814"/>
                  </a:moveTo>
                  <a:lnTo>
                    <a:pt x="511" y="823"/>
                  </a:lnTo>
                  <a:lnTo>
                    <a:pt x="497" y="832"/>
                  </a:lnTo>
                  <a:lnTo>
                    <a:pt x="493" y="819"/>
                  </a:lnTo>
                  <a:lnTo>
                    <a:pt x="502" y="814"/>
                  </a:lnTo>
                  <a:close/>
                  <a:moveTo>
                    <a:pt x="515" y="837"/>
                  </a:moveTo>
                  <a:lnTo>
                    <a:pt x="524" y="846"/>
                  </a:lnTo>
                  <a:lnTo>
                    <a:pt x="511" y="855"/>
                  </a:lnTo>
                  <a:lnTo>
                    <a:pt x="506" y="841"/>
                  </a:lnTo>
                  <a:lnTo>
                    <a:pt x="515" y="837"/>
                  </a:lnTo>
                  <a:close/>
                  <a:moveTo>
                    <a:pt x="533" y="859"/>
                  </a:moveTo>
                  <a:lnTo>
                    <a:pt x="538" y="873"/>
                  </a:lnTo>
                  <a:lnTo>
                    <a:pt x="529" y="877"/>
                  </a:lnTo>
                  <a:lnTo>
                    <a:pt x="520" y="868"/>
                  </a:lnTo>
                  <a:lnTo>
                    <a:pt x="533" y="859"/>
                  </a:lnTo>
                  <a:close/>
                  <a:moveTo>
                    <a:pt x="547" y="882"/>
                  </a:moveTo>
                  <a:lnTo>
                    <a:pt x="551" y="895"/>
                  </a:lnTo>
                  <a:lnTo>
                    <a:pt x="542" y="900"/>
                  </a:lnTo>
                  <a:lnTo>
                    <a:pt x="533" y="891"/>
                  </a:lnTo>
                  <a:lnTo>
                    <a:pt x="547" y="882"/>
                  </a:lnTo>
                  <a:close/>
                  <a:moveTo>
                    <a:pt x="560" y="904"/>
                  </a:moveTo>
                  <a:lnTo>
                    <a:pt x="565" y="918"/>
                  </a:lnTo>
                  <a:lnTo>
                    <a:pt x="556" y="923"/>
                  </a:lnTo>
                  <a:lnTo>
                    <a:pt x="547" y="913"/>
                  </a:lnTo>
                  <a:lnTo>
                    <a:pt x="560" y="904"/>
                  </a:lnTo>
                  <a:close/>
                  <a:moveTo>
                    <a:pt x="574" y="927"/>
                  </a:moveTo>
                  <a:lnTo>
                    <a:pt x="578" y="941"/>
                  </a:lnTo>
                  <a:lnTo>
                    <a:pt x="569" y="950"/>
                  </a:lnTo>
                  <a:lnTo>
                    <a:pt x="560" y="936"/>
                  </a:lnTo>
                  <a:lnTo>
                    <a:pt x="574" y="927"/>
                  </a:lnTo>
                  <a:close/>
                  <a:moveTo>
                    <a:pt x="587" y="954"/>
                  </a:moveTo>
                  <a:lnTo>
                    <a:pt x="597" y="963"/>
                  </a:lnTo>
                  <a:lnTo>
                    <a:pt x="583" y="972"/>
                  </a:lnTo>
                  <a:lnTo>
                    <a:pt x="574" y="959"/>
                  </a:lnTo>
                  <a:lnTo>
                    <a:pt x="587" y="954"/>
                  </a:lnTo>
                  <a:close/>
                  <a:moveTo>
                    <a:pt x="601" y="977"/>
                  </a:moveTo>
                  <a:lnTo>
                    <a:pt x="610" y="986"/>
                  </a:lnTo>
                  <a:lnTo>
                    <a:pt x="597" y="995"/>
                  </a:lnTo>
                  <a:lnTo>
                    <a:pt x="592" y="981"/>
                  </a:lnTo>
                  <a:lnTo>
                    <a:pt x="601" y="977"/>
                  </a:lnTo>
                  <a:close/>
                  <a:moveTo>
                    <a:pt x="615" y="999"/>
                  </a:moveTo>
                  <a:lnTo>
                    <a:pt x="624" y="1008"/>
                  </a:lnTo>
                  <a:lnTo>
                    <a:pt x="610" y="1017"/>
                  </a:lnTo>
                  <a:lnTo>
                    <a:pt x="606" y="1004"/>
                  </a:lnTo>
                  <a:lnTo>
                    <a:pt x="615" y="99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68" name="Freeform 67"/>
            <p:cNvSpPr>
              <a:spLocks noEditPoints="1"/>
            </p:cNvSpPr>
            <p:nvPr/>
          </p:nvSpPr>
          <p:spPr bwMode="auto">
            <a:xfrm>
              <a:off x="1972865" y="4164926"/>
              <a:ext cx="919163" cy="20638"/>
            </a:xfrm>
            <a:custGeom>
              <a:avLst/>
              <a:gdLst/>
              <a:ahLst/>
              <a:cxnLst>
                <a:cxn ang="0">
                  <a:pos x="14" y="0"/>
                </a:cxn>
                <a:cxn ang="0">
                  <a:pos x="0" y="13"/>
                </a:cxn>
                <a:cxn ang="0">
                  <a:pos x="28" y="0"/>
                </a:cxn>
                <a:cxn ang="0">
                  <a:pos x="41" y="13"/>
                </a:cxn>
                <a:cxn ang="0">
                  <a:pos x="28" y="0"/>
                </a:cxn>
                <a:cxn ang="0">
                  <a:pos x="68" y="0"/>
                </a:cxn>
                <a:cxn ang="0">
                  <a:pos x="55" y="13"/>
                </a:cxn>
                <a:cxn ang="0">
                  <a:pos x="82" y="0"/>
                </a:cxn>
                <a:cxn ang="0">
                  <a:pos x="95" y="13"/>
                </a:cxn>
                <a:cxn ang="0">
                  <a:pos x="82" y="0"/>
                </a:cxn>
                <a:cxn ang="0">
                  <a:pos x="122" y="0"/>
                </a:cxn>
                <a:cxn ang="0">
                  <a:pos x="109" y="13"/>
                </a:cxn>
                <a:cxn ang="0">
                  <a:pos x="136" y="0"/>
                </a:cxn>
                <a:cxn ang="0">
                  <a:pos x="150" y="13"/>
                </a:cxn>
                <a:cxn ang="0">
                  <a:pos x="136" y="0"/>
                </a:cxn>
                <a:cxn ang="0">
                  <a:pos x="177" y="0"/>
                </a:cxn>
                <a:cxn ang="0">
                  <a:pos x="163" y="13"/>
                </a:cxn>
                <a:cxn ang="0">
                  <a:pos x="190" y="0"/>
                </a:cxn>
                <a:cxn ang="0">
                  <a:pos x="204" y="13"/>
                </a:cxn>
                <a:cxn ang="0">
                  <a:pos x="190" y="0"/>
                </a:cxn>
                <a:cxn ang="0">
                  <a:pos x="231" y="0"/>
                </a:cxn>
                <a:cxn ang="0">
                  <a:pos x="217" y="13"/>
                </a:cxn>
                <a:cxn ang="0">
                  <a:pos x="245" y="0"/>
                </a:cxn>
                <a:cxn ang="0">
                  <a:pos x="258" y="13"/>
                </a:cxn>
                <a:cxn ang="0">
                  <a:pos x="245" y="0"/>
                </a:cxn>
                <a:cxn ang="0">
                  <a:pos x="285" y="0"/>
                </a:cxn>
                <a:cxn ang="0">
                  <a:pos x="272" y="13"/>
                </a:cxn>
                <a:cxn ang="0">
                  <a:pos x="299" y="0"/>
                </a:cxn>
                <a:cxn ang="0">
                  <a:pos x="312" y="13"/>
                </a:cxn>
                <a:cxn ang="0">
                  <a:pos x="299" y="0"/>
                </a:cxn>
                <a:cxn ang="0">
                  <a:pos x="339" y="0"/>
                </a:cxn>
                <a:cxn ang="0">
                  <a:pos x="326" y="13"/>
                </a:cxn>
                <a:cxn ang="0">
                  <a:pos x="353" y="0"/>
                </a:cxn>
                <a:cxn ang="0">
                  <a:pos x="367" y="13"/>
                </a:cxn>
                <a:cxn ang="0">
                  <a:pos x="353" y="0"/>
                </a:cxn>
                <a:cxn ang="0">
                  <a:pos x="394" y="0"/>
                </a:cxn>
                <a:cxn ang="0">
                  <a:pos x="380" y="13"/>
                </a:cxn>
                <a:cxn ang="0">
                  <a:pos x="407" y="0"/>
                </a:cxn>
                <a:cxn ang="0">
                  <a:pos x="421" y="13"/>
                </a:cxn>
                <a:cxn ang="0">
                  <a:pos x="407" y="0"/>
                </a:cxn>
                <a:cxn ang="0">
                  <a:pos x="448" y="0"/>
                </a:cxn>
                <a:cxn ang="0">
                  <a:pos x="434" y="13"/>
                </a:cxn>
                <a:cxn ang="0">
                  <a:pos x="461" y="0"/>
                </a:cxn>
                <a:cxn ang="0">
                  <a:pos x="475" y="13"/>
                </a:cxn>
                <a:cxn ang="0">
                  <a:pos x="461" y="0"/>
                </a:cxn>
                <a:cxn ang="0">
                  <a:pos x="502" y="0"/>
                </a:cxn>
                <a:cxn ang="0">
                  <a:pos x="489" y="13"/>
                </a:cxn>
                <a:cxn ang="0">
                  <a:pos x="516" y="0"/>
                </a:cxn>
                <a:cxn ang="0">
                  <a:pos x="529" y="13"/>
                </a:cxn>
                <a:cxn ang="0">
                  <a:pos x="516" y="0"/>
                </a:cxn>
                <a:cxn ang="0">
                  <a:pos x="556" y="0"/>
                </a:cxn>
                <a:cxn ang="0">
                  <a:pos x="543" y="13"/>
                </a:cxn>
                <a:cxn ang="0">
                  <a:pos x="570" y="0"/>
                </a:cxn>
                <a:cxn ang="0">
                  <a:pos x="579" y="13"/>
                </a:cxn>
                <a:cxn ang="0">
                  <a:pos x="570" y="0"/>
                </a:cxn>
              </a:cxnLst>
              <a:rect l="0" t="0" r="r" b="b"/>
              <a:pathLst>
                <a:path w="579" h="13">
                  <a:moveTo>
                    <a:pt x="0" y="0"/>
                  </a:moveTo>
                  <a:lnTo>
                    <a:pt x="14" y="0"/>
                  </a:lnTo>
                  <a:lnTo>
                    <a:pt x="14" y="13"/>
                  </a:lnTo>
                  <a:lnTo>
                    <a:pt x="0" y="13"/>
                  </a:lnTo>
                  <a:lnTo>
                    <a:pt x="0" y="0"/>
                  </a:lnTo>
                  <a:close/>
                  <a:moveTo>
                    <a:pt x="28" y="0"/>
                  </a:moveTo>
                  <a:lnTo>
                    <a:pt x="41" y="0"/>
                  </a:lnTo>
                  <a:lnTo>
                    <a:pt x="41" y="13"/>
                  </a:lnTo>
                  <a:lnTo>
                    <a:pt x="28" y="13"/>
                  </a:lnTo>
                  <a:lnTo>
                    <a:pt x="28" y="0"/>
                  </a:lnTo>
                  <a:close/>
                  <a:moveTo>
                    <a:pt x="55" y="0"/>
                  </a:moveTo>
                  <a:lnTo>
                    <a:pt x="68" y="0"/>
                  </a:lnTo>
                  <a:lnTo>
                    <a:pt x="68" y="13"/>
                  </a:lnTo>
                  <a:lnTo>
                    <a:pt x="55" y="13"/>
                  </a:lnTo>
                  <a:lnTo>
                    <a:pt x="55" y="0"/>
                  </a:lnTo>
                  <a:close/>
                  <a:moveTo>
                    <a:pt x="82" y="0"/>
                  </a:moveTo>
                  <a:lnTo>
                    <a:pt x="95" y="0"/>
                  </a:lnTo>
                  <a:lnTo>
                    <a:pt x="95" y="13"/>
                  </a:lnTo>
                  <a:lnTo>
                    <a:pt x="82" y="13"/>
                  </a:lnTo>
                  <a:lnTo>
                    <a:pt x="82" y="0"/>
                  </a:lnTo>
                  <a:close/>
                  <a:moveTo>
                    <a:pt x="109" y="0"/>
                  </a:moveTo>
                  <a:lnTo>
                    <a:pt x="122" y="0"/>
                  </a:lnTo>
                  <a:lnTo>
                    <a:pt x="122" y="13"/>
                  </a:lnTo>
                  <a:lnTo>
                    <a:pt x="109" y="13"/>
                  </a:lnTo>
                  <a:lnTo>
                    <a:pt x="109" y="0"/>
                  </a:lnTo>
                  <a:close/>
                  <a:moveTo>
                    <a:pt x="136" y="0"/>
                  </a:moveTo>
                  <a:lnTo>
                    <a:pt x="150" y="0"/>
                  </a:lnTo>
                  <a:lnTo>
                    <a:pt x="150" y="13"/>
                  </a:lnTo>
                  <a:lnTo>
                    <a:pt x="136" y="13"/>
                  </a:lnTo>
                  <a:lnTo>
                    <a:pt x="136" y="0"/>
                  </a:lnTo>
                  <a:close/>
                  <a:moveTo>
                    <a:pt x="163" y="0"/>
                  </a:moveTo>
                  <a:lnTo>
                    <a:pt x="177" y="0"/>
                  </a:lnTo>
                  <a:lnTo>
                    <a:pt x="177" y="13"/>
                  </a:lnTo>
                  <a:lnTo>
                    <a:pt x="163" y="13"/>
                  </a:lnTo>
                  <a:lnTo>
                    <a:pt x="163" y="0"/>
                  </a:lnTo>
                  <a:close/>
                  <a:moveTo>
                    <a:pt x="190" y="0"/>
                  </a:moveTo>
                  <a:lnTo>
                    <a:pt x="204" y="0"/>
                  </a:lnTo>
                  <a:lnTo>
                    <a:pt x="204" y="13"/>
                  </a:lnTo>
                  <a:lnTo>
                    <a:pt x="190" y="13"/>
                  </a:lnTo>
                  <a:lnTo>
                    <a:pt x="190" y="0"/>
                  </a:lnTo>
                  <a:close/>
                  <a:moveTo>
                    <a:pt x="217" y="0"/>
                  </a:moveTo>
                  <a:lnTo>
                    <a:pt x="231" y="0"/>
                  </a:lnTo>
                  <a:lnTo>
                    <a:pt x="231" y="13"/>
                  </a:lnTo>
                  <a:lnTo>
                    <a:pt x="217" y="13"/>
                  </a:lnTo>
                  <a:lnTo>
                    <a:pt x="217" y="0"/>
                  </a:lnTo>
                  <a:close/>
                  <a:moveTo>
                    <a:pt x="245" y="0"/>
                  </a:moveTo>
                  <a:lnTo>
                    <a:pt x="258" y="0"/>
                  </a:lnTo>
                  <a:lnTo>
                    <a:pt x="258" y="13"/>
                  </a:lnTo>
                  <a:lnTo>
                    <a:pt x="245" y="13"/>
                  </a:lnTo>
                  <a:lnTo>
                    <a:pt x="245" y="0"/>
                  </a:lnTo>
                  <a:close/>
                  <a:moveTo>
                    <a:pt x="272" y="0"/>
                  </a:moveTo>
                  <a:lnTo>
                    <a:pt x="285" y="0"/>
                  </a:lnTo>
                  <a:lnTo>
                    <a:pt x="285" y="13"/>
                  </a:lnTo>
                  <a:lnTo>
                    <a:pt x="272" y="13"/>
                  </a:lnTo>
                  <a:lnTo>
                    <a:pt x="272" y="0"/>
                  </a:lnTo>
                  <a:close/>
                  <a:moveTo>
                    <a:pt x="299" y="0"/>
                  </a:moveTo>
                  <a:lnTo>
                    <a:pt x="312" y="0"/>
                  </a:lnTo>
                  <a:lnTo>
                    <a:pt x="312" y="13"/>
                  </a:lnTo>
                  <a:lnTo>
                    <a:pt x="299" y="13"/>
                  </a:lnTo>
                  <a:lnTo>
                    <a:pt x="299" y="0"/>
                  </a:lnTo>
                  <a:close/>
                  <a:moveTo>
                    <a:pt x="326" y="0"/>
                  </a:moveTo>
                  <a:lnTo>
                    <a:pt x="339" y="0"/>
                  </a:lnTo>
                  <a:lnTo>
                    <a:pt x="339" y="13"/>
                  </a:lnTo>
                  <a:lnTo>
                    <a:pt x="326" y="13"/>
                  </a:lnTo>
                  <a:lnTo>
                    <a:pt x="326" y="0"/>
                  </a:lnTo>
                  <a:close/>
                  <a:moveTo>
                    <a:pt x="353" y="0"/>
                  </a:moveTo>
                  <a:lnTo>
                    <a:pt x="367" y="0"/>
                  </a:lnTo>
                  <a:lnTo>
                    <a:pt x="367" y="13"/>
                  </a:lnTo>
                  <a:lnTo>
                    <a:pt x="353" y="13"/>
                  </a:lnTo>
                  <a:lnTo>
                    <a:pt x="353" y="0"/>
                  </a:lnTo>
                  <a:close/>
                  <a:moveTo>
                    <a:pt x="380" y="0"/>
                  </a:moveTo>
                  <a:lnTo>
                    <a:pt x="394" y="0"/>
                  </a:lnTo>
                  <a:lnTo>
                    <a:pt x="394" y="13"/>
                  </a:lnTo>
                  <a:lnTo>
                    <a:pt x="380" y="13"/>
                  </a:lnTo>
                  <a:lnTo>
                    <a:pt x="380" y="0"/>
                  </a:lnTo>
                  <a:close/>
                  <a:moveTo>
                    <a:pt x="407" y="0"/>
                  </a:moveTo>
                  <a:lnTo>
                    <a:pt x="421" y="0"/>
                  </a:lnTo>
                  <a:lnTo>
                    <a:pt x="421" y="13"/>
                  </a:lnTo>
                  <a:lnTo>
                    <a:pt x="407" y="13"/>
                  </a:lnTo>
                  <a:lnTo>
                    <a:pt x="407" y="0"/>
                  </a:lnTo>
                  <a:close/>
                  <a:moveTo>
                    <a:pt x="434" y="0"/>
                  </a:moveTo>
                  <a:lnTo>
                    <a:pt x="448" y="0"/>
                  </a:lnTo>
                  <a:lnTo>
                    <a:pt x="448" y="13"/>
                  </a:lnTo>
                  <a:lnTo>
                    <a:pt x="434" y="13"/>
                  </a:lnTo>
                  <a:lnTo>
                    <a:pt x="434" y="0"/>
                  </a:lnTo>
                  <a:close/>
                  <a:moveTo>
                    <a:pt x="461" y="0"/>
                  </a:moveTo>
                  <a:lnTo>
                    <a:pt x="475" y="0"/>
                  </a:lnTo>
                  <a:lnTo>
                    <a:pt x="475" y="13"/>
                  </a:lnTo>
                  <a:lnTo>
                    <a:pt x="461" y="13"/>
                  </a:lnTo>
                  <a:lnTo>
                    <a:pt x="461" y="0"/>
                  </a:lnTo>
                  <a:close/>
                  <a:moveTo>
                    <a:pt x="489" y="0"/>
                  </a:moveTo>
                  <a:lnTo>
                    <a:pt x="502" y="0"/>
                  </a:lnTo>
                  <a:lnTo>
                    <a:pt x="502" y="13"/>
                  </a:lnTo>
                  <a:lnTo>
                    <a:pt x="489" y="13"/>
                  </a:lnTo>
                  <a:lnTo>
                    <a:pt x="489" y="0"/>
                  </a:lnTo>
                  <a:close/>
                  <a:moveTo>
                    <a:pt x="516" y="0"/>
                  </a:moveTo>
                  <a:lnTo>
                    <a:pt x="529" y="0"/>
                  </a:lnTo>
                  <a:lnTo>
                    <a:pt x="529" y="13"/>
                  </a:lnTo>
                  <a:lnTo>
                    <a:pt x="516" y="13"/>
                  </a:lnTo>
                  <a:lnTo>
                    <a:pt x="516" y="0"/>
                  </a:lnTo>
                  <a:close/>
                  <a:moveTo>
                    <a:pt x="543" y="0"/>
                  </a:moveTo>
                  <a:lnTo>
                    <a:pt x="556" y="0"/>
                  </a:lnTo>
                  <a:lnTo>
                    <a:pt x="556" y="13"/>
                  </a:lnTo>
                  <a:lnTo>
                    <a:pt x="543" y="13"/>
                  </a:lnTo>
                  <a:lnTo>
                    <a:pt x="543" y="0"/>
                  </a:lnTo>
                  <a:close/>
                  <a:moveTo>
                    <a:pt x="570" y="0"/>
                  </a:moveTo>
                  <a:lnTo>
                    <a:pt x="579" y="0"/>
                  </a:lnTo>
                  <a:lnTo>
                    <a:pt x="579" y="13"/>
                  </a:lnTo>
                  <a:lnTo>
                    <a:pt x="570" y="13"/>
                  </a:lnTo>
                  <a:lnTo>
                    <a:pt x="570" y="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69" name="Freeform 68"/>
            <p:cNvSpPr>
              <a:spLocks noEditPoints="1"/>
            </p:cNvSpPr>
            <p:nvPr/>
          </p:nvSpPr>
          <p:spPr bwMode="auto">
            <a:xfrm>
              <a:off x="1937940" y="1802726"/>
              <a:ext cx="990600" cy="1909763"/>
            </a:xfrm>
            <a:custGeom>
              <a:avLst/>
              <a:gdLst/>
              <a:ahLst/>
              <a:cxnLst>
                <a:cxn ang="0">
                  <a:pos x="0" y="9"/>
                </a:cxn>
                <a:cxn ang="0">
                  <a:pos x="18" y="46"/>
                </a:cxn>
                <a:cxn ang="0">
                  <a:pos x="40" y="64"/>
                </a:cxn>
                <a:cxn ang="0">
                  <a:pos x="50" y="73"/>
                </a:cxn>
                <a:cxn ang="0">
                  <a:pos x="50" y="73"/>
                </a:cxn>
                <a:cxn ang="0">
                  <a:pos x="50" y="104"/>
                </a:cxn>
                <a:cxn ang="0">
                  <a:pos x="68" y="141"/>
                </a:cxn>
                <a:cxn ang="0">
                  <a:pos x="90" y="159"/>
                </a:cxn>
                <a:cxn ang="0">
                  <a:pos x="99" y="172"/>
                </a:cxn>
                <a:cxn ang="0">
                  <a:pos x="99" y="172"/>
                </a:cxn>
                <a:cxn ang="0">
                  <a:pos x="99" y="199"/>
                </a:cxn>
                <a:cxn ang="0">
                  <a:pos x="117" y="236"/>
                </a:cxn>
                <a:cxn ang="0">
                  <a:pos x="140" y="254"/>
                </a:cxn>
                <a:cxn ang="0">
                  <a:pos x="149" y="267"/>
                </a:cxn>
                <a:cxn ang="0">
                  <a:pos x="149" y="267"/>
                </a:cxn>
                <a:cxn ang="0">
                  <a:pos x="149" y="299"/>
                </a:cxn>
                <a:cxn ang="0">
                  <a:pos x="167" y="335"/>
                </a:cxn>
                <a:cxn ang="0">
                  <a:pos x="190" y="353"/>
                </a:cxn>
                <a:cxn ang="0">
                  <a:pos x="199" y="362"/>
                </a:cxn>
                <a:cxn ang="0">
                  <a:pos x="199" y="362"/>
                </a:cxn>
                <a:cxn ang="0">
                  <a:pos x="199" y="394"/>
                </a:cxn>
                <a:cxn ang="0">
                  <a:pos x="217" y="430"/>
                </a:cxn>
                <a:cxn ang="0">
                  <a:pos x="239" y="448"/>
                </a:cxn>
                <a:cxn ang="0">
                  <a:pos x="248" y="462"/>
                </a:cxn>
                <a:cxn ang="0">
                  <a:pos x="248" y="462"/>
                </a:cxn>
                <a:cxn ang="0">
                  <a:pos x="248" y="489"/>
                </a:cxn>
                <a:cxn ang="0">
                  <a:pos x="267" y="525"/>
                </a:cxn>
                <a:cxn ang="0">
                  <a:pos x="289" y="543"/>
                </a:cxn>
                <a:cxn ang="0">
                  <a:pos x="298" y="556"/>
                </a:cxn>
                <a:cxn ang="0">
                  <a:pos x="298" y="556"/>
                </a:cxn>
                <a:cxn ang="0">
                  <a:pos x="298" y="588"/>
                </a:cxn>
                <a:cxn ang="0">
                  <a:pos x="316" y="624"/>
                </a:cxn>
                <a:cxn ang="0">
                  <a:pos x="339" y="642"/>
                </a:cxn>
                <a:cxn ang="0">
                  <a:pos x="348" y="651"/>
                </a:cxn>
                <a:cxn ang="0">
                  <a:pos x="348" y="651"/>
                </a:cxn>
                <a:cxn ang="0">
                  <a:pos x="348" y="683"/>
                </a:cxn>
                <a:cxn ang="0">
                  <a:pos x="366" y="719"/>
                </a:cxn>
                <a:cxn ang="0">
                  <a:pos x="389" y="737"/>
                </a:cxn>
                <a:cxn ang="0">
                  <a:pos x="398" y="751"/>
                </a:cxn>
                <a:cxn ang="0">
                  <a:pos x="398" y="751"/>
                </a:cxn>
                <a:cxn ang="0">
                  <a:pos x="398" y="778"/>
                </a:cxn>
                <a:cxn ang="0">
                  <a:pos x="416" y="814"/>
                </a:cxn>
                <a:cxn ang="0">
                  <a:pos x="438" y="832"/>
                </a:cxn>
                <a:cxn ang="0">
                  <a:pos x="447" y="846"/>
                </a:cxn>
                <a:cxn ang="0">
                  <a:pos x="447" y="846"/>
                </a:cxn>
                <a:cxn ang="0">
                  <a:pos x="447" y="877"/>
                </a:cxn>
                <a:cxn ang="0">
                  <a:pos x="465" y="914"/>
                </a:cxn>
                <a:cxn ang="0">
                  <a:pos x="488" y="932"/>
                </a:cxn>
                <a:cxn ang="0">
                  <a:pos x="497" y="941"/>
                </a:cxn>
                <a:cxn ang="0">
                  <a:pos x="497" y="941"/>
                </a:cxn>
                <a:cxn ang="0">
                  <a:pos x="497" y="972"/>
                </a:cxn>
                <a:cxn ang="0">
                  <a:pos x="515" y="1008"/>
                </a:cxn>
                <a:cxn ang="0">
                  <a:pos x="538" y="1027"/>
                </a:cxn>
                <a:cxn ang="0">
                  <a:pos x="547" y="1040"/>
                </a:cxn>
                <a:cxn ang="0">
                  <a:pos x="547" y="1040"/>
                </a:cxn>
                <a:cxn ang="0">
                  <a:pos x="547" y="1067"/>
                </a:cxn>
                <a:cxn ang="0">
                  <a:pos x="565" y="1103"/>
                </a:cxn>
                <a:cxn ang="0">
                  <a:pos x="587" y="1121"/>
                </a:cxn>
                <a:cxn ang="0">
                  <a:pos x="597" y="1135"/>
                </a:cxn>
                <a:cxn ang="0">
                  <a:pos x="597" y="1135"/>
                </a:cxn>
                <a:cxn ang="0">
                  <a:pos x="597" y="1167"/>
                </a:cxn>
                <a:cxn ang="0">
                  <a:pos x="615" y="1203"/>
                </a:cxn>
              </a:cxnLst>
              <a:rect l="0" t="0" r="r" b="b"/>
              <a:pathLst>
                <a:path w="624" h="1203">
                  <a:moveTo>
                    <a:pt x="9" y="0"/>
                  </a:moveTo>
                  <a:lnTo>
                    <a:pt x="18" y="14"/>
                  </a:lnTo>
                  <a:lnTo>
                    <a:pt x="4" y="19"/>
                  </a:lnTo>
                  <a:lnTo>
                    <a:pt x="0" y="9"/>
                  </a:lnTo>
                  <a:lnTo>
                    <a:pt x="9" y="0"/>
                  </a:lnTo>
                  <a:close/>
                  <a:moveTo>
                    <a:pt x="22" y="28"/>
                  </a:moveTo>
                  <a:lnTo>
                    <a:pt x="31" y="37"/>
                  </a:lnTo>
                  <a:lnTo>
                    <a:pt x="18" y="46"/>
                  </a:lnTo>
                  <a:lnTo>
                    <a:pt x="9" y="32"/>
                  </a:lnTo>
                  <a:lnTo>
                    <a:pt x="22" y="28"/>
                  </a:lnTo>
                  <a:close/>
                  <a:moveTo>
                    <a:pt x="36" y="50"/>
                  </a:moveTo>
                  <a:lnTo>
                    <a:pt x="40" y="64"/>
                  </a:lnTo>
                  <a:lnTo>
                    <a:pt x="31" y="68"/>
                  </a:lnTo>
                  <a:lnTo>
                    <a:pt x="22" y="55"/>
                  </a:lnTo>
                  <a:lnTo>
                    <a:pt x="36" y="50"/>
                  </a:lnTo>
                  <a:close/>
                  <a:moveTo>
                    <a:pt x="50" y="73"/>
                  </a:moveTo>
                  <a:lnTo>
                    <a:pt x="54" y="86"/>
                  </a:lnTo>
                  <a:lnTo>
                    <a:pt x="40" y="91"/>
                  </a:lnTo>
                  <a:lnTo>
                    <a:pt x="36" y="82"/>
                  </a:lnTo>
                  <a:lnTo>
                    <a:pt x="50" y="73"/>
                  </a:lnTo>
                  <a:close/>
                  <a:moveTo>
                    <a:pt x="59" y="100"/>
                  </a:moveTo>
                  <a:lnTo>
                    <a:pt x="68" y="109"/>
                  </a:lnTo>
                  <a:lnTo>
                    <a:pt x="54" y="118"/>
                  </a:lnTo>
                  <a:lnTo>
                    <a:pt x="50" y="104"/>
                  </a:lnTo>
                  <a:lnTo>
                    <a:pt x="59" y="100"/>
                  </a:lnTo>
                  <a:close/>
                  <a:moveTo>
                    <a:pt x="72" y="122"/>
                  </a:moveTo>
                  <a:lnTo>
                    <a:pt x="81" y="136"/>
                  </a:lnTo>
                  <a:lnTo>
                    <a:pt x="68" y="141"/>
                  </a:lnTo>
                  <a:lnTo>
                    <a:pt x="59" y="127"/>
                  </a:lnTo>
                  <a:lnTo>
                    <a:pt x="72" y="122"/>
                  </a:lnTo>
                  <a:close/>
                  <a:moveTo>
                    <a:pt x="86" y="145"/>
                  </a:moveTo>
                  <a:lnTo>
                    <a:pt x="90" y="159"/>
                  </a:lnTo>
                  <a:lnTo>
                    <a:pt x="81" y="163"/>
                  </a:lnTo>
                  <a:lnTo>
                    <a:pt x="72" y="154"/>
                  </a:lnTo>
                  <a:lnTo>
                    <a:pt x="86" y="145"/>
                  </a:lnTo>
                  <a:close/>
                  <a:moveTo>
                    <a:pt x="99" y="172"/>
                  </a:moveTo>
                  <a:lnTo>
                    <a:pt x="104" y="181"/>
                  </a:lnTo>
                  <a:lnTo>
                    <a:pt x="90" y="190"/>
                  </a:lnTo>
                  <a:lnTo>
                    <a:pt x="86" y="177"/>
                  </a:lnTo>
                  <a:lnTo>
                    <a:pt x="99" y="172"/>
                  </a:lnTo>
                  <a:close/>
                  <a:moveTo>
                    <a:pt x="108" y="195"/>
                  </a:moveTo>
                  <a:lnTo>
                    <a:pt x="117" y="208"/>
                  </a:lnTo>
                  <a:lnTo>
                    <a:pt x="104" y="213"/>
                  </a:lnTo>
                  <a:lnTo>
                    <a:pt x="99" y="199"/>
                  </a:lnTo>
                  <a:lnTo>
                    <a:pt x="108" y="195"/>
                  </a:lnTo>
                  <a:close/>
                  <a:moveTo>
                    <a:pt x="122" y="217"/>
                  </a:moveTo>
                  <a:lnTo>
                    <a:pt x="126" y="231"/>
                  </a:lnTo>
                  <a:lnTo>
                    <a:pt x="117" y="236"/>
                  </a:lnTo>
                  <a:lnTo>
                    <a:pt x="108" y="226"/>
                  </a:lnTo>
                  <a:lnTo>
                    <a:pt x="122" y="217"/>
                  </a:lnTo>
                  <a:close/>
                  <a:moveTo>
                    <a:pt x="135" y="245"/>
                  </a:moveTo>
                  <a:lnTo>
                    <a:pt x="140" y="254"/>
                  </a:lnTo>
                  <a:lnTo>
                    <a:pt x="131" y="263"/>
                  </a:lnTo>
                  <a:lnTo>
                    <a:pt x="122" y="249"/>
                  </a:lnTo>
                  <a:lnTo>
                    <a:pt x="135" y="245"/>
                  </a:lnTo>
                  <a:close/>
                  <a:moveTo>
                    <a:pt x="149" y="267"/>
                  </a:moveTo>
                  <a:lnTo>
                    <a:pt x="154" y="281"/>
                  </a:lnTo>
                  <a:lnTo>
                    <a:pt x="140" y="285"/>
                  </a:lnTo>
                  <a:lnTo>
                    <a:pt x="135" y="272"/>
                  </a:lnTo>
                  <a:lnTo>
                    <a:pt x="149" y="267"/>
                  </a:lnTo>
                  <a:close/>
                  <a:moveTo>
                    <a:pt x="158" y="290"/>
                  </a:moveTo>
                  <a:lnTo>
                    <a:pt x="167" y="303"/>
                  </a:lnTo>
                  <a:lnTo>
                    <a:pt x="154" y="308"/>
                  </a:lnTo>
                  <a:lnTo>
                    <a:pt x="149" y="299"/>
                  </a:lnTo>
                  <a:lnTo>
                    <a:pt x="158" y="290"/>
                  </a:lnTo>
                  <a:close/>
                  <a:moveTo>
                    <a:pt x="172" y="317"/>
                  </a:moveTo>
                  <a:lnTo>
                    <a:pt x="176" y="326"/>
                  </a:lnTo>
                  <a:lnTo>
                    <a:pt x="167" y="335"/>
                  </a:lnTo>
                  <a:lnTo>
                    <a:pt x="158" y="321"/>
                  </a:lnTo>
                  <a:lnTo>
                    <a:pt x="172" y="317"/>
                  </a:lnTo>
                  <a:close/>
                  <a:moveTo>
                    <a:pt x="185" y="339"/>
                  </a:moveTo>
                  <a:lnTo>
                    <a:pt x="190" y="353"/>
                  </a:lnTo>
                  <a:lnTo>
                    <a:pt x="181" y="358"/>
                  </a:lnTo>
                  <a:lnTo>
                    <a:pt x="172" y="344"/>
                  </a:lnTo>
                  <a:lnTo>
                    <a:pt x="185" y="339"/>
                  </a:lnTo>
                  <a:close/>
                  <a:moveTo>
                    <a:pt x="199" y="362"/>
                  </a:moveTo>
                  <a:lnTo>
                    <a:pt x="203" y="376"/>
                  </a:lnTo>
                  <a:lnTo>
                    <a:pt x="190" y="380"/>
                  </a:lnTo>
                  <a:lnTo>
                    <a:pt x="185" y="371"/>
                  </a:lnTo>
                  <a:lnTo>
                    <a:pt x="199" y="362"/>
                  </a:lnTo>
                  <a:close/>
                  <a:moveTo>
                    <a:pt x="208" y="389"/>
                  </a:moveTo>
                  <a:lnTo>
                    <a:pt x="217" y="398"/>
                  </a:lnTo>
                  <a:lnTo>
                    <a:pt x="203" y="407"/>
                  </a:lnTo>
                  <a:lnTo>
                    <a:pt x="199" y="394"/>
                  </a:lnTo>
                  <a:lnTo>
                    <a:pt x="208" y="389"/>
                  </a:lnTo>
                  <a:close/>
                  <a:moveTo>
                    <a:pt x="221" y="412"/>
                  </a:moveTo>
                  <a:lnTo>
                    <a:pt x="226" y="425"/>
                  </a:lnTo>
                  <a:lnTo>
                    <a:pt x="217" y="430"/>
                  </a:lnTo>
                  <a:lnTo>
                    <a:pt x="208" y="416"/>
                  </a:lnTo>
                  <a:lnTo>
                    <a:pt x="221" y="412"/>
                  </a:lnTo>
                  <a:close/>
                  <a:moveTo>
                    <a:pt x="235" y="434"/>
                  </a:moveTo>
                  <a:lnTo>
                    <a:pt x="239" y="448"/>
                  </a:lnTo>
                  <a:lnTo>
                    <a:pt x="230" y="452"/>
                  </a:lnTo>
                  <a:lnTo>
                    <a:pt x="221" y="443"/>
                  </a:lnTo>
                  <a:lnTo>
                    <a:pt x="235" y="434"/>
                  </a:lnTo>
                  <a:close/>
                  <a:moveTo>
                    <a:pt x="248" y="462"/>
                  </a:moveTo>
                  <a:lnTo>
                    <a:pt x="253" y="471"/>
                  </a:lnTo>
                  <a:lnTo>
                    <a:pt x="239" y="480"/>
                  </a:lnTo>
                  <a:lnTo>
                    <a:pt x="235" y="466"/>
                  </a:lnTo>
                  <a:lnTo>
                    <a:pt x="248" y="462"/>
                  </a:lnTo>
                  <a:close/>
                  <a:moveTo>
                    <a:pt x="257" y="484"/>
                  </a:moveTo>
                  <a:lnTo>
                    <a:pt x="267" y="498"/>
                  </a:lnTo>
                  <a:lnTo>
                    <a:pt x="253" y="502"/>
                  </a:lnTo>
                  <a:lnTo>
                    <a:pt x="248" y="489"/>
                  </a:lnTo>
                  <a:lnTo>
                    <a:pt x="257" y="484"/>
                  </a:lnTo>
                  <a:close/>
                  <a:moveTo>
                    <a:pt x="271" y="507"/>
                  </a:moveTo>
                  <a:lnTo>
                    <a:pt x="276" y="520"/>
                  </a:lnTo>
                  <a:lnTo>
                    <a:pt x="267" y="525"/>
                  </a:lnTo>
                  <a:lnTo>
                    <a:pt x="257" y="516"/>
                  </a:lnTo>
                  <a:lnTo>
                    <a:pt x="271" y="507"/>
                  </a:lnTo>
                  <a:close/>
                  <a:moveTo>
                    <a:pt x="285" y="534"/>
                  </a:moveTo>
                  <a:lnTo>
                    <a:pt x="289" y="543"/>
                  </a:lnTo>
                  <a:lnTo>
                    <a:pt x="280" y="552"/>
                  </a:lnTo>
                  <a:lnTo>
                    <a:pt x="271" y="538"/>
                  </a:lnTo>
                  <a:lnTo>
                    <a:pt x="285" y="534"/>
                  </a:lnTo>
                  <a:close/>
                  <a:moveTo>
                    <a:pt x="298" y="556"/>
                  </a:moveTo>
                  <a:lnTo>
                    <a:pt x="303" y="570"/>
                  </a:lnTo>
                  <a:lnTo>
                    <a:pt x="289" y="575"/>
                  </a:lnTo>
                  <a:lnTo>
                    <a:pt x="285" y="561"/>
                  </a:lnTo>
                  <a:lnTo>
                    <a:pt x="298" y="556"/>
                  </a:lnTo>
                  <a:close/>
                  <a:moveTo>
                    <a:pt x="307" y="579"/>
                  </a:moveTo>
                  <a:lnTo>
                    <a:pt x="316" y="593"/>
                  </a:lnTo>
                  <a:lnTo>
                    <a:pt x="303" y="597"/>
                  </a:lnTo>
                  <a:lnTo>
                    <a:pt x="298" y="588"/>
                  </a:lnTo>
                  <a:lnTo>
                    <a:pt x="307" y="579"/>
                  </a:lnTo>
                  <a:close/>
                  <a:moveTo>
                    <a:pt x="321" y="606"/>
                  </a:moveTo>
                  <a:lnTo>
                    <a:pt x="325" y="615"/>
                  </a:lnTo>
                  <a:lnTo>
                    <a:pt x="316" y="624"/>
                  </a:lnTo>
                  <a:lnTo>
                    <a:pt x="307" y="611"/>
                  </a:lnTo>
                  <a:lnTo>
                    <a:pt x="321" y="606"/>
                  </a:lnTo>
                  <a:close/>
                  <a:moveTo>
                    <a:pt x="334" y="629"/>
                  </a:moveTo>
                  <a:lnTo>
                    <a:pt x="339" y="642"/>
                  </a:lnTo>
                  <a:lnTo>
                    <a:pt x="330" y="647"/>
                  </a:lnTo>
                  <a:lnTo>
                    <a:pt x="321" y="633"/>
                  </a:lnTo>
                  <a:lnTo>
                    <a:pt x="334" y="629"/>
                  </a:lnTo>
                  <a:close/>
                  <a:moveTo>
                    <a:pt x="348" y="651"/>
                  </a:moveTo>
                  <a:lnTo>
                    <a:pt x="352" y="665"/>
                  </a:lnTo>
                  <a:lnTo>
                    <a:pt x="339" y="669"/>
                  </a:lnTo>
                  <a:lnTo>
                    <a:pt x="334" y="660"/>
                  </a:lnTo>
                  <a:lnTo>
                    <a:pt x="348" y="651"/>
                  </a:lnTo>
                  <a:close/>
                  <a:moveTo>
                    <a:pt x="357" y="678"/>
                  </a:moveTo>
                  <a:lnTo>
                    <a:pt x="366" y="688"/>
                  </a:lnTo>
                  <a:lnTo>
                    <a:pt x="352" y="697"/>
                  </a:lnTo>
                  <a:lnTo>
                    <a:pt x="348" y="683"/>
                  </a:lnTo>
                  <a:lnTo>
                    <a:pt x="357" y="678"/>
                  </a:lnTo>
                  <a:close/>
                  <a:moveTo>
                    <a:pt x="370" y="701"/>
                  </a:moveTo>
                  <a:lnTo>
                    <a:pt x="375" y="715"/>
                  </a:lnTo>
                  <a:lnTo>
                    <a:pt x="366" y="719"/>
                  </a:lnTo>
                  <a:lnTo>
                    <a:pt x="357" y="706"/>
                  </a:lnTo>
                  <a:lnTo>
                    <a:pt x="370" y="701"/>
                  </a:lnTo>
                  <a:close/>
                  <a:moveTo>
                    <a:pt x="384" y="724"/>
                  </a:moveTo>
                  <a:lnTo>
                    <a:pt x="389" y="737"/>
                  </a:lnTo>
                  <a:lnTo>
                    <a:pt x="380" y="742"/>
                  </a:lnTo>
                  <a:lnTo>
                    <a:pt x="370" y="733"/>
                  </a:lnTo>
                  <a:lnTo>
                    <a:pt x="384" y="724"/>
                  </a:lnTo>
                  <a:close/>
                  <a:moveTo>
                    <a:pt x="398" y="751"/>
                  </a:moveTo>
                  <a:lnTo>
                    <a:pt x="402" y="760"/>
                  </a:lnTo>
                  <a:lnTo>
                    <a:pt x="389" y="769"/>
                  </a:lnTo>
                  <a:lnTo>
                    <a:pt x="384" y="755"/>
                  </a:lnTo>
                  <a:lnTo>
                    <a:pt x="398" y="751"/>
                  </a:lnTo>
                  <a:close/>
                  <a:moveTo>
                    <a:pt x="407" y="773"/>
                  </a:moveTo>
                  <a:lnTo>
                    <a:pt x="416" y="787"/>
                  </a:lnTo>
                  <a:lnTo>
                    <a:pt x="402" y="791"/>
                  </a:lnTo>
                  <a:lnTo>
                    <a:pt x="398" y="778"/>
                  </a:lnTo>
                  <a:lnTo>
                    <a:pt x="407" y="773"/>
                  </a:lnTo>
                  <a:close/>
                  <a:moveTo>
                    <a:pt x="420" y="796"/>
                  </a:moveTo>
                  <a:lnTo>
                    <a:pt x="425" y="810"/>
                  </a:lnTo>
                  <a:lnTo>
                    <a:pt x="416" y="814"/>
                  </a:lnTo>
                  <a:lnTo>
                    <a:pt x="407" y="805"/>
                  </a:lnTo>
                  <a:lnTo>
                    <a:pt x="420" y="796"/>
                  </a:lnTo>
                  <a:close/>
                  <a:moveTo>
                    <a:pt x="434" y="823"/>
                  </a:moveTo>
                  <a:lnTo>
                    <a:pt x="438" y="832"/>
                  </a:lnTo>
                  <a:lnTo>
                    <a:pt x="429" y="841"/>
                  </a:lnTo>
                  <a:lnTo>
                    <a:pt x="420" y="828"/>
                  </a:lnTo>
                  <a:lnTo>
                    <a:pt x="434" y="823"/>
                  </a:lnTo>
                  <a:close/>
                  <a:moveTo>
                    <a:pt x="447" y="846"/>
                  </a:moveTo>
                  <a:lnTo>
                    <a:pt x="452" y="859"/>
                  </a:lnTo>
                  <a:lnTo>
                    <a:pt x="438" y="864"/>
                  </a:lnTo>
                  <a:lnTo>
                    <a:pt x="434" y="850"/>
                  </a:lnTo>
                  <a:lnTo>
                    <a:pt x="447" y="846"/>
                  </a:lnTo>
                  <a:close/>
                  <a:moveTo>
                    <a:pt x="456" y="868"/>
                  </a:moveTo>
                  <a:lnTo>
                    <a:pt x="465" y="882"/>
                  </a:lnTo>
                  <a:lnTo>
                    <a:pt x="452" y="886"/>
                  </a:lnTo>
                  <a:lnTo>
                    <a:pt x="447" y="877"/>
                  </a:lnTo>
                  <a:lnTo>
                    <a:pt x="456" y="868"/>
                  </a:lnTo>
                  <a:close/>
                  <a:moveTo>
                    <a:pt x="470" y="895"/>
                  </a:moveTo>
                  <a:lnTo>
                    <a:pt x="474" y="904"/>
                  </a:lnTo>
                  <a:lnTo>
                    <a:pt x="465" y="914"/>
                  </a:lnTo>
                  <a:lnTo>
                    <a:pt x="456" y="900"/>
                  </a:lnTo>
                  <a:lnTo>
                    <a:pt x="470" y="895"/>
                  </a:lnTo>
                  <a:close/>
                  <a:moveTo>
                    <a:pt x="483" y="918"/>
                  </a:moveTo>
                  <a:lnTo>
                    <a:pt x="488" y="932"/>
                  </a:lnTo>
                  <a:lnTo>
                    <a:pt x="479" y="936"/>
                  </a:lnTo>
                  <a:lnTo>
                    <a:pt x="470" y="923"/>
                  </a:lnTo>
                  <a:lnTo>
                    <a:pt x="483" y="918"/>
                  </a:lnTo>
                  <a:close/>
                  <a:moveTo>
                    <a:pt x="497" y="941"/>
                  </a:moveTo>
                  <a:lnTo>
                    <a:pt x="502" y="954"/>
                  </a:lnTo>
                  <a:lnTo>
                    <a:pt x="488" y="959"/>
                  </a:lnTo>
                  <a:lnTo>
                    <a:pt x="483" y="950"/>
                  </a:lnTo>
                  <a:lnTo>
                    <a:pt x="497" y="941"/>
                  </a:lnTo>
                  <a:close/>
                  <a:moveTo>
                    <a:pt x="506" y="968"/>
                  </a:moveTo>
                  <a:lnTo>
                    <a:pt x="515" y="977"/>
                  </a:lnTo>
                  <a:lnTo>
                    <a:pt x="502" y="986"/>
                  </a:lnTo>
                  <a:lnTo>
                    <a:pt x="497" y="972"/>
                  </a:lnTo>
                  <a:lnTo>
                    <a:pt x="506" y="968"/>
                  </a:lnTo>
                  <a:close/>
                  <a:moveTo>
                    <a:pt x="520" y="990"/>
                  </a:moveTo>
                  <a:lnTo>
                    <a:pt x="524" y="1004"/>
                  </a:lnTo>
                  <a:lnTo>
                    <a:pt x="515" y="1008"/>
                  </a:lnTo>
                  <a:lnTo>
                    <a:pt x="506" y="995"/>
                  </a:lnTo>
                  <a:lnTo>
                    <a:pt x="520" y="990"/>
                  </a:lnTo>
                  <a:close/>
                  <a:moveTo>
                    <a:pt x="533" y="1013"/>
                  </a:moveTo>
                  <a:lnTo>
                    <a:pt x="538" y="1027"/>
                  </a:lnTo>
                  <a:lnTo>
                    <a:pt x="529" y="1031"/>
                  </a:lnTo>
                  <a:lnTo>
                    <a:pt x="520" y="1022"/>
                  </a:lnTo>
                  <a:lnTo>
                    <a:pt x="533" y="1013"/>
                  </a:lnTo>
                  <a:close/>
                  <a:moveTo>
                    <a:pt x="547" y="1040"/>
                  </a:moveTo>
                  <a:lnTo>
                    <a:pt x="551" y="1049"/>
                  </a:lnTo>
                  <a:lnTo>
                    <a:pt x="538" y="1058"/>
                  </a:lnTo>
                  <a:lnTo>
                    <a:pt x="533" y="1045"/>
                  </a:lnTo>
                  <a:lnTo>
                    <a:pt x="547" y="1040"/>
                  </a:lnTo>
                  <a:close/>
                  <a:moveTo>
                    <a:pt x="556" y="1063"/>
                  </a:moveTo>
                  <a:lnTo>
                    <a:pt x="565" y="1076"/>
                  </a:lnTo>
                  <a:lnTo>
                    <a:pt x="551" y="1081"/>
                  </a:lnTo>
                  <a:lnTo>
                    <a:pt x="547" y="1067"/>
                  </a:lnTo>
                  <a:lnTo>
                    <a:pt x="556" y="1063"/>
                  </a:lnTo>
                  <a:close/>
                  <a:moveTo>
                    <a:pt x="569" y="1085"/>
                  </a:moveTo>
                  <a:lnTo>
                    <a:pt x="574" y="1099"/>
                  </a:lnTo>
                  <a:lnTo>
                    <a:pt x="565" y="1103"/>
                  </a:lnTo>
                  <a:lnTo>
                    <a:pt x="556" y="1094"/>
                  </a:lnTo>
                  <a:lnTo>
                    <a:pt x="569" y="1085"/>
                  </a:lnTo>
                  <a:close/>
                  <a:moveTo>
                    <a:pt x="583" y="1112"/>
                  </a:moveTo>
                  <a:lnTo>
                    <a:pt x="587" y="1121"/>
                  </a:lnTo>
                  <a:lnTo>
                    <a:pt x="574" y="1130"/>
                  </a:lnTo>
                  <a:lnTo>
                    <a:pt x="569" y="1117"/>
                  </a:lnTo>
                  <a:lnTo>
                    <a:pt x="583" y="1112"/>
                  </a:lnTo>
                  <a:close/>
                  <a:moveTo>
                    <a:pt x="597" y="1135"/>
                  </a:moveTo>
                  <a:lnTo>
                    <a:pt x="601" y="1149"/>
                  </a:lnTo>
                  <a:lnTo>
                    <a:pt x="587" y="1153"/>
                  </a:lnTo>
                  <a:lnTo>
                    <a:pt x="583" y="1140"/>
                  </a:lnTo>
                  <a:lnTo>
                    <a:pt x="597" y="1135"/>
                  </a:lnTo>
                  <a:close/>
                  <a:moveTo>
                    <a:pt x="606" y="1158"/>
                  </a:moveTo>
                  <a:lnTo>
                    <a:pt x="615" y="1171"/>
                  </a:lnTo>
                  <a:lnTo>
                    <a:pt x="601" y="1176"/>
                  </a:lnTo>
                  <a:lnTo>
                    <a:pt x="597" y="1167"/>
                  </a:lnTo>
                  <a:lnTo>
                    <a:pt x="606" y="1158"/>
                  </a:lnTo>
                  <a:close/>
                  <a:moveTo>
                    <a:pt x="619" y="1185"/>
                  </a:moveTo>
                  <a:lnTo>
                    <a:pt x="624" y="1194"/>
                  </a:lnTo>
                  <a:lnTo>
                    <a:pt x="615" y="1203"/>
                  </a:lnTo>
                  <a:lnTo>
                    <a:pt x="606" y="1189"/>
                  </a:lnTo>
                  <a:lnTo>
                    <a:pt x="619" y="1185"/>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70" name="Freeform 69"/>
            <p:cNvSpPr>
              <a:spLocks noEditPoints="1"/>
            </p:cNvSpPr>
            <p:nvPr/>
          </p:nvSpPr>
          <p:spPr bwMode="auto">
            <a:xfrm>
              <a:off x="1937940" y="1343939"/>
              <a:ext cx="990600" cy="2368550"/>
            </a:xfrm>
            <a:custGeom>
              <a:avLst/>
              <a:gdLst/>
              <a:ahLst/>
              <a:cxnLst>
                <a:cxn ang="0">
                  <a:pos x="9" y="0"/>
                </a:cxn>
                <a:cxn ang="0">
                  <a:pos x="22" y="27"/>
                </a:cxn>
                <a:cxn ang="0">
                  <a:pos x="31" y="54"/>
                </a:cxn>
                <a:cxn ang="0">
                  <a:pos x="40" y="77"/>
                </a:cxn>
                <a:cxn ang="0">
                  <a:pos x="54" y="104"/>
                </a:cxn>
                <a:cxn ang="0">
                  <a:pos x="63" y="127"/>
                </a:cxn>
                <a:cxn ang="0">
                  <a:pos x="72" y="154"/>
                </a:cxn>
                <a:cxn ang="0">
                  <a:pos x="86" y="176"/>
                </a:cxn>
                <a:cxn ang="0">
                  <a:pos x="95" y="204"/>
                </a:cxn>
                <a:cxn ang="0">
                  <a:pos x="104" y="226"/>
                </a:cxn>
                <a:cxn ang="0">
                  <a:pos x="113" y="253"/>
                </a:cxn>
                <a:cxn ang="0">
                  <a:pos x="126" y="276"/>
                </a:cxn>
                <a:cxn ang="0">
                  <a:pos x="135" y="303"/>
                </a:cxn>
                <a:cxn ang="0">
                  <a:pos x="144" y="330"/>
                </a:cxn>
                <a:cxn ang="0">
                  <a:pos x="158" y="353"/>
                </a:cxn>
                <a:cxn ang="0">
                  <a:pos x="167" y="380"/>
                </a:cxn>
                <a:cxn ang="0">
                  <a:pos x="176" y="402"/>
                </a:cxn>
                <a:cxn ang="0">
                  <a:pos x="190" y="430"/>
                </a:cxn>
                <a:cxn ang="0">
                  <a:pos x="199" y="452"/>
                </a:cxn>
                <a:cxn ang="0">
                  <a:pos x="208" y="479"/>
                </a:cxn>
                <a:cxn ang="0">
                  <a:pos x="217" y="502"/>
                </a:cxn>
                <a:cxn ang="0">
                  <a:pos x="230" y="529"/>
                </a:cxn>
                <a:cxn ang="0">
                  <a:pos x="239" y="552"/>
                </a:cxn>
                <a:cxn ang="0">
                  <a:pos x="248" y="579"/>
                </a:cxn>
                <a:cxn ang="0">
                  <a:pos x="262" y="606"/>
                </a:cxn>
                <a:cxn ang="0">
                  <a:pos x="271" y="628"/>
                </a:cxn>
                <a:cxn ang="0">
                  <a:pos x="280" y="656"/>
                </a:cxn>
                <a:cxn ang="0">
                  <a:pos x="289" y="678"/>
                </a:cxn>
                <a:cxn ang="0">
                  <a:pos x="303" y="705"/>
                </a:cxn>
                <a:cxn ang="0">
                  <a:pos x="312" y="728"/>
                </a:cxn>
                <a:cxn ang="0">
                  <a:pos x="321" y="755"/>
                </a:cxn>
                <a:cxn ang="0">
                  <a:pos x="334" y="778"/>
                </a:cxn>
                <a:cxn ang="0">
                  <a:pos x="343" y="805"/>
                </a:cxn>
                <a:cxn ang="0">
                  <a:pos x="352" y="827"/>
                </a:cxn>
                <a:cxn ang="0">
                  <a:pos x="366" y="854"/>
                </a:cxn>
                <a:cxn ang="0">
                  <a:pos x="375" y="877"/>
                </a:cxn>
                <a:cxn ang="0">
                  <a:pos x="384" y="904"/>
                </a:cxn>
                <a:cxn ang="0">
                  <a:pos x="393" y="931"/>
                </a:cxn>
                <a:cxn ang="0">
                  <a:pos x="407" y="954"/>
                </a:cxn>
                <a:cxn ang="0">
                  <a:pos x="416" y="981"/>
                </a:cxn>
                <a:cxn ang="0">
                  <a:pos x="425" y="1004"/>
                </a:cxn>
                <a:cxn ang="0">
                  <a:pos x="438" y="1031"/>
                </a:cxn>
                <a:cxn ang="0">
                  <a:pos x="447" y="1053"/>
                </a:cxn>
                <a:cxn ang="0">
                  <a:pos x="456" y="1080"/>
                </a:cxn>
                <a:cxn ang="0">
                  <a:pos x="470" y="1103"/>
                </a:cxn>
                <a:cxn ang="0">
                  <a:pos x="479" y="1130"/>
                </a:cxn>
                <a:cxn ang="0">
                  <a:pos x="488" y="1153"/>
                </a:cxn>
                <a:cxn ang="0">
                  <a:pos x="497" y="1180"/>
                </a:cxn>
                <a:cxn ang="0">
                  <a:pos x="511" y="1207"/>
                </a:cxn>
                <a:cxn ang="0">
                  <a:pos x="520" y="1230"/>
                </a:cxn>
                <a:cxn ang="0">
                  <a:pos x="529" y="1257"/>
                </a:cxn>
                <a:cxn ang="0">
                  <a:pos x="542" y="1279"/>
                </a:cxn>
                <a:cxn ang="0">
                  <a:pos x="551" y="1306"/>
                </a:cxn>
                <a:cxn ang="0">
                  <a:pos x="560" y="1329"/>
                </a:cxn>
                <a:cxn ang="0">
                  <a:pos x="574" y="1356"/>
                </a:cxn>
                <a:cxn ang="0">
                  <a:pos x="583" y="1379"/>
                </a:cxn>
                <a:cxn ang="0">
                  <a:pos x="592" y="1406"/>
                </a:cxn>
                <a:cxn ang="0">
                  <a:pos x="601" y="1429"/>
                </a:cxn>
                <a:cxn ang="0">
                  <a:pos x="615" y="1456"/>
                </a:cxn>
                <a:cxn ang="0">
                  <a:pos x="624" y="1478"/>
                </a:cxn>
              </a:cxnLst>
              <a:rect l="0" t="0" r="r" b="b"/>
              <a:pathLst>
                <a:path w="624" h="1492">
                  <a:moveTo>
                    <a:pt x="9" y="0"/>
                  </a:moveTo>
                  <a:lnTo>
                    <a:pt x="18" y="14"/>
                  </a:lnTo>
                  <a:lnTo>
                    <a:pt x="4" y="18"/>
                  </a:lnTo>
                  <a:lnTo>
                    <a:pt x="0" y="9"/>
                  </a:lnTo>
                  <a:lnTo>
                    <a:pt x="9" y="0"/>
                  </a:lnTo>
                  <a:close/>
                  <a:moveTo>
                    <a:pt x="22" y="27"/>
                  </a:moveTo>
                  <a:lnTo>
                    <a:pt x="27" y="41"/>
                  </a:lnTo>
                  <a:lnTo>
                    <a:pt x="13" y="45"/>
                  </a:lnTo>
                  <a:lnTo>
                    <a:pt x="9" y="32"/>
                  </a:lnTo>
                  <a:lnTo>
                    <a:pt x="22" y="27"/>
                  </a:lnTo>
                  <a:close/>
                  <a:moveTo>
                    <a:pt x="31" y="54"/>
                  </a:moveTo>
                  <a:lnTo>
                    <a:pt x="36" y="63"/>
                  </a:lnTo>
                  <a:lnTo>
                    <a:pt x="22" y="68"/>
                  </a:lnTo>
                  <a:lnTo>
                    <a:pt x="18" y="59"/>
                  </a:lnTo>
                  <a:lnTo>
                    <a:pt x="31" y="54"/>
                  </a:lnTo>
                  <a:close/>
                  <a:moveTo>
                    <a:pt x="40" y="77"/>
                  </a:moveTo>
                  <a:lnTo>
                    <a:pt x="45" y="91"/>
                  </a:lnTo>
                  <a:lnTo>
                    <a:pt x="36" y="95"/>
                  </a:lnTo>
                  <a:lnTo>
                    <a:pt x="31" y="82"/>
                  </a:lnTo>
                  <a:lnTo>
                    <a:pt x="40" y="77"/>
                  </a:lnTo>
                  <a:close/>
                  <a:moveTo>
                    <a:pt x="54" y="104"/>
                  </a:moveTo>
                  <a:lnTo>
                    <a:pt x="59" y="113"/>
                  </a:lnTo>
                  <a:lnTo>
                    <a:pt x="45" y="122"/>
                  </a:lnTo>
                  <a:lnTo>
                    <a:pt x="40" y="109"/>
                  </a:lnTo>
                  <a:lnTo>
                    <a:pt x="54" y="104"/>
                  </a:lnTo>
                  <a:close/>
                  <a:moveTo>
                    <a:pt x="63" y="127"/>
                  </a:moveTo>
                  <a:lnTo>
                    <a:pt x="68" y="140"/>
                  </a:lnTo>
                  <a:lnTo>
                    <a:pt x="54" y="145"/>
                  </a:lnTo>
                  <a:lnTo>
                    <a:pt x="50" y="131"/>
                  </a:lnTo>
                  <a:lnTo>
                    <a:pt x="63" y="127"/>
                  </a:lnTo>
                  <a:close/>
                  <a:moveTo>
                    <a:pt x="72" y="154"/>
                  </a:moveTo>
                  <a:lnTo>
                    <a:pt x="77" y="167"/>
                  </a:lnTo>
                  <a:lnTo>
                    <a:pt x="68" y="172"/>
                  </a:lnTo>
                  <a:lnTo>
                    <a:pt x="59" y="158"/>
                  </a:lnTo>
                  <a:lnTo>
                    <a:pt x="72" y="154"/>
                  </a:lnTo>
                  <a:close/>
                  <a:moveTo>
                    <a:pt x="86" y="176"/>
                  </a:moveTo>
                  <a:lnTo>
                    <a:pt x="90" y="190"/>
                  </a:lnTo>
                  <a:lnTo>
                    <a:pt x="77" y="195"/>
                  </a:lnTo>
                  <a:lnTo>
                    <a:pt x="72" y="181"/>
                  </a:lnTo>
                  <a:lnTo>
                    <a:pt x="86" y="176"/>
                  </a:lnTo>
                  <a:close/>
                  <a:moveTo>
                    <a:pt x="95" y="204"/>
                  </a:moveTo>
                  <a:lnTo>
                    <a:pt x="99" y="217"/>
                  </a:lnTo>
                  <a:lnTo>
                    <a:pt x="86" y="222"/>
                  </a:lnTo>
                  <a:lnTo>
                    <a:pt x="81" y="208"/>
                  </a:lnTo>
                  <a:lnTo>
                    <a:pt x="95" y="204"/>
                  </a:lnTo>
                  <a:close/>
                  <a:moveTo>
                    <a:pt x="104" y="226"/>
                  </a:moveTo>
                  <a:lnTo>
                    <a:pt x="108" y="240"/>
                  </a:lnTo>
                  <a:lnTo>
                    <a:pt x="99" y="244"/>
                  </a:lnTo>
                  <a:lnTo>
                    <a:pt x="90" y="235"/>
                  </a:lnTo>
                  <a:lnTo>
                    <a:pt x="104" y="226"/>
                  </a:lnTo>
                  <a:close/>
                  <a:moveTo>
                    <a:pt x="113" y="253"/>
                  </a:moveTo>
                  <a:lnTo>
                    <a:pt x="122" y="267"/>
                  </a:lnTo>
                  <a:lnTo>
                    <a:pt x="108" y="271"/>
                  </a:lnTo>
                  <a:lnTo>
                    <a:pt x="104" y="258"/>
                  </a:lnTo>
                  <a:lnTo>
                    <a:pt x="113" y="253"/>
                  </a:lnTo>
                  <a:close/>
                  <a:moveTo>
                    <a:pt x="126" y="276"/>
                  </a:moveTo>
                  <a:lnTo>
                    <a:pt x="131" y="289"/>
                  </a:lnTo>
                  <a:lnTo>
                    <a:pt x="117" y="294"/>
                  </a:lnTo>
                  <a:lnTo>
                    <a:pt x="113" y="285"/>
                  </a:lnTo>
                  <a:lnTo>
                    <a:pt x="126" y="276"/>
                  </a:lnTo>
                  <a:close/>
                  <a:moveTo>
                    <a:pt x="135" y="303"/>
                  </a:moveTo>
                  <a:lnTo>
                    <a:pt x="140" y="317"/>
                  </a:lnTo>
                  <a:lnTo>
                    <a:pt x="126" y="321"/>
                  </a:lnTo>
                  <a:lnTo>
                    <a:pt x="122" y="308"/>
                  </a:lnTo>
                  <a:lnTo>
                    <a:pt x="135" y="303"/>
                  </a:lnTo>
                  <a:close/>
                  <a:moveTo>
                    <a:pt x="144" y="330"/>
                  </a:moveTo>
                  <a:lnTo>
                    <a:pt x="149" y="339"/>
                  </a:lnTo>
                  <a:lnTo>
                    <a:pt x="140" y="344"/>
                  </a:lnTo>
                  <a:lnTo>
                    <a:pt x="135" y="335"/>
                  </a:lnTo>
                  <a:lnTo>
                    <a:pt x="144" y="330"/>
                  </a:lnTo>
                  <a:close/>
                  <a:moveTo>
                    <a:pt x="158" y="353"/>
                  </a:moveTo>
                  <a:lnTo>
                    <a:pt x="163" y="366"/>
                  </a:lnTo>
                  <a:lnTo>
                    <a:pt x="149" y="371"/>
                  </a:lnTo>
                  <a:lnTo>
                    <a:pt x="144" y="357"/>
                  </a:lnTo>
                  <a:lnTo>
                    <a:pt x="158" y="353"/>
                  </a:lnTo>
                  <a:close/>
                  <a:moveTo>
                    <a:pt x="167" y="380"/>
                  </a:moveTo>
                  <a:lnTo>
                    <a:pt x="172" y="389"/>
                  </a:lnTo>
                  <a:lnTo>
                    <a:pt x="158" y="398"/>
                  </a:lnTo>
                  <a:lnTo>
                    <a:pt x="154" y="384"/>
                  </a:lnTo>
                  <a:lnTo>
                    <a:pt x="167" y="380"/>
                  </a:lnTo>
                  <a:close/>
                  <a:moveTo>
                    <a:pt x="176" y="402"/>
                  </a:moveTo>
                  <a:lnTo>
                    <a:pt x="181" y="416"/>
                  </a:lnTo>
                  <a:lnTo>
                    <a:pt x="172" y="421"/>
                  </a:lnTo>
                  <a:lnTo>
                    <a:pt x="163" y="407"/>
                  </a:lnTo>
                  <a:lnTo>
                    <a:pt x="176" y="402"/>
                  </a:lnTo>
                  <a:close/>
                  <a:moveTo>
                    <a:pt x="190" y="430"/>
                  </a:moveTo>
                  <a:lnTo>
                    <a:pt x="194" y="439"/>
                  </a:lnTo>
                  <a:lnTo>
                    <a:pt x="181" y="448"/>
                  </a:lnTo>
                  <a:lnTo>
                    <a:pt x="176" y="434"/>
                  </a:lnTo>
                  <a:lnTo>
                    <a:pt x="190" y="430"/>
                  </a:lnTo>
                  <a:close/>
                  <a:moveTo>
                    <a:pt x="199" y="452"/>
                  </a:moveTo>
                  <a:lnTo>
                    <a:pt x="203" y="466"/>
                  </a:lnTo>
                  <a:lnTo>
                    <a:pt x="190" y="470"/>
                  </a:lnTo>
                  <a:lnTo>
                    <a:pt x="185" y="457"/>
                  </a:lnTo>
                  <a:lnTo>
                    <a:pt x="199" y="452"/>
                  </a:lnTo>
                  <a:close/>
                  <a:moveTo>
                    <a:pt x="208" y="479"/>
                  </a:moveTo>
                  <a:lnTo>
                    <a:pt x="212" y="493"/>
                  </a:lnTo>
                  <a:lnTo>
                    <a:pt x="199" y="497"/>
                  </a:lnTo>
                  <a:lnTo>
                    <a:pt x="194" y="484"/>
                  </a:lnTo>
                  <a:lnTo>
                    <a:pt x="208" y="479"/>
                  </a:lnTo>
                  <a:close/>
                  <a:moveTo>
                    <a:pt x="217" y="502"/>
                  </a:moveTo>
                  <a:lnTo>
                    <a:pt x="226" y="515"/>
                  </a:lnTo>
                  <a:lnTo>
                    <a:pt x="212" y="520"/>
                  </a:lnTo>
                  <a:lnTo>
                    <a:pt x="208" y="506"/>
                  </a:lnTo>
                  <a:lnTo>
                    <a:pt x="217" y="502"/>
                  </a:lnTo>
                  <a:close/>
                  <a:moveTo>
                    <a:pt x="230" y="529"/>
                  </a:moveTo>
                  <a:lnTo>
                    <a:pt x="235" y="543"/>
                  </a:lnTo>
                  <a:lnTo>
                    <a:pt x="221" y="547"/>
                  </a:lnTo>
                  <a:lnTo>
                    <a:pt x="217" y="534"/>
                  </a:lnTo>
                  <a:lnTo>
                    <a:pt x="230" y="529"/>
                  </a:lnTo>
                  <a:close/>
                  <a:moveTo>
                    <a:pt x="239" y="552"/>
                  </a:moveTo>
                  <a:lnTo>
                    <a:pt x="244" y="565"/>
                  </a:lnTo>
                  <a:lnTo>
                    <a:pt x="230" y="570"/>
                  </a:lnTo>
                  <a:lnTo>
                    <a:pt x="226" y="561"/>
                  </a:lnTo>
                  <a:lnTo>
                    <a:pt x="239" y="552"/>
                  </a:lnTo>
                  <a:close/>
                  <a:moveTo>
                    <a:pt x="248" y="579"/>
                  </a:moveTo>
                  <a:lnTo>
                    <a:pt x="253" y="592"/>
                  </a:lnTo>
                  <a:lnTo>
                    <a:pt x="244" y="597"/>
                  </a:lnTo>
                  <a:lnTo>
                    <a:pt x="239" y="583"/>
                  </a:lnTo>
                  <a:lnTo>
                    <a:pt x="248" y="579"/>
                  </a:lnTo>
                  <a:close/>
                  <a:moveTo>
                    <a:pt x="262" y="606"/>
                  </a:moveTo>
                  <a:lnTo>
                    <a:pt x="267" y="615"/>
                  </a:lnTo>
                  <a:lnTo>
                    <a:pt x="253" y="619"/>
                  </a:lnTo>
                  <a:lnTo>
                    <a:pt x="248" y="610"/>
                  </a:lnTo>
                  <a:lnTo>
                    <a:pt x="262" y="606"/>
                  </a:lnTo>
                  <a:close/>
                  <a:moveTo>
                    <a:pt x="271" y="628"/>
                  </a:moveTo>
                  <a:lnTo>
                    <a:pt x="276" y="642"/>
                  </a:lnTo>
                  <a:lnTo>
                    <a:pt x="262" y="647"/>
                  </a:lnTo>
                  <a:lnTo>
                    <a:pt x="257" y="633"/>
                  </a:lnTo>
                  <a:lnTo>
                    <a:pt x="271" y="628"/>
                  </a:lnTo>
                  <a:close/>
                  <a:moveTo>
                    <a:pt x="280" y="656"/>
                  </a:moveTo>
                  <a:lnTo>
                    <a:pt x="285" y="665"/>
                  </a:lnTo>
                  <a:lnTo>
                    <a:pt x="276" y="674"/>
                  </a:lnTo>
                  <a:lnTo>
                    <a:pt x="267" y="660"/>
                  </a:lnTo>
                  <a:lnTo>
                    <a:pt x="280" y="656"/>
                  </a:lnTo>
                  <a:close/>
                  <a:moveTo>
                    <a:pt x="289" y="678"/>
                  </a:moveTo>
                  <a:lnTo>
                    <a:pt x="298" y="692"/>
                  </a:lnTo>
                  <a:lnTo>
                    <a:pt x="285" y="696"/>
                  </a:lnTo>
                  <a:lnTo>
                    <a:pt x="280" y="683"/>
                  </a:lnTo>
                  <a:lnTo>
                    <a:pt x="289" y="678"/>
                  </a:lnTo>
                  <a:close/>
                  <a:moveTo>
                    <a:pt x="303" y="705"/>
                  </a:moveTo>
                  <a:lnTo>
                    <a:pt x="307" y="714"/>
                  </a:lnTo>
                  <a:lnTo>
                    <a:pt x="294" y="723"/>
                  </a:lnTo>
                  <a:lnTo>
                    <a:pt x="289" y="710"/>
                  </a:lnTo>
                  <a:lnTo>
                    <a:pt x="303" y="705"/>
                  </a:lnTo>
                  <a:close/>
                  <a:moveTo>
                    <a:pt x="312" y="728"/>
                  </a:moveTo>
                  <a:lnTo>
                    <a:pt x="316" y="741"/>
                  </a:lnTo>
                  <a:lnTo>
                    <a:pt x="303" y="746"/>
                  </a:lnTo>
                  <a:lnTo>
                    <a:pt x="298" y="732"/>
                  </a:lnTo>
                  <a:lnTo>
                    <a:pt x="312" y="728"/>
                  </a:lnTo>
                  <a:close/>
                  <a:moveTo>
                    <a:pt x="321" y="755"/>
                  </a:moveTo>
                  <a:lnTo>
                    <a:pt x="330" y="769"/>
                  </a:lnTo>
                  <a:lnTo>
                    <a:pt x="316" y="773"/>
                  </a:lnTo>
                  <a:lnTo>
                    <a:pt x="312" y="760"/>
                  </a:lnTo>
                  <a:lnTo>
                    <a:pt x="321" y="755"/>
                  </a:lnTo>
                  <a:close/>
                  <a:moveTo>
                    <a:pt x="334" y="778"/>
                  </a:moveTo>
                  <a:lnTo>
                    <a:pt x="339" y="791"/>
                  </a:lnTo>
                  <a:lnTo>
                    <a:pt x="325" y="796"/>
                  </a:lnTo>
                  <a:lnTo>
                    <a:pt x="321" y="782"/>
                  </a:lnTo>
                  <a:lnTo>
                    <a:pt x="334" y="778"/>
                  </a:lnTo>
                  <a:close/>
                  <a:moveTo>
                    <a:pt x="343" y="805"/>
                  </a:moveTo>
                  <a:lnTo>
                    <a:pt x="348" y="818"/>
                  </a:lnTo>
                  <a:lnTo>
                    <a:pt x="334" y="823"/>
                  </a:lnTo>
                  <a:lnTo>
                    <a:pt x="330" y="809"/>
                  </a:lnTo>
                  <a:lnTo>
                    <a:pt x="343" y="805"/>
                  </a:lnTo>
                  <a:close/>
                  <a:moveTo>
                    <a:pt x="352" y="827"/>
                  </a:moveTo>
                  <a:lnTo>
                    <a:pt x="357" y="841"/>
                  </a:lnTo>
                  <a:lnTo>
                    <a:pt x="348" y="845"/>
                  </a:lnTo>
                  <a:lnTo>
                    <a:pt x="343" y="836"/>
                  </a:lnTo>
                  <a:lnTo>
                    <a:pt x="352" y="827"/>
                  </a:lnTo>
                  <a:close/>
                  <a:moveTo>
                    <a:pt x="366" y="854"/>
                  </a:moveTo>
                  <a:lnTo>
                    <a:pt x="370" y="868"/>
                  </a:lnTo>
                  <a:lnTo>
                    <a:pt x="357" y="873"/>
                  </a:lnTo>
                  <a:lnTo>
                    <a:pt x="352" y="859"/>
                  </a:lnTo>
                  <a:lnTo>
                    <a:pt x="366" y="854"/>
                  </a:lnTo>
                  <a:close/>
                  <a:moveTo>
                    <a:pt x="375" y="877"/>
                  </a:moveTo>
                  <a:lnTo>
                    <a:pt x="380" y="891"/>
                  </a:lnTo>
                  <a:lnTo>
                    <a:pt x="366" y="895"/>
                  </a:lnTo>
                  <a:lnTo>
                    <a:pt x="361" y="886"/>
                  </a:lnTo>
                  <a:lnTo>
                    <a:pt x="375" y="877"/>
                  </a:lnTo>
                  <a:close/>
                  <a:moveTo>
                    <a:pt x="384" y="904"/>
                  </a:moveTo>
                  <a:lnTo>
                    <a:pt x="389" y="918"/>
                  </a:lnTo>
                  <a:lnTo>
                    <a:pt x="380" y="922"/>
                  </a:lnTo>
                  <a:lnTo>
                    <a:pt x="370" y="909"/>
                  </a:lnTo>
                  <a:lnTo>
                    <a:pt x="384" y="904"/>
                  </a:lnTo>
                  <a:close/>
                  <a:moveTo>
                    <a:pt x="393" y="931"/>
                  </a:moveTo>
                  <a:lnTo>
                    <a:pt x="402" y="940"/>
                  </a:lnTo>
                  <a:lnTo>
                    <a:pt x="389" y="945"/>
                  </a:lnTo>
                  <a:lnTo>
                    <a:pt x="384" y="936"/>
                  </a:lnTo>
                  <a:lnTo>
                    <a:pt x="393" y="931"/>
                  </a:lnTo>
                  <a:close/>
                  <a:moveTo>
                    <a:pt x="407" y="954"/>
                  </a:moveTo>
                  <a:lnTo>
                    <a:pt x="411" y="967"/>
                  </a:lnTo>
                  <a:lnTo>
                    <a:pt x="398" y="972"/>
                  </a:lnTo>
                  <a:lnTo>
                    <a:pt x="393" y="958"/>
                  </a:lnTo>
                  <a:lnTo>
                    <a:pt x="407" y="954"/>
                  </a:lnTo>
                  <a:close/>
                  <a:moveTo>
                    <a:pt x="416" y="981"/>
                  </a:moveTo>
                  <a:lnTo>
                    <a:pt x="420" y="990"/>
                  </a:lnTo>
                  <a:lnTo>
                    <a:pt x="407" y="999"/>
                  </a:lnTo>
                  <a:lnTo>
                    <a:pt x="402" y="986"/>
                  </a:lnTo>
                  <a:lnTo>
                    <a:pt x="416" y="981"/>
                  </a:lnTo>
                  <a:close/>
                  <a:moveTo>
                    <a:pt x="425" y="1004"/>
                  </a:moveTo>
                  <a:lnTo>
                    <a:pt x="434" y="1017"/>
                  </a:lnTo>
                  <a:lnTo>
                    <a:pt x="420" y="1022"/>
                  </a:lnTo>
                  <a:lnTo>
                    <a:pt x="416" y="1008"/>
                  </a:lnTo>
                  <a:lnTo>
                    <a:pt x="425" y="1004"/>
                  </a:lnTo>
                  <a:close/>
                  <a:moveTo>
                    <a:pt x="438" y="1031"/>
                  </a:moveTo>
                  <a:lnTo>
                    <a:pt x="443" y="1040"/>
                  </a:lnTo>
                  <a:lnTo>
                    <a:pt x="429" y="1049"/>
                  </a:lnTo>
                  <a:lnTo>
                    <a:pt x="425" y="1035"/>
                  </a:lnTo>
                  <a:lnTo>
                    <a:pt x="438" y="1031"/>
                  </a:lnTo>
                  <a:close/>
                  <a:moveTo>
                    <a:pt x="447" y="1053"/>
                  </a:moveTo>
                  <a:lnTo>
                    <a:pt x="452" y="1067"/>
                  </a:lnTo>
                  <a:lnTo>
                    <a:pt x="438" y="1071"/>
                  </a:lnTo>
                  <a:lnTo>
                    <a:pt x="434" y="1058"/>
                  </a:lnTo>
                  <a:lnTo>
                    <a:pt x="447" y="1053"/>
                  </a:lnTo>
                  <a:close/>
                  <a:moveTo>
                    <a:pt x="456" y="1080"/>
                  </a:moveTo>
                  <a:lnTo>
                    <a:pt x="461" y="1094"/>
                  </a:lnTo>
                  <a:lnTo>
                    <a:pt x="452" y="1099"/>
                  </a:lnTo>
                  <a:lnTo>
                    <a:pt x="443" y="1085"/>
                  </a:lnTo>
                  <a:lnTo>
                    <a:pt x="456" y="1080"/>
                  </a:lnTo>
                  <a:close/>
                  <a:moveTo>
                    <a:pt x="470" y="1103"/>
                  </a:moveTo>
                  <a:lnTo>
                    <a:pt x="474" y="1117"/>
                  </a:lnTo>
                  <a:lnTo>
                    <a:pt x="461" y="1121"/>
                  </a:lnTo>
                  <a:lnTo>
                    <a:pt x="456" y="1112"/>
                  </a:lnTo>
                  <a:lnTo>
                    <a:pt x="470" y="1103"/>
                  </a:lnTo>
                  <a:close/>
                  <a:moveTo>
                    <a:pt x="479" y="1130"/>
                  </a:moveTo>
                  <a:lnTo>
                    <a:pt x="483" y="1144"/>
                  </a:lnTo>
                  <a:lnTo>
                    <a:pt x="470" y="1148"/>
                  </a:lnTo>
                  <a:lnTo>
                    <a:pt x="465" y="1135"/>
                  </a:lnTo>
                  <a:lnTo>
                    <a:pt x="479" y="1130"/>
                  </a:lnTo>
                  <a:close/>
                  <a:moveTo>
                    <a:pt x="488" y="1153"/>
                  </a:moveTo>
                  <a:lnTo>
                    <a:pt x="493" y="1166"/>
                  </a:lnTo>
                  <a:lnTo>
                    <a:pt x="483" y="1171"/>
                  </a:lnTo>
                  <a:lnTo>
                    <a:pt x="474" y="1162"/>
                  </a:lnTo>
                  <a:lnTo>
                    <a:pt x="488" y="1153"/>
                  </a:lnTo>
                  <a:close/>
                  <a:moveTo>
                    <a:pt x="497" y="1180"/>
                  </a:moveTo>
                  <a:lnTo>
                    <a:pt x="506" y="1193"/>
                  </a:lnTo>
                  <a:lnTo>
                    <a:pt x="493" y="1198"/>
                  </a:lnTo>
                  <a:lnTo>
                    <a:pt x="488" y="1184"/>
                  </a:lnTo>
                  <a:lnTo>
                    <a:pt x="497" y="1180"/>
                  </a:lnTo>
                  <a:close/>
                  <a:moveTo>
                    <a:pt x="511" y="1207"/>
                  </a:moveTo>
                  <a:lnTo>
                    <a:pt x="515" y="1216"/>
                  </a:lnTo>
                  <a:lnTo>
                    <a:pt x="502" y="1221"/>
                  </a:lnTo>
                  <a:lnTo>
                    <a:pt x="497" y="1212"/>
                  </a:lnTo>
                  <a:lnTo>
                    <a:pt x="511" y="1207"/>
                  </a:lnTo>
                  <a:close/>
                  <a:moveTo>
                    <a:pt x="520" y="1230"/>
                  </a:moveTo>
                  <a:lnTo>
                    <a:pt x="524" y="1243"/>
                  </a:lnTo>
                  <a:lnTo>
                    <a:pt x="511" y="1248"/>
                  </a:lnTo>
                  <a:lnTo>
                    <a:pt x="506" y="1234"/>
                  </a:lnTo>
                  <a:lnTo>
                    <a:pt x="520" y="1230"/>
                  </a:lnTo>
                  <a:close/>
                  <a:moveTo>
                    <a:pt x="529" y="1257"/>
                  </a:moveTo>
                  <a:lnTo>
                    <a:pt x="533" y="1266"/>
                  </a:lnTo>
                  <a:lnTo>
                    <a:pt x="524" y="1275"/>
                  </a:lnTo>
                  <a:lnTo>
                    <a:pt x="520" y="1261"/>
                  </a:lnTo>
                  <a:lnTo>
                    <a:pt x="529" y="1257"/>
                  </a:lnTo>
                  <a:close/>
                  <a:moveTo>
                    <a:pt x="542" y="1279"/>
                  </a:moveTo>
                  <a:lnTo>
                    <a:pt x="547" y="1293"/>
                  </a:lnTo>
                  <a:lnTo>
                    <a:pt x="533" y="1297"/>
                  </a:lnTo>
                  <a:lnTo>
                    <a:pt x="529" y="1284"/>
                  </a:lnTo>
                  <a:lnTo>
                    <a:pt x="542" y="1279"/>
                  </a:lnTo>
                  <a:close/>
                  <a:moveTo>
                    <a:pt x="551" y="1306"/>
                  </a:moveTo>
                  <a:lnTo>
                    <a:pt x="556" y="1316"/>
                  </a:lnTo>
                  <a:lnTo>
                    <a:pt x="542" y="1325"/>
                  </a:lnTo>
                  <a:lnTo>
                    <a:pt x="538" y="1311"/>
                  </a:lnTo>
                  <a:lnTo>
                    <a:pt x="551" y="1306"/>
                  </a:lnTo>
                  <a:close/>
                  <a:moveTo>
                    <a:pt x="560" y="1329"/>
                  </a:moveTo>
                  <a:lnTo>
                    <a:pt x="565" y="1343"/>
                  </a:lnTo>
                  <a:lnTo>
                    <a:pt x="556" y="1347"/>
                  </a:lnTo>
                  <a:lnTo>
                    <a:pt x="547" y="1334"/>
                  </a:lnTo>
                  <a:lnTo>
                    <a:pt x="560" y="1329"/>
                  </a:lnTo>
                  <a:close/>
                  <a:moveTo>
                    <a:pt x="574" y="1356"/>
                  </a:moveTo>
                  <a:lnTo>
                    <a:pt x="578" y="1370"/>
                  </a:lnTo>
                  <a:lnTo>
                    <a:pt x="565" y="1374"/>
                  </a:lnTo>
                  <a:lnTo>
                    <a:pt x="560" y="1361"/>
                  </a:lnTo>
                  <a:lnTo>
                    <a:pt x="574" y="1356"/>
                  </a:lnTo>
                  <a:close/>
                  <a:moveTo>
                    <a:pt x="583" y="1379"/>
                  </a:moveTo>
                  <a:lnTo>
                    <a:pt x="587" y="1392"/>
                  </a:lnTo>
                  <a:lnTo>
                    <a:pt x="574" y="1397"/>
                  </a:lnTo>
                  <a:lnTo>
                    <a:pt x="569" y="1383"/>
                  </a:lnTo>
                  <a:lnTo>
                    <a:pt x="583" y="1379"/>
                  </a:lnTo>
                  <a:close/>
                  <a:moveTo>
                    <a:pt x="592" y="1406"/>
                  </a:moveTo>
                  <a:lnTo>
                    <a:pt x="597" y="1419"/>
                  </a:lnTo>
                  <a:lnTo>
                    <a:pt x="587" y="1424"/>
                  </a:lnTo>
                  <a:lnTo>
                    <a:pt x="578" y="1410"/>
                  </a:lnTo>
                  <a:lnTo>
                    <a:pt x="592" y="1406"/>
                  </a:lnTo>
                  <a:close/>
                  <a:moveTo>
                    <a:pt x="601" y="1429"/>
                  </a:moveTo>
                  <a:lnTo>
                    <a:pt x="610" y="1442"/>
                  </a:lnTo>
                  <a:lnTo>
                    <a:pt x="597" y="1447"/>
                  </a:lnTo>
                  <a:lnTo>
                    <a:pt x="592" y="1438"/>
                  </a:lnTo>
                  <a:lnTo>
                    <a:pt x="601" y="1429"/>
                  </a:lnTo>
                  <a:close/>
                  <a:moveTo>
                    <a:pt x="615" y="1456"/>
                  </a:moveTo>
                  <a:lnTo>
                    <a:pt x="619" y="1469"/>
                  </a:lnTo>
                  <a:lnTo>
                    <a:pt x="606" y="1474"/>
                  </a:lnTo>
                  <a:lnTo>
                    <a:pt x="601" y="1460"/>
                  </a:lnTo>
                  <a:lnTo>
                    <a:pt x="615" y="1456"/>
                  </a:lnTo>
                  <a:close/>
                  <a:moveTo>
                    <a:pt x="624" y="1478"/>
                  </a:moveTo>
                  <a:lnTo>
                    <a:pt x="624" y="1483"/>
                  </a:lnTo>
                  <a:lnTo>
                    <a:pt x="615" y="1492"/>
                  </a:lnTo>
                  <a:lnTo>
                    <a:pt x="610" y="1487"/>
                  </a:lnTo>
                  <a:lnTo>
                    <a:pt x="624" y="147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71" name="Rectangle 70"/>
            <p:cNvSpPr>
              <a:spLocks noChangeArrowheads="1"/>
            </p:cNvSpPr>
            <p:nvPr/>
          </p:nvSpPr>
          <p:spPr bwMode="auto">
            <a:xfrm>
              <a:off x="2914253" y="3814286"/>
              <a:ext cx="1327150" cy="234753"/>
            </a:xfrm>
            <a:prstGeom prst="rect">
              <a:avLst/>
            </a:prstGeom>
            <a:solidFill>
              <a:srgbClr val="FD0000"/>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72" name="Rectangle 71"/>
            <p:cNvSpPr>
              <a:spLocks noChangeArrowheads="1"/>
            </p:cNvSpPr>
            <p:nvPr/>
          </p:nvSpPr>
          <p:spPr bwMode="auto">
            <a:xfrm>
              <a:off x="3313333" y="3806152"/>
              <a:ext cx="557895" cy="8021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800" b="1" dirty="0" smtClean="0">
                  <a:solidFill>
                    <a:srgbClr val="FFFFFF"/>
                  </a:solidFill>
                  <a:cs typeface="Arial" pitchFamily="34" charset="0"/>
                </a:rPr>
                <a:t>Model “Scoring”</a:t>
              </a:r>
              <a:endParaRPr lang="en-US" sz="800" dirty="0" smtClean="0">
                <a:solidFill>
                  <a:srgbClr val="000000"/>
                </a:solidFill>
                <a:cs typeface="Arial" pitchFamily="34" charset="0"/>
              </a:endParaRPr>
            </a:p>
          </p:txBody>
        </p:sp>
        <p:sp>
          <p:nvSpPr>
            <p:cNvPr id="73" name="Rectangle 72"/>
            <p:cNvSpPr>
              <a:spLocks noChangeArrowheads="1"/>
            </p:cNvSpPr>
            <p:nvPr/>
          </p:nvSpPr>
          <p:spPr bwMode="auto">
            <a:xfrm>
              <a:off x="2914253" y="3877589"/>
              <a:ext cx="1327150" cy="307975"/>
            </a:xfrm>
            <a:prstGeom prst="rect">
              <a:avLst/>
            </a:prstGeom>
            <a:solidFill>
              <a:srgbClr val="777777"/>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74" name="Rectangle 73"/>
            <p:cNvSpPr>
              <a:spLocks noChangeArrowheads="1"/>
            </p:cNvSpPr>
            <p:nvPr/>
          </p:nvSpPr>
          <p:spPr bwMode="auto">
            <a:xfrm>
              <a:off x="3211277" y="3879970"/>
              <a:ext cx="716563" cy="8021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800" b="1" dirty="0" smtClean="0">
                  <a:solidFill>
                    <a:srgbClr val="FFFFFF"/>
                  </a:solidFill>
                  <a:cs typeface="Arial" pitchFamily="34" charset="0"/>
                </a:rPr>
                <a:t>Embedded Data Prep</a:t>
              </a:r>
              <a:endParaRPr lang="en-US" sz="800" dirty="0" smtClean="0">
                <a:solidFill>
                  <a:srgbClr val="000000"/>
                </a:solidFill>
                <a:cs typeface="Arial" pitchFamily="34" charset="0"/>
              </a:endParaRPr>
            </a:p>
          </p:txBody>
        </p:sp>
        <p:sp>
          <p:nvSpPr>
            <p:cNvPr id="75" name="Freeform 74"/>
            <p:cNvSpPr>
              <a:spLocks noEditPoints="1"/>
            </p:cNvSpPr>
            <p:nvPr/>
          </p:nvSpPr>
          <p:spPr bwMode="auto">
            <a:xfrm>
              <a:off x="3566715" y="1351876"/>
              <a:ext cx="85725" cy="2468563"/>
            </a:xfrm>
            <a:custGeom>
              <a:avLst/>
              <a:gdLst/>
              <a:ahLst/>
              <a:cxnLst>
                <a:cxn ang="0">
                  <a:pos x="18" y="1509"/>
                </a:cxn>
                <a:cxn ang="0">
                  <a:pos x="18" y="45"/>
                </a:cxn>
                <a:cxn ang="0">
                  <a:pos x="36" y="45"/>
                </a:cxn>
                <a:cxn ang="0">
                  <a:pos x="36" y="1509"/>
                </a:cxn>
                <a:cxn ang="0">
                  <a:pos x="18" y="1509"/>
                </a:cxn>
                <a:cxn ang="0">
                  <a:pos x="54" y="1500"/>
                </a:cxn>
                <a:cxn ang="0">
                  <a:pos x="27" y="1555"/>
                </a:cxn>
                <a:cxn ang="0">
                  <a:pos x="0" y="1500"/>
                </a:cxn>
                <a:cxn ang="0">
                  <a:pos x="54" y="1500"/>
                </a:cxn>
                <a:cxn ang="0">
                  <a:pos x="0" y="54"/>
                </a:cxn>
                <a:cxn ang="0">
                  <a:pos x="27" y="0"/>
                </a:cxn>
                <a:cxn ang="0">
                  <a:pos x="54" y="54"/>
                </a:cxn>
                <a:cxn ang="0">
                  <a:pos x="0" y="54"/>
                </a:cxn>
              </a:cxnLst>
              <a:rect l="0" t="0" r="r" b="b"/>
              <a:pathLst>
                <a:path w="54" h="1555">
                  <a:moveTo>
                    <a:pt x="18" y="1509"/>
                  </a:moveTo>
                  <a:lnTo>
                    <a:pt x="18" y="45"/>
                  </a:lnTo>
                  <a:lnTo>
                    <a:pt x="36" y="45"/>
                  </a:lnTo>
                  <a:lnTo>
                    <a:pt x="36" y="1509"/>
                  </a:lnTo>
                  <a:lnTo>
                    <a:pt x="18" y="1509"/>
                  </a:lnTo>
                  <a:close/>
                  <a:moveTo>
                    <a:pt x="54" y="1500"/>
                  </a:moveTo>
                  <a:lnTo>
                    <a:pt x="27" y="1555"/>
                  </a:lnTo>
                  <a:lnTo>
                    <a:pt x="0" y="1500"/>
                  </a:lnTo>
                  <a:lnTo>
                    <a:pt x="54" y="1500"/>
                  </a:lnTo>
                  <a:close/>
                  <a:moveTo>
                    <a:pt x="0" y="54"/>
                  </a:moveTo>
                  <a:lnTo>
                    <a:pt x="27" y="0"/>
                  </a:lnTo>
                  <a:lnTo>
                    <a:pt x="54" y="54"/>
                  </a:lnTo>
                  <a:lnTo>
                    <a:pt x="0" y="54"/>
                  </a:lnTo>
                  <a:close/>
                </a:path>
              </a:pathLst>
            </a:custGeom>
            <a:solidFill>
              <a:srgbClr val="FD0000"/>
            </a:solidFill>
            <a:ln w="28575">
              <a:solidFill>
                <a:srgbClr val="FD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76" name="Rectangle 75"/>
            <p:cNvSpPr>
              <a:spLocks noChangeArrowheads="1"/>
            </p:cNvSpPr>
            <p:nvPr/>
          </p:nvSpPr>
          <p:spPr bwMode="auto">
            <a:xfrm>
              <a:off x="2914253" y="4049039"/>
              <a:ext cx="1327150" cy="136525"/>
            </a:xfrm>
            <a:prstGeom prst="rect">
              <a:avLst/>
            </a:prstGeom>
            <a:solidFill>
              <a:srgbClr val="777777"/>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77" name="Rectangle 76"/>
            <p:cNvSpPr>
              <a:spLocks noChangeArrowheads="1"/>
            </p:cNvSpPr>
            <p:nvPr/>
          </p:nvSpPr>
          <p:spPr bwMode="auto">
            <a:xfrm>
              <a:off x="3248653" y="4068883"/>
              <a:ext cx="601401" cy="8021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800" b="1" dirty="0" smtClean="0">
                  <a:solidFill>
                    <a:srgbClr val="FFFFFF"/>
                  </a:solidFill>
                  <a:cs typeface="Arial" pitchFamily="34" charset="0"/>
                </a:rPr>
                <a:t>Data  Preparation</a:t>
              </a:r>
              <a:endParaRPr lang="en-US" sz="800" dirty="0" smtClean="0">
                <a:solidFill>
                  <a:srgbClr val="000000"/>
                </a:solidFill>
                <a:cs typeface="Arial" pitchFamily="34" charset="0"/>
              </a:endParaRPr>
            </a:p>
          </p:txBody>
        </p:sp>
        <p:sp>
          <p:nvSpPr>
            <p:cNvPr id="78" name="Rectangle 77"/>
            <p:cNvSpPr>
              <a:spLocks noChangeArrowheads="1"/>
            </p:cNvSpPr>
            <p:nvPr/>
          </p:nvSpPr>
          <p:spPr bwMode="auto">
            <a:xfrm>
              <a:off x="2914253" y="3954781"/>
              <a:ext cx="1327150" cy="94258"/>
            </a:xfrm>
            <a:prstGeom prst="rect">
              <a:avLst/>
            </a:prstGeom>
            <a:solidFill>
              <a:srgbClr val="FD0000"/>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79" name="Rectangle 78"/>
            <p:cNvSpPr>
              <a:spLocks noChangeArrowheads="1"/>
            </p:cNvSpPr>
            <p:nvPr/>
          </p:nvSpPr>
          <p:spPr bwMode="auto">
            <a:xfrm>
              <a:off x="3279379" y="3963314"/>
              <a:ext cx="514390" cy="8021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800" b="1" dirty="0" smtClean="0">
                  <a:solidFill>
                    <a:srgbClr val="FFFFFF"/>
                  </a:solidFill>
                  <a:cs typeface="Arial" pitchFamily="34" charset="0"/>
                </a:rPr>
                <a:t>Model Building</a:t>
              </a:r>
              <a:endParaRPr lang="en-US" sz="800" dirty="0" smtClean="0">
                <a:solidFill>
                  <a:srgbClr val="000000"/>
                </a:solidFill>
                <a:cs typeface="Arial" pitchFamily="34" charset="0"/>
              </a:endParaRPr>
            </a:p>
          </p:txBody>
        </p:sp>
        <p:sp>
          <p:nvSpPr>
            <p:cNvPr id="80" name="Rectangle 79"/>
            <p:cNvSpPr>
              <a:spLocks noChangeArrowheads="1"/>
            </p:cNvSpPr>
            <p:nvPr/>
          </p:nvSpPr>
          <p:spPr bwMode="auto">
            <a:xfrm>
              <a:off x="2528716" y="1158201"/>
              <a:ext cx="1801594"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000000"/>
                  </a:solidFill>
                  <a:cs typeface="Arial" pitchFamily="34" charset="0"/>
                </a:rPr>
                <a:t>Oracle Advanced Analytics</a:t>
              </a:r>
              <a:endParaRPr lang="en-US" sz="2400" dirty="0" smtClean="0">
                <a:solidFill>
                  <a:srgbClr val="000000"/>
                </a:solidFill>
                <a:cs typeface="Arial" pitchFamily="34" charset="0"/>
              </a:endParaRPr>
            </a:p>
          </p:txBody>
        </p:sp>
        <p:sp>
          <p:nvSpPr>
            <p:cNvPr id="81" name="Rectangle 80"/>
            <p:cNvSpPr>
              <a:spLocks noChangeArrowheads="1"/>
            </p:cNvSpPr>
            <p:nvPr/>
          </p:nvSpPr>
          <p:spPr bwMode="auto">
            <a:xfrm>
              <a:off x="2884741" y="4188157"/>
              <a:ext cx="1333883"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000000"/>
                  </a:solidFill>
                  <a:cs typeface="Arial" pitchFamily="34" charset="0"/>
                </a:rPr>
                <a:t>Secs, Mins or Hours</a:t>
              </a:r>
              <a:endParaRPr lang="en-US" sz="2400" dirty="0" smtClean="0">
                <a:solidFill>
                  <a:srgbClr val="000000"/>
                </a:solidFill>
                <a:cs typeface="Arial" pitchFamily="34" charset="0"/>
              </a:endParaRPr>
            </a:p>
          </p:txBody>
        </p:sp>
        <p:sp>
          <p:nvSpPr>
            <p:cNvPr id="82" name="Rectangle 81"/>
            <p:cNvSpPr>
              <a:spLocks noChangeArrowheads="1"/>
            </p:cNvSpPr>
            <p:nvPr/>
          </p:nvSpPr>
          <p:spPr bwMode="auto">
            <a:xfrm>
              <a:off x="634603" y="1148676"/>
              <a:ext cx="1383581"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000000"/>
                  </a:solidFill>
                  <a:cs typeface="Arial" pitchFamily="34" charset="0"/>
                </a:rPr>
                <a:t>Traditional Analytics</a:t>
              </a:r>
              <a:endParaRPr lang="en-US" sz="2400" dirty="0" smtClean="0">
                <a:solidFill>
                  <a:srgbClr val="000000"/>
                </a:solidFill>
                <a:cs typeface="Arial" pitchFamily="34" charset="0"/>
              </a:endParaRPr>
            </a:p>
          </p:txBody>
        </p:sp>
        <p:sp>
          <p:nvSpPr>
            <p:cNvPr id="83" name="Rectangle 82"/>
            <p:cNvSpPr>
              <a:spLocks noChangeArrowheads="1"/>
            </p:cNvSpPr>
            <p:nvPr/>
          </p:nvSpPr>
          <p:spPr bwMode="auto">
            <a:xfrm>
              <a:off x="559834" y="4202748"/>
              <a:ext cx="1474943"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000000"/>
                  </a:solidFill>
                  <a:cs typeface="Arial" pitchFamily="34" charset="0"/>
                </a:rPr>
                <a:t>Hours, Days or Weeks</a:t>
              </a:r>
              <a:endParaRPr lang="en-US" sz="2400" dirty="0" smtClean="0">
                <a:solidFill>
                  <a:srgbClr val="000000"/>
                </a:solidFill>
                <a:cs typeface="Arial" pitchFamily="34" charset="0"/>
              </a:endParaRPr>
            </a:p>
          </p:txBody>
        </p:sp>
        <p:sp>
          <p:nvSpPr>
            <p:cNvPr id="84" name="Rectangle 83"/>
            <p:cNvSpPr>
              <a:spLocks noChangeArrowheads="1"/>
            </p:cNvSpPr>
            <p:nvPr/>
          </p:nvSpPr>
          <p:spPr bwMode="auto">
            <a:xfrm>
              <a:off x="628253" y="3639464"/>
              <a:ext cx="1328738" cy="539750"/>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85" name="Rectangle 84"/>
            <p:cNvSpPr>
              <a:spLocks noChangeArrowheads="1"/>
            </p:cNvSpPr>
            <p:nvPr/>
          </p:nvSpPr>
          <p:spPr bwMode="auto">
            <a:xfrm>
              <a:off x="698282" y="3799499"/>
              <a:ext cx="1043828"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Data Extraction</a:t>
              </a:r>
              <a:endParaRPr lang="en-US" sz="1600" dirty="0" smtClean="0">
                <a:solidFill>
                  <a:srgbClr val="000000"/>
                </a:solidFill>
                <a:cs typeface="Arial" pitchFamily="34" charset="0"/>
              </a:endParaRPr>
            </a:p>
          </p:txBody>
        </p:sp>
        <p:sp>
          <p:nvSpPr>
            <p:cNvPr id="86" name="Rectangle 85"/>
            <p:cNvSpPr>
              <a:spLocks noChangeArrowheads="1"/>
            </p:cNvSpPr>
            <p:nvPr/>
          </p:nvSpPr>
          <p:spPr bwMode="auto">
            <a:xfrm>
              <a:off x="628253" y="3007639"/>
              <a:ext cx="1328738" cy="631825"/>
            </a:xfrm>
            <a:prstGeom prst="rect">
              <a:avLst/>
            </a:prstGeom>
            <a:solidFill>
              <a:srgbClr val="777777"/>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87" name="Rectangle 86"/>
            <p:cNvSpPr>
              <a:spLocks noChangeArrowheads="1"/>
            </p:cNvSpPr>
            <p:nvPr/>
          </p:nvSpPr>
          <p:spPr bwMode="auto">
            <a:xfrm>
              <a:off x="806233" y="3145449"/>
              <a:ext cx="858749"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Data Prep &amp; </a:t>
              </a:r>
              <a:endParaRPr lang="en-US" sz="1600" dirty="0" smtClean="0">
                <a:solidFill>
                  <a:srgbClr val="000000"/>
                </a:solidFill>
                <a:cs typeface="Arial" pitchFamily="34" charset="0"/>
              </a:endParaRPr>
            </a:p>
          </p:txBody>
        </p:sp>
        <p:sp>
          <p:nvSpPr>
            <p:cNvPr id="88" name="Rectangle 87"/>
            <p:cNvSpPr>
              <a:spLocks noChangeArrowheads="1"/>
            </p:cNvSpPr>
            <p:nvPr/>
          </p:nvSpPr>
          <p:spPr bwMode="auto">
            <a:xfrm>
              <a:off x="706220" y="3281974"/>
              <a:ext cx="1042139"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Transformation</a:t>
              </a:r>
              <a:endParaRPr lang="en-US" sz="1600" dirty="0" smtClean="0">
                <a:solidFill>
                  <a:srgbClr val="000000"/>
                </a:solidFill>
                <a:cs typeface="Arial" pitchFamily="34" charset="0"/>
              </a:endParaRPr>
            </a:p>
          </p:txBody>
        </p:sp>
        <p:sp>
          <p:nvSpPr>
            <p:cNvPr id="89" name="Rectangle 88"/>
            <p:cNvSpPr>
              <a:spLocks noChangeArrowheads="1"/>
            </p:cNvSpPr>
            <p:nvPr/>
          </p:nvSpPr>
          <p:spPr bwMode="auto">
            <a:xfrm>
              <a:off x="628253" y="2606001"/>
              <a:ext cx="1328738" cy="401638"/>
            </a:xfrm>
            <a:prstGeom prst="rect">
              <a:avLst/>
            </a:prstGeom>
            <a:solidFill>
              <a:srgbClr val="FD0000"/>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90" name="Rectangle 89"/>
            <p:cNvSpPr>
              <a:spLocks noChangeArrowheads="1"/>
            </p:cNvSpPr>
            <p:nvPr/>
          </p:nvSpPr>
          <p:spPr bwMode="auto">
            <a:xfrm>
              <a:off x="814171" y="2627924"/>
              <a:ext cx="869550"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Data Mining </a:t>
              </a:r>
              <a:endParaRPr lang="en-US" sz="1600" dirty="0" smtClean="0">
                <a:solidFill>
                  <a:srgbClr val="000000"/>
                </a:solidFill>
                <a:cs typeface="Arial" pitchFamily="34" charset="0"/>
              </a:endParaRPr>
            </a:p>
          </p:txBody>
        </p:sp>
        <p:sp>
          <p:nvSpPr>
            <p:cNvPr id="91" name="Rectangle 90"/>
            <p:cNvSpPr>
              <a:spLocks noChangeArrowheads="1"/>
            </p:cNvSpPr>
            <p:nvPr/>
          </p:nvSpPr>
          <p:spPr bwMode="auto">
            <a:xfrm>
              <a:off x="712570" y="2764449"/>
              <a:ext cx="1032619"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Model Building</a:t>
              </a:r>
              <a:endParaRPr lang="en-US" sz="1600" dirty="0" smtClean="0">
                <a:solidFill>
                  <a:srgbClr val="000000"/>
                </a:solidFill>
                <a:cs typeface="Arial" pitchFamily="34" charset="0"/>
              </a:endParaRPr>
            </a:p>
          </p:txBody>
        </p:sp>
        <p:sp>
          <p:nvSpPr>
            <p:cNvPr id="92" name="Rectangle 91"/>
            <p:cNvSpPr>
              <a:spLocks noChangeArrowheads="1"/>
            </p:cNvSpPr>
            <p:nvPr/>
          </p:nvSpPr>
          <p:spPr bwMode="auto">
            <a:xfrm>
              <a:off x="628253" y="1743989"/>
              <a:ext cx="1328738" cy="401638"/>
            </a:xfrm>
            <a:prstGeom prst="rect">
              <a:avLst/>
            </a:prstGeom>
            <a:solidFill>
              <a:srgbClr val="FD0000"/>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93" name="Rectangle 92"/>
            <p:cNvSpPr>
              <a:spLocks noChangeArrowheads="1"/>
            </p:cNvSpPr>
            <p:nvPr/>
          </p:nvSpPr>
          <p:spPr bwMode="auto">
            <a:xfrm>
              <a:off x="814171" y="1767499"/>
              <a:ext cx="832442"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Data Mining</a:t>
              </a:r>
              <a:endParaRPr lang="en-US" sz="1600" dirty="0" smtClean="0">
                <a:solidFill>
                  <a:srgbClr val="000000"/>
                </a:solidFill>
                <a:cs typeface="Arial" pitchFamily="34" charset="0"/>
              </a:endParaRPr>
            </a:p>
          </p:txBody>
        </p:sp>
        <p:sp>
          <p:nvSpPr>
            <p:cNvPr id="94" name="Rectangle 93"/>
            <p:cNvSpPr>
              <a:spLocks noChangeArrowheads="1"/>
            </p:cNvSpPr>
            <p:nvPr/>
          </p:nvSpPr>
          <p:spPr bwMode="auto">
            <a:xfrm>
              <a:off x="663357" y="1904024"/>
              <a:ext cx="1126949"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Model “Scoring”</a:t>
              </a:r>
              <a:endParaRPr lang="en-US" sz="1600" dirty="0" smtClean="0">
                <a:solidFill>
                  <a:srgbClr val="000000"/>
                </a:solidFill>
                <a:cs typeface="Arial" pitchFamily="34" charset="0"/>
              </a:endParaRPr>
            </a:p>
          </p:txBody>
        </p:sp>
        <p:sp>
          <p:nvSpPr>
            <p:cNvPr id="95" name="Rectangle 94"/>
            <p:cNvSpPr>
              <a:spLocks noChangeArrowheads="1"/>
            </p:cNvSpPr>
            <p:nvPr/>
          </p:nvSpPr>
          <p:spPr bwMode="auto">
            <a:xfrm>
              <a:off x="628253" y="2145626"/>
              <a:ext cx="1328738" cy="460375"/>
            </a:xfrm>
            <a:prstGeom prst="rect">
              <a:avLst/>
            </a:prstGeom>
            <a:solidFill>
              <a:srgbClr val="777777"/>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96" name="Rectangle 95"/>
            <p:cNvSpPr>
              <a:spLocks noChangeArrowheads="1"/>
            </p:cNvSpPr>
            <p:nvPr/>
          </p:nvSpPr>
          <p:spPr bwMode="auto">
            <a:xfrm>
              <a:off x="797782" y="2196076"/>
              <a:ext cx="902255"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Data  Prep. &amp;</a:t>
              </a:r>
              <a:endParaRPr lang="en-US" sz="1600" dirty="0" smtClean="0">
                <a:solidFill>
                  <a:srgbClr val="000000"/>
                </a:solidFill>
                <a:cs typeface="Arial" pitchFamily="34" charset="0"/>
              </a:endParaRPr>
            </a:p>
          </p:txBody>
        </p:sp>
        <p:sp>
          <p:nvSpPr>
            <p:cNvPr id="97" name="Rectangle 96"/>
            <p:cNvSpPr>
              <a:spLocks noChangeArrowheads="1"/>
            </p:cNvSpPr>
            <p:nvPr/>
          </p:nvSpPr>
          <p:spPr bwMode="auto">
            <a:xfrm>
              <a:off x="1071345" y="2262799"/>
              <a:ext cx="52"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endParaRPr lang="en-US" sz="1600" dirty="0" smtClean="0">
                <a:solidFill>
                  <a:srgbClr val="000000"/>
                </a:solidFill>
                <a:cs typeface="Arial" pitchFamily="34" charset="0"/>
              </a:endParaRPr>
            </a:p>
          </p:txBody>
        </p:sp>
        <p:sp>
          <p:nvSpPr>
            <p:cNvPr id="98" name="Rectangle 97"/>
            <p:cNvSpPr>
              <a:spLocks noChangeArrowheads="1"/>
            </p:cNvSpPr>
            <p:nvPr/>
          </p:nvSpPr>
          <p:spPr bwMode="auto">
            <a:xfrm>
              <a:off x="696539" y="2350463"/>
              <a:ext cx="1042139"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Transformation</a:t>
              </a:r>
              <a:endParaRPr lang="en-US" sz="1600" dirty="0" smtClean="0">
                <a:solidFill>
                  <a:srgbClr val="000000"/>
                </a:solidFill>
                <a:cs typeface="Arial" pitchFamily="34" charset="0"/>
              </a:endParaRPr>
            </a:p>
          </p:txBody>
        </p:sp>
        <p:sp>
          <p:nvSpPr>
            <p:cNvPr id="99" name="Rectangle 98"/>
            <p:cNvSpPr>
              <a:spLocks noChangeArrowheads="1"/>
            </p:cNvSpPr>
            <p:nvPr/>
          </p:nvSpPr>
          <p:spPr bwMode="auto">
            <a:xfrm>
              <a:off x="628253" y="1342351"/>
              <a:ext cx="1328738" cy="423863"/>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endParaRPr lang="en-US" sz="1800" dirty="0">
                <a:solidFill>
                  <a:srgbClr val="000000"/>
                </a:solidFill>
              </a:endParaRPr>
            </a:p>
          </p:txBody>
        </p:sp>
        <p:sp>
          <p:nvSpPr>
            <p:cNvPr id="100" name="Rectangle 99"/>
            <p:cNvSpPr>
              <a:spLocks noChangeArrowheads="1"/>
            </p:cNvSpPr>
            <p:nvPr/>
          </p:nvSpPr>
          <p:spPr bwMode="auto">
            <a:xfrm>
              <a:off x="828458" y="1443649"/>
              <a:ext cx="823485" cy="16042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US" sz="1600" b="1" dirty="0" smtClean="0">
                  <a:solidFill>
                    <a:srgbClr val="FFFFFF"/>
                  </a:solidFill>
                  <a:cs typeface="Arial" pitchFamily="34" charset="0"/>
                </a:rPr>
                <a:t>Data Import</a:t>
              </a:r>
              <a:endParaRPr lang="en-US" sz="1600" dirty="0" smtClean="0">
                <a:solidFill>
                  <a:srgbClr val="000000"/>
                </a:solidFill>
                <a:cs typeface="Arial" pitchFamily="34" charset="0"/>
              </a:endParaRPr>
            </a:p>
          </p:txBody>
        </p:sp>
        <p:pic>
          <p:nvPicPr>
            <p:cNvPr id="101" name="Picture 100"/>
            <p:cNvPicPr>
              <a:picLocks noChangeAspect="1" noChangeArrowheads="1"/>
            </p:cNvPicPr>
            <p:nvPr/>
          </p:nvPicPr>
          <p:blipFill>
            <a:blip r:embed="rId3" cstate="screen"/>
            <a:srcRect/>
            <a:stretch>
              <a:fillRect/>
            </a:stretch>
          </p:blipFill>
          <p:spPr bwMode="auto">
            <a:xfrm>
              <a:off x="3439613" y="2212707"/>
              <a:ext cx="310349" cy="436279"/>
            </a:xfrm>
            <a:prstGeom prst="rect">
              <a:avLst/>
            </a:prstGeom>
            <a:noFill/>
            <a:ln w="9525">
              <a:noFill/>
              <a:miter lim="800000"/>
              <a:headEnd/>
              <a:tailEnd/>
            </a:ln>
          </p:spPr>
        </p:pic>
      </p:grpSp>
      <p:sp>
        <p:nvSpPr>
          <p:cNvPr id="49" name="Text Placeholder 7"/>
          <p:cNvSpPr txBox="1">
            <a:spLocks/>
          </p:cNvSpPr>
          <p:nvPr/>
        </p:nvSpPr>
        <p:spPr bwMode="auto">
          <a:xfrm>
            <a:off x="1065212" y="762000"/>
            <a:ext cx="10969943" cy="4064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r>
              <a:rPr lang="en-US" sz="2700" dirty="0" smtClean="0">
                <a:solidFill>
                  <a:schemeClr val="accent1"/>
                </a:solidFill>
              </a:rPr>
              <a:t>Fastest Way to Deliver Scalable Enterprise-wide Predictive Analytics</a:t>
            </a:r>
          </a:p>
        </p:txBody>
      </p:sp>
      <p:pic>
        <p:nvPicPr>
          <p:cNvPr id="50" name="48A3F5A6-995C-459E-801B-04ED0F67E9FA" descr="E68B87C3-4119-4E3E-ADD4-C40DF263F308@us"/>
          <p:cNvPicPr>
            <a:picLocks noChangeAspect="1" noChangeArrowheads="1"/>
          </p:cNvPicPr>
          <p:nvPr/>
        </p:nvPicPr>
        <p:blipFill>
          <a:blip r:embed="rId4" cstate="print"/>
          <a:srcRect/>
          <a:stretch>
            <a:fillRect/>
          </a:stretch>
        </p:blipFill>
        <p:spPr bwMode="auto">
          <a:xfrm>
            <a:off x="10514012" y="304800"/>
            <a:ext cx="1219200" cy="1219200"/>
          </a:xfrm>
          <a:prstGeom prst="rect">
            <a:avLst/>
          </a:prstGeom>
          <a:noFill/>
          <a:ln w="9525">
            <a:noFill/>
            <a:miter lim="800000"/>
            <a:headEnd/>
            <a:tailEnd/>
          </a:ln>
        </p:spPr>
      </p:pic>
      <p:grpSp>
        <p:nvGrpSpPr>
          <p:cNvPr id="55" name="Group 54"/>
          <p:cNvGrpSpPr/>
          <p:nvPr/>
        </p:nvGrpSpPr>
        <p:grpSpPr>
          <a:xfrm>
            <a:off x="7629525" y="5962650"/>
            <a:ext cx="3829050" cy="628650"/>
            <a:chOff x="7629525" y="5962650"/>
            <a:chExt cx="3829050" cy="628650"/>
          </a:xfrm>
        </p:grpSpPr>
        <p:sp>
          <p:nvSpPr>
            <p:cNvPr id="52" name="Freeform 51"/>
            <p:cNvSpPr/>
            <p:nvPr/>
          </p:nvSpPr>
          <p:spPr>
            <a:xfrm>
              <a:off x="8410575" y="5962650"/>
              <a:ext cx="3048000" cy="628650"/>
            </a:xfrm>
            <a:custGeom>
              <a:avLst/>
              <a:gdLst>
                <a:gd name="connsiteX0" fmla="*/ 3048000 w 3048000"/>
                <a:gd name="connsiteY0" fmla="*/ 0 h 628650"/>
                <a:gd name="connsiteX1" fmla="*/ 1190625 w 3048000"/>
                <a:gd name="connsiteY1" fmla="*/ 19050 h 628650"/>
                <a:gd name="connsiteX2" fmla="*/ 971550 w 3048000"/>
                <a:gd name="connsiteY2" fmla="*/ 47625 h 628650"/>
                <a:gd name="connsiteX3" fmla="*/ 838200 w 3048000"/>
                <a:gd name="connsiteY3" fmla="*/ 57150 h 628650"/>
                <a:gd name="connsiteX4" fmla="*/ 704850 w 3048000"/>
                <a:gd name="connsiteY4" fmla="*/ 76200 h 628650"/>
                <a:gd name="connsiteX5" fmla="*/ 476250 w 3048000"/>
                <a:gd name="connsiteY5" fmla="*/ 95250 h 628650"/>
                <a:gd name="connsiteX6" fmla="*/ 419100 w 3048000"/>
                <a:gd name="connsiteY6" fmla="*/ 104775 h 628650"/>
                <a:gd name="connsiteX7" fmla="*/ 285750 w 3048000"/>
                <a:gd name="connsiteY7" fmla="*/ 123825 h 628650"/>
                <a:gd name="connsiteX8" fmla="*/ 257175 w 3048000"/>
                <a:gd name="connsiteY8" fmla="*/ 133350 h 628650"/>
                <a:gd name="connsiteX9" fmla="*/ 209550 w 3048000"/>
                <a:gd name="connsiteY9" fmla="*/ 142875 h 628650"/>
                <a:gd name="connsiteX10" fmla="*/ 161925 w 3048000"/>
                <a:gd name="connsiteY10" fmla="*/ 161925 h 628650"/>
                <a:gd name="connsiteX11" fmla="*/ 104775 w 3048000"/>
                <a:gd name="connsiteY11" fmla="*/ 180975 h 628650"/>
                <a:gd name="connsiteX12" fmla="*/ 9525 w 3048000"/>
                <a:gd name="connsiteY12" fmla="*/ 276225 h 628650"/>
                <a:gd name="connsiteX13" fmla="*/ 0 w 3048000"/>
                <a:gd name="connsiteY13" fmla="*/ 304800 h 628650"/>
                <a:gd name="connsiteX14" fmla="*/ 9525 w 3048000"/>
                <a:gd name="connsiteY14" fmla="*/ 390525 h 628650"/>
                <a:gd name="connsiteX15" fmla="*/ 104775 w 3048000"/>
                <a:gd name="connsiteY15" fmla="*/ 485775 h 628650"/>
                <a:gd name="connsiteX16" fmla="*/ 152400 w 3048000"/>
                <a:gd name="connsiteY16" fmla="*/ 504825 h 628650"/>
                <a:gd name="connsiteX17" fmla="*/ 238125 w 3048000"/>
                <a:gd name="connsiteY17" fmla="*/ 552450 h 628650"/>
                <a:gd name="connsiteX18" fmla="*/ 323850 w 3048000"/>
                <a:gd name="connsiteY18" fmla="*/ 571500 h 628650"/>
                <a:gd name="connsiteX19" fmla="*/ 361950 w 3048000"/>
                <a:gd name="connsiteY19" fmla="*/ 590550 h 628650"/>
                <a:gd name="connsiteX20" fmla="*/ 476250 w 3048000"/>
                <a:gd name="connsiteY20" fmla="*/ 609600 h 628650"/>
                <a:gd name="connsiteX21" fmla="*/ 676275 w 3048000"/>
                <a:gd name="connsiteY21" fmla="*/ 628650 h 628650"/>
                <a:gd name="connsiteX22" fmla="*/ 1714500 w 3048000"/>
                <a:gd name="connsiteY22" fmla="*/ 619125 h 628650"/>
                <a:gd name="connsiteX23" fmla="*/ 1838325 w 3048000"/>
                <a:gd name="connsiteY23" fmla="*/ 600075 h 628650"/>
                <a:gd name="connsiteX24" fmla="*/ 2152650 w 3048000"/>
                <a:gd name="connsiteY24" fmla="*/ 590550 h 628650"/>
                <a:gd name="connsiteX25" fmla="*/ 2247900 w 3048000"/>
                <a:gd name="connsiteY25" fmla="*/ 581025 h 628650"/>
                <a:gd name="connsiteX26" fmla="*/ 2381250 w 3048000"/>
                <a:gd name="connsiteY26" fmla="*/ 571500 h 628650"/>
                <a:gd name="connsiteX27" fmla="*/ 2486025 w 3048000"/>
                <a:gd name="connsiteY27" fmla="*/ 561975 h 628650"/>
                <a:gd name="connsiteX28" fmla="*/ 2543175 w 3048000"/>
                <a:gd name="connsiteY28" fmla="*/ 542925 h 628650"/>
                <a:gd name="connsiteX29" fmla="*/ 2571750 w 3048000"/>
                <a:gd name="connsiteY29" fmla="*/ 533400 h 628650"/>
                <a:gd name="connsiteX30" fmla="*/ 2647950 w 3048000"/>
                <a:gd name="connsiteY30" fmla="*/ 523875 h 628650"/>
                <a:gd name="connsiteX31" fmla="*/ 2695575 w 3048000"/>
                <a:gd name="connsiteY31" fmla="*/ 504825 h 628650"/>
                <a:gd name="connsiteX32" fmla="*/ 2733675 w 3048000"/>
                <a:gd name="connsiteY32" fmla="*/ 485775 h 628650"/>
                <a:gd name="connsiteX33" fmla="*/ 2781300 w 3048000"/>
                <a:gd name="connsiteY33" fmla="*/ 476250 h 628650"/>
                <a:gd name="connsiteX34" fmla="*/ 2809875 w 3048000"/>
                <a:gd name="connsiteY34" fmla="*/ 457200 h 628650"/>
                <a:gd name="connsiteX35" fmla="*/ 2876550 w 3048000"/>
                <a:gd name="connsiteY35" fmla="*/ 428625 h 628650"/>
                <a:gd name="connsiteX36" fmla="*/ 2943225 w 3048000"/>
                <a:gd name="connsiteY36" fmla="*/ 342900 h 628650"/>
                <a:gd name="connsiteX37" fmla="*/ 2962275 w 3048000"/>
                <a:gd name="connsiteY37" fmla="*/ 304800 h 628650"/>
                <a:gd name="connsiteX38" fmla="*/ 2971800 w 3048000"/>
                <a:gd name="connsiteY38" fmla="*/ 276225 h 628650"/>
                <a:gd name="connsiteX39" fmla="*/ 3000375 w 3048000"/>
                <a:gd name="connsiteY39" fmla="*/ 238125 h 628650"/>
                <a:gd name="connsiteX40" fmla="*/ 3009900 w 3048000"/>
                <a:gd name="connsiteY40" fmla="*/ 209550 h 628650"/>
                <a:gd name="connsiteX41" fmla="*/ 3028950 w 3048000"/>
                <a:gd name="connsiteY41" fmla="*/ 180975 h 628650"/>
                <a:gd name="connsiteX42" fmla="*/ 3019425 w 3048000"/>
                <a:gd name="connsiteY42" fmla="*/ 104775 h 628650"/>
                <a:gd name="connsiteX43" fmla="*/ 2990850 w 3048000"/>
                <a:gd name="connsiteY43" fmla="*/ 85725 h 628650"/>
                <a:gd name="connsiteX44" fmla="*/ 2781300 w 3048000"/>
                <a:gd name="connsiteY44" fmla="*/ 76200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48000" h="628650">
                  <a:moveTo>
                    <a:pt x="3048000" y="0"/>
                  </a:moveTo>
                  <a:lnTo>
                    <a:pt x="1190625" y="19050"/>
                  </a:lnTo>
                  <a:cubicBezTo>
                    <a:pt x="1091718" y="20925"/>
                    <a:pt x="1055678" y="39613"/>
                    <a:pt x="971550" y="47625"/>
                  </a:cubicBezTo>
                  <a:cubicBezTo>
                    <a:pt x="927187" y="51850"/>
                    <a:pt x="882510" y="52403"/>
                    <a:pt x="838200" y="57150"/>
                  </a:cubicBezTo>
                  <a:cubicBezTo>
                    <a:pt x="793554" y="61933"/>
                    <a:pt x="749619" y="72756"/>
                    <a:pt x="704850" y="76200"/>
                  </a:cubicBezTo>
                  <a:lnTo>
                    <a:pt x="476250" y="95250"/>
                  </a:lnTo>
                  <a:cubicBezTo>
                    <a:pt x="457070" y="97507"/>
                    <a:pt x="438219" y="102044"/>
                    <a:pt x="419100" y="104775"/>
                  </a:cubicBezTo>
                  <a:cubicBezTo>
                    <a:pt x="378730" y="110542"/>
                    <a:pt x="326658" y="114734"/>
                    <a:pt x="285750" y="123825"/>
                  </a:cubicBezTo>
                  <a:cubicBezTo>
                    <a:pt x="275949" y="126003"/>
                    <a:pt x="266915" y="130915"/>
                    <a:pt x="257175" y="133350"/>
                  </a:cubicBezTo>
                  <a:cubicBezTo>
                    <a:pt x="241469" y="137277"/>
                    <a:pt x="225057" y="138223"/>
                    <a:pt x="209550" y="142875"/>
                  </a:cubicBezTo>
                  <a:cubicBezTo>
                    <a:pt x="193173" y="147788"/>
                    <a:pt x="177993" y="156082"/>
                    <a:pt x="161925" y="161925"/>
                  </a:cubicBezTo>
                  <a:cubicBezTo>
                    <a:pt x="143054" y="168787"/>
                    <a:pt x="123825" y="174625"/>
                    <a:pt x="104775" y="180975"/>
                  </a:cubicBezTo>
                  <a:cubicBezTo>
                    <a:pt x="70368" y="208501"/>
                    <a:pt x="29975" y="235325"/>
                    <a:pt x="9525" y="276225"/>
                  </a:cubicBezTo>
                  <a:cubicBezTo>
                    <a:pt x="5035" y="285205"/>
                    <a:pt x="3175" y="295275"/>
                    <a:pt x="0" y="304800"/>
                  </a:cubicBezTo>
                  <a:cubicBezTo>
                    <a:pt x="3175" y="333375"/>
                    <a:pt x="433" y="363250"/>
                    <a:pt x="9525" y="390525"/>
                  </a:cubicBezTo>
                  <a:cubicBezTo>
                    <a:pt x="25518" y="438503"/>
                    <a:pt x="63382" y="463197"/>
                    <a:pt x="104775" y="485775"/>
                  </a:cubicBezTo>
                  <a:cubicBezTo>
                    <a:pt x="119785" y="493962"/>
                    <a:pt x="137107" y="497179"/>
                    <a:pt x="152400" y="504825"/>
                  </a:cubicBezTo>
                  <a:cubicBezTo>
                    <a:pt x="188775" y="523012"/>
                    <a:pt x="201433" y="538691"/>
                    <a:pt x="238125" y="552450"/>
                  </a:cubicBezTo>
                  <a:cubicBezTo>
                    <a:pt x="253498" y="558215"/>
                    <a:pt x="310918" y="568914"/>
                    <a:pt x="323850" y="571500"/>
                  </a:cubicBezTo>
                  <a:cubicBezTo>
                    <a:pt x="336550" y="577850"/>
                    <a:pt x="348175" y="587106"/>
                    <a:pt x="361950" y="590550"/>
                  </a:cubicBezTo>
                  <a:cubicBezTo>
                    <a:pt x="399422" y="599918"/>
                    <a:pt x="438013" y="604138"/>
                    <a:pt x="476250" y="609600"/>
                  </a:cubicBezTo>
                  <a:cubicBezTo>
                    <a:pt x="587040" y="625427"/>
                    <a:pt x="520531" y="617525"/>
                    <a:pt x="676275" y="628650"/>
                  </a:cubicBezTo>
                  <a:lnTo>
                    <a:pt x="1714500" y="619125"/>
                  </a:lnTo>
                  <a:cubicBezTo>
                    <a:pt x="2003455" y="614186"/>
                    <a:pt x="1641201" y="610450"/>
                    <a:pt x="1838325" y="600075"/>
                  </a:cubicBezTo>
                  <a:cubicBezTo>
                    <a:pt x="1943003" y="594566"/>
                    <a:pt x="2047875" y="593725"/>
                    <a:pt x="2152650" y="590550"/>
                  </a:cubicBezTo>
                  <a:lnTo>
                    <a:pt x="2247900" y="581025"/>
                  </a:lnTo>
                  <a:cubicBezTo>
                    <a:pt x="2292309" y="577324"/>
                    <a:pt x="2336829" y="575054"/>
                    <a:pt x="2381250" y="571500"/>
                  </a:cubicBezTo>
                  <a:cubicBezTo>
                    <a:pt x="2416207" y="568703"/>
                    <a:pt x="2451100" y="565150"/>
                    <a:pt x="2486025" y="561975"/>
                  </a:cubicBezTo>
                  <a:lnTo>
                    <a:pt x="2543175" y="542925"/>
                  </a:lnTo>
                  <a:cubicBezTo>
                    <a:pt x="2552700" y="539750"/>
                    <a:pt x="2561787" y="534645"/>
                    <a:pt x="2571750" y="533400"/>
                  </a:cubicBezTo>
                  <a:lnTo>
                    <a:pt x="2647950" y="523875"/>
                  </a:lnTo>
                  <a:cubicBezTo>
                    <a:pt x="2663825" y="517525"/>
                    <a:pt x="2679951" y="511769"/>
                    <a:pt x="2695575" y="504825"/>
                  </a:cubicBezTo>
                  <a:cubicBezTo>
                    <a:pt x="2708550" y="499058"/>
                    <a:pt x="2720205" y="490265"/>
                    <a:pt x="2733675" y="485775"/>
                  </a:cubicBezTo>
                  <a:cubicBezTo>
                    <a:pt x="2749034" y="480655"/>
                    <a:pt x="2765425" y="479425"/>
                    <a:pt x="2781300" y="476250"/>
                  </a:cubicBezTo>
                  <a:cubicBezTo>
                    <a:pt x="2790825" y="469900"/>
                    <a:pt x="2799353" y="461709"/>
                    <a:pt x="2809875" y="457200"/>
                  </a:cubicBezTo>
                  <a:cubicBezTo>
                    <a:pt x="2862205" y="434773"/>
                    <a:pt x="2834350" y="463791"/>
                    <a:pt x="2876550" y="428625"/>
                  </a:cubicBezTo>
                  <a:cubicBezTo>
                    <a:pt x="2903429" y="406226"/>
                    <a:pt x="2928053" y="373244"/>
                    <a:pt x="2943225" y="342900"/>
                  </a:cubicBezTo>
                  <a:cubicBezTo>
                    <a:pt x="2949575" y="330200"/>
                    <a:pt x="2956682" y="317851"/>
                    <a:pt x="2962275" y="304800"/>
                  </a:cubicBezTo>
                  <a:cubicBezTo>
                    <a:pt x="2966230" y="295572"/>
                    <a:pt x="2966819" y="284942"/>
                    <a:pt x="2971800" y="276225"/>
                  </a:cubicBezTo>
                  <a:cubicBezTo>
                    <a:pt x="2979676" y="262442"/>
                    <a:pt x="2990850" y="250825"/>
                    <a:pt x="3000375" y="238125"/>
                  </a:cubicBezTo>
                  <a:cubicBezTo>
                    <a:pt x="3003550" y="228600"/>
                    <a:pt x="3005410" y="218530"/>
                    <a:pt x="3009900" y="209550"/>
                  </a:cubicBezTo>
                  <a:cubicBezTo>
                    <a:pt x="3015020" y="199311"/>
                    <a:pt x="3027914" y="192376"/>
                    <a:pt x="3028950" y="180975"/>
                  </a:cubicBezTo>
                  <a:cubicBezTo>
                    <a:pt x="3031268" y="155482"/>
                    <a:pt x="3028932" y="128542"/>
                    <a:pt x="3019425" y="104775"/>
                  </a:cubicBezTo>
                  <a:cubicBezTo>
                    <a:pt x="3015173" y="94146"/>
                    <a:pt x="3002201" y="87206"/>
                    <a:pt x="2990850" y="85725"/>
                  </a:cubicBezTo>
                  <a:cubicBezTo>
                    <a:pt x="2915394" y="75883"/>
                    <a:pt x="2851806" y="76200"/>
                    <a:pt x="2781300" y="76200"/>
                  </a:cubicBezTo>
                </a:path>
              </a:pathLst>
            </a:custGeom>
            <a:ln w="28575">
              <a:solidFill>
                <a:schemeClr val="accent1"/>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Freeform 52"/>
            <p:cNvSpPr/>
            <p:nvPr/>
          </p:nvSpPr>
          <p:spPr>
            <a:xfrm>
              <a:off x="7629525" y="6294317"/>
              <a:ext cx="552450" cy="81416"/>
            </a:xfrm>
            <a:custGeom>
              <a:avLst/>
              <a:gdLst>
                <a:gd name="connsiteX0" fmla="*/ 0 w 552450"/>
                <a:gd name="connsiteY0" fmla="*/ 1708 h 81416"/>
                <a:gd name="connsiteX1" fmla="*/ 495300 w 552450"/>
                <a:gd name="connsiteY1" fmla="*/ 11233 h 81416"/>
                <a:gd name="connsiteX2" fmla="*/ 419100 w 552450"/>
                <a:gd name="connsiteY2" fmla="*/ 30283 h 81416"/>
                <a:gd name="connsiteX3" fmla="*/ 361950 w 552450"/>
                <a:gd name="connsiteY3" fmla="*/ 39808 h 81416"/>
                <a:gd name="connsiteX4" fmla="*/ 333375 w 552450"/>
                <a:gd name="connsiteY4" fmla="*/ 49333 h 81416"/>
                <a:gd name="connsiteX5" fmla="*/ 266700 w 552450"/>
                <a:gd name="connsiteY5" fmla="*/ 58858 h 81416"/>
                <a:gd name="connsiteX6" fmla="*/ 190500 w 552450"/>
                <a:gd name="connsiteY6" fmla="*/ 68383 h 81416"/>
                <a:gd name="connsiteX7" fmla="*/ 152400 w 552450"/>
                <a:gd name="connsiteY7" fmla="*/ 77908 h 81416"/>
                <a:gd name="connsiteX8" fmla="*/ 552450 w 552450"/>
                <a:gd name="connsiteY8" fmla="*/ 77908 h 8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50" h="81416">
                  <a:moveTo>
                    <a:pt x="0" y="1708"/>
                  </a:moveTo>
                  <a:cubicBezTo>
                    <a:pt x="165100" y="4883"/>
                    <a:pt x="330552" y="0"/>
                    <a:pt x="495300" y="11233"/>
                  </a:cubicBezTo>
                  <a:cubicBezTo>
                    <a:pt x="521421" y="13014"/>
                    <a:pt x="444925" y="25979"/>
                    <a:pt x="419100" y="30283"/>
                  </a:cubicBezTo>
                  <a:cubicBezTo>
                    <a:pt x="400050" y="33458"/>
                    <a:pt x="380803" y="35618"/>
                    <a:pt x="361950" y="39808"/>
                  </a:cubicBezTo>
                  <a:cubicBezTo>
                    <a:pt x="352149" y="41986"/>
                    <a:pt x="343220" y="47364"/>
                    <a:pt x="333375" y="49333"/>
                  </a:cubicBezTo>
                  <a:cubicBezTo>
                    <a:pt x="311360" y="53736"/>
                    <a:pt x="288954" y="55891"/>
                    <a:pt x="266700" y="58858"/>
                  </a:cubicBezTo>
                  <a:cubicBezTo>
                    <a:pt x="241327" y="62241"/>
                    <a:pt x="215749" y="64175"/>
                    <a:pt x="190500" y="68383"/>
                  </a:cubicBezTo>
                  <a:cubicBezTo>
                    <a:pt x="177587" y="70535"/>
                    <a:pt x="139314" y="77564"/>
                    <a:pt x="152400" y="77908"/>
                  </a:cubicBezTo>
                  <a:cubicBezTo>
                    <a:pt x="285704" y="81416"/>
                    <a:pt x="419100" y="77908"/>
                    <a:pt x="552450" y="77908"/>
                  </a:cubicBezTo>
                </a:path>
              </a:pathLst>
            </a:custGeom>
            <a:ln w="28575">
              <a:solidFill>
                <a:schemeClr val="accent1"/>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Freeform 53"/>
            <p:cNvSpPr/>
            <p:nvPr/>
          </p:nvSpPr>
          <p:spPr>
            <a:xfrm>
              <a:off x="9906000" y="6248400"/>
              <a:ext cx="1033190" cy="126359"/>
            </a:xfrm>
            <a:custGeom>
              <a:avLst/>
              <a:gdLst>
                <a:gd name="connsiteX0" fmla="*/ 0 w 1033190"/>
                <a:gd name="connsiteY0" fmla="*/ 57150 h 126359"/>
                <a:gd name="connsiteX1" fmla="*/ 381000 w 1033190"/>
                <a:gd name="connsiteY1" fmla="*/ 47625 h 126359"/>
                <a:gd name="connsiteX2" fmla="*/ 514350 w 1033190"/>
                <a:gd name="connsiteY2" fmla="*/ 38100 h 126359"/>
                <a:gd name="connsiteX3" fmla="*/ 723900 w 1033190"/>
                <a:gd name="connsiteY3" fmla="*/ 19050 h 126359"/>
                <a:gd name="connsiteX4" fmla="*/ 809625 w 1033190"/>
                <a:gd name="connsiteY4" fmla="*/ 9525 h 126359"/>
                <a:gd name="connsiteX5" fmla="*/ 1000125 w 1033190"/>
                <a:gd name="connsiteY5" fmla="*/ 0 h 126359"/>
                <a:gd name="connsiteX6" fmla="*/ 1028700 w 1033190"/>
                <a:gd name="connsiteY6" fmla="*/ 9525 h 126359"/>
                <a:gd name="connsiteX7" fmla="*/ 990600 w 1033190"/>
                <a:gd name="connsiteY7" fmla="*/ 19050 h 126359"/>
                <a:gd name="connsiteX8" fmla="*/ 962025 w 1033190"/>
                <a:gd name="connsiteY8" fmla="*/ 28575 h 126359"/>
                <a:gd name="connsiteX9" fmla="*/ 876300 w 1033190"/>
                <a:gd name="connsiteY9" fmla="*/ 47625 h 126359"/>
                <a:gd name="connsiteX10" fmla="*/ 847725 w 1033190"/>
                <a:gd name="connsiteY10" fmla="*/ 57150 h 126359"/>
                <a:gd name="connsiteX11" fmla="*/ 752475 w 1033190"/>
                <a:gd name="connsiteY11" fmla="*/ 85725 h 126359"/>
                <a:gd name="connsiteX12" fmla="*/ 723900 w 1033190"/>
                <a:gd name="connsiteY12" fmla="*/ 95250 h 126359"/>
                <a:gd name="connsiteX13" fmla="*/ 695325 w 1033190"/>
                <a:gd name="connsiteY13" fmla="*/ 104775 h 126359"/>
                <a:gd name="connsiteX14" fmla="*/ 638175 w 1033190"/>
                <a:gd name="connsiteY14" fmla="*/ 114300 h 126359"/>
                <a:gd name="connsiteX15" fmla="*/ 609600 w 1033190"/>
                <a:gd name="connsiteY15" fmla="*/ 123825 h 126359"/>
                <a:gd name="connsiteX16" fmla="*/ 495300 w 1033190"/>
                <a:gd name="connsiteY16" fmla="*/ 123825 h 12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3190" h="126359">
                  <a:moveTo>
                    <a:pt x="0" y="57150"/>
                  </a:moveTo>
                  <a:lnTo>
                    <a:pt x="381000" y="47625"/>
                  </a:lnTo>
                  <a:cubicBezTo>
                    <a:pt x="425533" y="45976"/>
                    <a:pt x="469918" y="41518"/>
                    <a:pt x="514350" y="38100"/>
                  </a:cubicBezTo>
                  <a:cubicBezTo>
                    <a:pt x="597742" y="31685"/>
                    <a:pt x="642942" y="27572"/>
                    <a:pt x="723900" y="19050"/>
                  </a:cubicBezTo>
                  <a:cubicBezTo>
                    <a:pt x="752493" y="16040"/>
                    <a:pt x="780942" y="11503"/>
                    <a:pt x="809625" y="9525"/>
                  </a:cubicBezTo>
                  <a:cubicBezTo>
                    <a:pt x="873054" y="5151"/>
                    <a:pt x="936625" y="3175"/>
                    <a:pt x="1000125" y="0"/>
                  </a:cubicBezTo>
                  <a:cubicBezTo>
                    <a:pt x="1009650" y="3175"/>
                    <a:pt x="1033190" y="545"/>
                    <a:pt x="1028700" y="9525"/>
                  </a:cubicBezTo>
                  <a:cubicBezTo>
                    <a:pt x="1022846" y="21234"/>
                    <a:pt x="1003187" y="15454"/>
                    <a:pt x="990600" y="19050"/>
                  </a:cubicBezTo>
                  <a:cubicBezTo>
                    <a:pt x="980946" y="21808"/>
                    <a:pt x="971765" y="26140"/>
                    <a:pt x="962025" y="28575"/>
                  </a:cubicBezTo>
                  <a:cubicBezTo>
                    <a:pt x="883459" y="48217"/>
                    <a:pt x="944746" y="28069"/>
                    <a:pt x="876300" y="47625"/>
                  </a:cubicBezTo>
                  <a:cubicBezTo>
                    <a:pt x="866646" y="50383"/>
                    <a:pt x="857379" y="54392"/>
                    <a:pt x="847725" y="57150"/>
                  </a:cubicBezTo>
                  <a:cubicBezTo>
                    <a:pt x="746958" y="85940"/>
                    <a:pt x="888288" y="40454"/>
                    <a:pt x="752475" y="85725"/>
                  </a:cubicBezTo>
                  <a:lnTo>
                    <a:pt x="723900" y="95250"/>
                  </a:lnTo>
                  <a:cubicBezTo>
                    <a:pt x="714375" y="98425"/>
                    <a:pt x="705229" y="103124"/>
                    <a:pt x="695325" y="104775"/>
                  </a:cubicBezTo>
                  <a:cubicBezTo>
                    <a:pt x="676275" y="107950"/>
                    <a:pt x="657028" y="110110"/>
                    <a:pt x="638175" y="114300"/>
                  </a:cubicBezTo>
                  <a:cubicBezTo>
                    <a:pt x="628374" y="116478"/>
                    <a:pt x="619618" y="123157"/>
                    <a:pt x="609600" y="123825"/>
                  </a:cubicBezTo>
                  <a:cubicBezTo>
                    <a:pt x="571584" y="126359"/>
                    <a:pt x="533400" y="123825"/>
                    <a:pt x="495300" y="123825"/>
                  </a:cubicBezTo>
                </a:path>
              </a:pathLst>
            </a:custGeom>
            <a:ln w="28575">
              <a:solidFill>
                <a:schemeClr val="accent1"/>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211942699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r-HR" dirty="0" smtClean="0"/>
              <a:t>Traži se „Data </a:t>
            </a:r>
            <a:r>
              <a:rPr lang="hr-HR" dirty="0" err="1" smtClean="0"/>
              <a:t>Scientist</a:t>
            </a:r>
            <a:r>
              <a:rPr lang="hr-HR" dirty="0" smtClean="0"/>
              <a:t>”!</a:t>
            </a:r>
            <a:endParaRPr lang="en-US" dirty="0"/>
          </a:p>
        </p:txBody>
      </p:sp>
      <p:sp>
        <p:nvSpPr>
          <p:cNvPr id="3" name="Content Placeholder 2"/>
          <p:cNvSpPr>
            <a:spLocks noGrp="1"/>
          </p:cNvSpPr>
          <p:nvPr>
            <p:ph idx="1"/>
          </p:nvPr>
        </p:nvSpPr>
        <p:spPr>
          <a:xfrm>
            <a:off x="531814" y="1905000"/>
            <a:ext cx="6096659" cy="3733799"/>
          </a:xfrm>
        </p:spPr>
        <p:txBody>
          <a:bodyPr/>
          <a:lstStyle/>
          <a:p>
            <a:r>
              <a:rPr lang="hr-HR" dirty="0" err="1" smtClean="0"/>
              <a:t>Harvard</a:t>
            </a:r>
            <a:r>
              <a:rPr lang="hr-HR" dirty="0" smtClean="0"/>
              <a:t> Business </a:t>
            </a:r>
            <a:r>
              <a:rPr lang="hr-HR" dirty="0" err="1" smtClean="0"/>
              <a:t>Review</a:t>
            </a:r>
            <a:r>
              <a:rPr lang="hr-HR" dirty="0"/>
              <a:t> </a:t>
            </a:r>
            <a:r>
              <a:rPr lang="hr-HR" dirty="0" smtClean="0"/>
              <a:t>„</a:t>
            </a:r>
            <a:r>
              <a:rPr lang="en-US" dirty="0" smtClean="0"/>
              <a:t>Data </a:t>
            </a:r>
            <a:r>
              <a:rPr lang="en-US" dirty="0"/>
              <a:t>Scientist: The Sexiest Job of the 21st </a:t>
            </a:r>
            <a:r>
              <a:rPr lang="en-US" dirty="0" smtClean="0"/>
              <a:t>Century</a:t>
            </a:r>
            <a:r>
              <a:rPr lang="hr-HR" dirty="0" smtClean="0"/>
              <a:t>”</a:t>
            </a:r>
          </a:p>
          <a:p>
            <a:r>
              <a:rPr lang="hr-HR" dirty="0" err="1" smtClean="0"/>
              <a:t>Glassdoor</a:t>
            </a:r>
            <a:r>
              <a:rPr lang="hr-HR" dirty="0" smtClean="0"/>
              <a:t>: </a:t>
            </a:r>
            <a:r>
              <a:rPr lang="hr-HR" dirty="0" err="1" smtClean="0"/>
              <a:t>The</a:t>
            </a:r>
            <a:r>
              <a:rPr lang="hr-HR" dirty="0" smtClean="0"/>
              <a:t> </a:t>
            </a:r>
            <a:r>
              <a:rPr lang="hr-HR" dirty="0" err="1" smtClean="0"/>
              <a:t>best</a:t>
            </a:r>
            <a:r>
              <a:rPr lang="hr-HR" dirty="0" smtClean="0"/>
              <a:t> </a:t>
            </a:r>
            <a:r>
              <a:rPr lang="hr-HR" dirty="0" err="1" smtClean="0"/>
              <a:t>job</a:t>
            </a:r>
            <a:r>
              <a:rPr lang="hr-HR" dirty="0" smtClean="0"/>
              <a:t> </a:t>
            </a:r>
            <a:r>
              <a:rPr lang="hr-HR" dirty="0" err="1" smtClean="0"/>
              <a:t>in</a:t>
            </a:r>
            <a:r>
              <a:rPr lang="hr-HR" dirty="0" smtClean="0"/>
              <a:t> USA - 2016</a:t>
            </a:r>
          </a:p>
          <a:p>
            <a:r>
              <a:rPr lang="hr-HR" dirty="0" err="1" smtClean="0"/>
              <a:t>Deloitte</a:t>
            </a:r>
            <a:r>
              <a:rPr lang="hr-HR" dirty="0" smtClean="0"/>
              <a:t>, IDC, </a:t>
            </a:r>
            <a:r>
              <a:rPr lang="hr-HR" dirty="0" err="1" smtClean="0"/>
              <a:t>Gartner</a:t>
            </a:r>
            <a:r>
              <a:rPr lang="hr-HR" dirty="0" smtClean="0"/>
              <a:t> itd</a:t>
            </a:r>
            <a:r>
              <a:rPr lang="hr-HR" dirty="0" smtClean="0"/>
              <a:t>..</a:t>
            </a:r>
          </a:p>
          <a:p>
            <a:r>
              <a:rPr lang="hr-HR" dirty="0" err="1" smtClean="0"/>
              <a:t>Machine</a:t>
            </a:r>
            <a:r>
              <a:rPr lang="hr-HR" dirty="0" smtClean="0"/>
              <a:t> </a:t>
            </a:r>
            <a:r>
              <a:rPr lang="hr-HR" dirty="0" err="1" smtClean="0"/>
              <a:t>Learning</a:t>
            </a:r>
            <a:endParaRPr lang="hr-HR" dirty="0" smtClean="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94612" y="1447800"/>
            <a:ext cx="2825496" cy="3657600"/>
          </a:xfrm>
          <a:prstGeom prst="rect">
            <a:avLst/>
          </a:prstGeom>
        </p:spPr>
      </p:pic>
      <p:sp>
        <p:nvSpPr>
          <p:cNvPr id="5" name="TextBox 4"/>
          <p:cNvSpPr txBox="1"/>
          <p:nvPr/>
        </p:nvSpPr>
        <p:spPr>
          <a:xfrm>
            <a:off x="8456612" y="1981200"/>
            <a:ext cx="1600200" cy="2743200"/>
          </a:xfrm>
          <a:prstGeom prst="rect">
            <a:avLst/>
          </a:prstGeom>
          <a:noFill/>
        </p:spPr>
        <p:txBody>
          <a:bodyPr wrap="none" lIns="0" tIns="0" rIns="0" bIns="0" rtlCol="0">
            <a:noAutofit/>
          </a:bodyPr>
          <a:lstStyle/>
          <a:p>
            <a:pPr>
              <a:lnSpc>
                <a:spcPct val="90000"/>
              </a:lnSpc>
            </a:pPr>
            <a:r>
              <a:rPr lang="hr-HR" sz="23900" b="1" dirty="0" smtClean="0"/>
              <a:t>?</a:t>
            </a:r>
            <a:endParaRPr lang="en-US" b="1" dirty="0"/>
          </a:p>
        </p:txBody>
      </p:sp>
    </p:spTree>
    <p:extLst>
      <p:ext uri="{BB962C8B-B14F-4D97-AF65-F5344CB8AC3E}">
        <p14:creationId xmlns:p14="http://schemas.microsoft.com/office/powerpoint/2010/main" val="304288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We increased our revenue by 40%”</a:t>
            </a:r>
            <a:endParaRPr lang="en-US" dirty="0"/>
          </a:p>
        </p:txBody>
      </p:sp>
      <p:sp>
        <p:nvSpPr>
          <p:cNvPr id="3" name="Text Placeholder 2"/>
          <p:cNvSpPr>
            <a:spLocks noGrp="1"/>
          </p:cNvSpPr>
          <p:nvPr>
            <p:ph type="body" sz="half" idx="2"/>
          </p:nvPr>
        </p:nvSpPr>
        <p:spPr/>
        <p:txBody>
          <a:bodyPr/>
          <a:lstStyle/>
          <a:p>
            <a:r>
              <a:rPr lang="en-US" smtClean="0"/>
              <a:t>Mark Sucrese, Marketing IT Director, Dell</a:t>
            </a:r>
            <a:endParaRPr lang="en-US" dirty="0"/>
          </a:p>
        </p:txBody>
      </p:sp>
      <p:sp>
        <p:nvSpPr>
          <p:cNvPr id="4" name="Footer Placeholder 3"/>
          <p:cNvSpPr>
            <a:spLocks noGrp="1"/>
          </p:cNvSpPr>
          <p:nvPr>
            <p:ph type="ftr" sz="quarter" idx="11"/>
          </p:nvPr>
        </p:nvSpPr>
        <p:spPr/>
        <p:txBody>
          <a:bodyPr/>
          <a:lstStyle/>
          <a:p>
            <a:r>
              <a:rPr lang="en-US" smtClean="0">
                <a:solidFill>
                  <a:srgbClr val="5F5F5F"/>
                </a:solidFill>
              </a:rPr>
              <a:t>Oracle Confidential – Internal/Restricted/Highly Restricted</a:t>
            </a:r>
            <a:endParaRPr lang="en-US" dirty="0">
              <a:solidFill>
                <a:srgbClr val="5F5F5F"/>
              </a:solidFill>
            </a:endParaRPr>
          </a:p>
        </p:txBody>
      </p:sp>
      <p:sp>
        <p:nvSpPr>
          <p:cNvPr id="5" name="Slide Number Placeholder 4"/>
          <p:cNvSpPr>
            <a:spLocks noGrp="1"/>
          </p:cNvSpPr>
          <p:nvPr>
            <p:ph type="sldNum" sz="quarter" idx="12"/>
          </p:nvPr>
        </p:nvSpPr>
        <p:spPr/>
        <p:txBody>
          <a:bodyPr/>
          <a:lstStyle/>
          <a:p>
            <a:fld id="{C51EAA63-D034-42AE-91FA-B13B9518C7BE}" type="slidenum">
              <a:rPr lang="en-US" smtClean="0">
                <a:solidFill>
                  <a:srgbClr val="5F5F5F"/>
                </a:solidFill>
              </a:rPr>
              <a:pPr/>
              <a:t>30</a:t>
            </a:fld>
            <a:endParaRPr lang="en-US" dirty="0">
              <a:solidFill>
                <a:srgbClr val="5F5F5F"/>
              </a:solidFill>
            </a:endParaRPr>
          </a:p>
        </p:txBody>
      </p:sp>
      <p:pic>
        <p:nvPicPr>
          <p:cNvPr id="15" name="Picture Placeholder 14"/>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4406" r="8853" b="5953"/>
          <a:stretch/>
        </p:blipFill>
        <p:spPr>
          <a:xfrm>
            <a:off x="416560" y="1804416"/>
            <a:ext cx="2712720" cy="2889504"/>
          </a:xfrm>
        </p:spPr>
      </p:pic>
    </p:spTree>
    <p:extLst>
      <p:ext uri="{BB962C8B-B14F-4D97-AF65-F5344CB8AC3E}">
        <p14:creationId xmlns:p14="http://schemas.microsoft.com/office/powerpoint/2010/main" val="239618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406400"/>
            <a:ext cx="11125200" cy="889000"/>
          </a:xfrm>
        </p:spPr>
        <p:txBody>
          <a:bodyPr/>
          <a:lstStyle/>
          <a:p>
            <a:r>
              <a:rPr lang="en-US" dirty="0"/>
              <a:t>Customer &amp; Brand 360</a:t>
            </a:r>
          </a:p>
        </p:txBody>
      </p:sp>
      <p:pic>
        <p:nvPicPr>
          <p:cNvPr id="8" name="Picture Placeholder 7"/>
          <p:cNvPicPr>
            <a:picLocks noGrp="1" noChangeAspect="1"/>
          </p:cNvPicPr>
          <p:nvPr>
            <p:ph type="pic" idx="1"/>
          </p:nvPr>
        </p:nvPicPr>
        <p:blipFill rotWithShape="1">
          <a:blip r:embed="rId3">
            <a:extLst>
              <a:ext uri="{28A0092B-C50C-407E-A947-70E740481C1C}">
                <a14:useLocalDpi xmlns:a14="http://schemas.microsoft.com/office/drawing/2010/main" val="0"/>
              </a:ext>
            </a:extLst>
          </a:blip>
          <a:srcRect l="5424" t="-1" r="5424" b="5503"/>
          <a:stretch/>
        </p:blipFill>
        <p:spPr>
          <a:xfrm>
            <a:off x="531812" y="1755475"/>
            <a:ext cx="6095999" cy="4340525"/>
          </a:xfrm>
        </p:spPr>
      </p:pic>
      <p:sp>
        <p:nvSpPr>
          <p:cNvPr id="4" name="Text Placeholder 3"/>
          <p:cNvSpPr>
            <a:spLocks noGrp="1"/>
          </p:cNvSpPr>
          <p:nvPr>
            <p:ph type="body" sz="half" idx="2"/>
          </p:nvPr>
        </p:nvSpPr>
        <p:spPr>
          <a:xfrm>
            <a:off x="7008812" y="2667000"/>
            <a:ext cx="4648201" cy="3352800"/>
          </a:xfrm>
        </p:spPr>
        <p:txBody>
          <a:bodyPr/>
          <a:lstStyle/>
          <a:p>
            <a:r>
              <a:rPr lang="en-US" dirty="0">
                <a:solidFill>
                  <a:schemeClr val="accent1"/>
                </a:solidFill>
              </a:rPr>
              <a:t>$132M </a:t>
            </a:r>
            <a:r>
              <a:rPr lang="en-US" dirty="0"/>
              <a:t>in net new revenue </a:t>
            </a:r>
            <a:r>
              <a:rPr lang="en-US" dirty="0" smtClean="0"/>
              <a:t>FY2012</a:t>
            </a:r>
          </a:p>
          <a:p>
            <a:endParaRPr lang="en-US" dirty="0"/>
          </a:p>
          <a:p>
            <a:r>
              <a:rPr lang="en-US" dirty="0">
                <a:solidFill>
                  <a:schemeClr val="accent1"/>
                </a:solidFill>
              </a:rPr>
              <a:t>40% reduction </a:t>
            </a:r>
            <a:r>
              <a:rPr lang="en-US" dirty="0"/>
              <a:t>in cost of dispatch </a:t>
            </a:r>
          </a:p>
          <a:p>
            <a:r>
              <a:rPr lang="en-US" dirty="0" smtClean="0"/>
              <a:t> </a:t>
            </a:r>
            <a:r>
              <a:rPr lang="en-US" dirty="0"/>
              <a:t>“The insights are amazing.  You can really see customers' buying patterns and interests, how they change over time, and we can take action on that</a:t>
            </a:r>
            <a:r>
              <a:rPr lang="en-US" dirty="0" smtClean="0"/>
              <a:t>.” </a:t>
            </a:r>
          </a:p>
          <a:p>
            <a:endParaRPr lang="en-US" dirty="0"/>
          </a:p>
          <a:p>
            <a:r>
              <a:rPr lang="en-US" dirty="0"/>
              <a:t>Mark </a:t>
            </a:r>
            <a:r>
              <a:rPr lang="en-US" dirty="0" err="1" smtClean="0"/>
              <a:t>Sucrese</a:t>
            </a:r>
            <a:r>
              <a:rPr lang="en-US" dirty="0"/>
              <a:t>, Marketing Director </a:t>
            </a:r>
          </a:p>
        </p:txBody>
      </p:sp>
      <p:sp>
        <p:nvSpPr>
          <p:cNvPr id="5" name="Footer Placeholder 4"/>
          <p:cNvSpPr>
            <a:spLocks noGrp="1"/>
          </p:cNvSpPr>
          <p:nvPr>
            <p:ph type="ftr" sz="quarter" idx="11"/>
          </p:nvPr>
        </p:nvSpPr>
        <p:spPr/>
        <p:txBody>
          <a:bodyPr/>
          <a:lstStyle/>
          <a:p>
            <a:r>
              <a:rPr lang="en-US" dirty="0" smtClean="0">
                <a:solidFill>
                  <a:srgbClr val="5F5F5F"/>
                </a:solidFill>
              </a:rPr>
              <a:t>Oracle Confidential – Internal/Restricted/Highly Restricted</a:t>
            </a:r>
            <a:endParaRPr lang="en-US" dirty="0">
              <a:solidFill>
                <a:srgbClr val="5F5F5F"/>
              </a:solidFill>
            </a:endParaRPr>
          </a:p>
        </p:txBody>
      </p:sp>
      <p:sp>
        <p:nvSpPr>
          <p:cNvPr id="6" name="Slide Number Placeholder 5"/>
          <p:cNvSpPr>
            <a:spLocks noGrp="1"/>
          </p:cNvSpPr>
          <p:nvPr>
            <p:ph type="sldNum" sz="quarter" idx="12"/>
          </p:nvPr>
        </p:nvSpPr>
        <p:spPr/>
        <p:txBody>
          <a:bodyPr/>
          <a:lstStyle/>
          <a:p>
            <a:fld id="{C51EAA63-D034-42AE-91FA-B13B9518C7BE}" type="slidenum">
              <a:rPr lang="en-US" smtClean="0">
                <a:solidFill>
                  <a:srgbClr val="5F5F5F"/>
                </a:solidFill>
              </a:rPr>
              <a:pPr/>
              <a:t>31</a:t>
            </a:fld>
            <a:endParaRPr lang="en-US" dirty="0">
              <a:solidFill>
                <a:srgbClr val="5F5F5F"/>
              </a:solidFill>
            </a:endParaRPr>
          </a:p>
        </p:txBody>
      </p:sp>
      <p:sp>
        <p:nvSpPr>
          <p:cNvPr id="11" name="Text Placeholder 10"/>
          <p:cNvSpPr>
            <a:spLocks noGrp="1"/>
          </p:cNvSpPr>
          <p:nvPr>
            <p:ph type="body" sz="quarter" idx="13"/>
          </p:nvPr>
        </p:nvSpPr>
        <p:spPr>
          <a:xfrm>
            <a:off x="531814" y="1373741"/>
            <a:ext cx="11125198" cy="343299"/>
          </a:xfrm>
        </p:spPr>
        <p:txBody>
          <a:bodyPr/>
          <a:lstStyle/>
          <a:p>
            <a:r>
              <a:rPr lang="en-US" dirty="0"/>
              <a:t>Powered by Oracle Real-Time Decisions, BI, Siebel, </a:t>
            </a:r>
            <a:r>
              <a:rPr lang="en-US" dirty="0" err="1"/>
              <a:t>Eloqua</a:t>
            </a:r>
            <a:r>
              <a:rPr lang="en-US" dirty="0"/>
              <a:t> </a:t>
            </a:r>
          </a:p>
          <a:p>
            <a:endParaRPr lang="en-US" dirty="0"/>
          </a:p>
        </p:txBody>
      </p:sp>
      <p:sp>
        <p:nvSpPr>
          <p:cNvPr id="17" name="Text Placeholder 3"/>
          <p:cNvSpPr txBox="1">
            <a:spLocks/>
          </p:cNvSpPr>
          <p:nvPr/>
        </p:nvSpPr>
        <p:spPr bwMode="white">
          <a:xfrm>
            <a:off x="7008812" y="1775062"/>
            <a:ext cx="4648200" cy="587138"/>
          </a:xfrm>
          <a:prstGeom prst="rect">
            <a:avLst/>
          </a:prstGeom>
          <a:solidFill>
            <a:schemeClr val="accent5"/>
          </a:solidFill>
        </p:spPr>
        <p:txBody>
          <a:bodyPr vert="horz" lIns="0" tIns="0" rIns="0" bIns="0" rtlCol="0" anchor="ctr" anchorCtr="0">
            <a:noAutofit/>
          </a:bodyPr>
          <a:lstStyle>
            <a:lvl1pPr marL="0" indent="0" algn="l" defTabSz="228600" rtl="0" eaLnBrk="1" latinLnBrk="0" hangingPunct="1">
              <a:spcBef>
                <a:spcPts val="0"/>
              </a:spcBef>
              <a:spcAft>
                <a:spcPts val="0"/>
              </a:spcAft>
              <a:buClr>
                <a:srgbClr val="FF0000"/>
              </a:buClr>
              <a:buSzPct val="85000"/>
              <a:buFont typeface="Wingdings" pitchFamily="2" charset="2"/>
              <a:buNone/>
              <a:tabLst/>
              <a:defRPr sz="2000" b="1" kern="1200" cap="none" baseline="0">
                <a:solidFill>
                  <a:schemeClr val="bg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rgbClr val="FF0000"/>
              </a:buClr>
              <a:buSzPct val="85000"/>
              <a:buFont typeface="Wingdings" pitchFamily="2" charset="2"/>
              <a:buChar char="§"/>
              <a:defRPr sz="1800" kern="1200">
                <a:solidFill>
                  <a:schemeClr val="tx1"/>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US" sz="1400" dirty="0" smtClean="0">
                <a:solidFill>
                  <a:sysClr val="window" lastClr="FFFFFF"/>
                </a:solidFill>
              </a:rPr>
              <a:t>Improve revenues and operations through personalized predictive analytics</a:t>
            </a:r>
            <a:r>
              <a:rPr lang="en-US" sz="1400" dirty="0" smtClean="0">
                <a:solidFill>
                  <a:sysClr val="window" lastClr="FFFFFF"/>
                </a:solidFill>
                <a:ea typeface="ＭＳ Ｐゴシック" pitchFamily="34" charset="-128"/>
              </a:rPr>
              <a:t> </a:t>
            </a:r>
          </a:p>
        </p:txBody>
      </p:sp>
      <p:pic>
        <p:nvPicPr>
          <p:cNvPr id="18" name="Picture 3" descr="https://encrypted-tbn0.gstatic.com/images?q=tbn:ANd9GcQR2PgRHX7gbn_V7lIjOXXPAP_2n2JZd0FIebQGAseRRqON1Us"/>
          <p:cNvPicPr>
            <a:picLocks noChangeAspect="1" noChangeArrowheads="1"/>
          </p:cNvPicPr>
          <p:nvPr/>
        </p:nvPicPr>
        <p:blipFill>
          <a:blip r:embed="rId4" cstate="print"/>
          <a:srcRect/>
          <a:stretch>
            <a:fillRect/>
          </a:stretch>
        </p:blipFill>
        <p:spPr bwMode="auto">
          <a:xfrm>
            <a:off x="10473372" y="609600"/>
            <a:ext cx="1155700" cy="865187"/>
          </a:xfrm>
          <a:prstGeom prst="rect">
            <a:avLst/>
          </a:prstGeom>
          <a:noFill/>
          <a:ln w="9525">
            <a:noFill/>
            <a:miter lim="800000"/>
            <a:headEnd/>
            <a:tailEnd/>
          </a:ln>
        </p:spPr>
      </p:pic>
    </p:spTree>
    <p:extLst>
      <p:ext uri="{BB962C8B-B14F-4D97-AF65-F5344CB8AC3E}">
        <p14:creationId xmlns:p14="http://schemas.microsoft.com/office/powerpoint/2010/main" val="91495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Dell RTD is Live in 3 Channels, 4th is WIP</a:t>
            </a:r>
            <a:endParaRPr lang="en-US" dirty="0"/>
          </a:p>
        </p:txBody>
      </p:sp>
      <p:pic>
        <p:nvPicPr>
          <p:cNvPr id="9" name="Picture Placeholder 8"/>
          <p:cNvPicPr>
            <a:picLocks noGrp="1" noChangeAspect="1"/>
          </p:cNvPicPr>
          <p:nvPr>
            <p:ph type="pic" idx="1"/>
          </p:nvPr>
        </p:nvPicPr>
        <p:blipFill rotWithShape="1">
          <a:blip r:embed="rId3">
            <a:extLst>
              <a:ext uri="{28A0092B-C50C-407E-A947-70E740481C1C}">
                <a14:useLocalDpi xmlns:a14="http://schemas.microsoft.com/office/drawing/2010/main" val="0"/>
              </a:ext>
            </a:extLst>
          </a:blip>
          <a:srcRect l="3751" t="-333" r="35179" b="333"/>
          <a:stretch/>
        </p:blipFill>
        <p:spPr>
          <a:xfrm>
            <a:off x="486092" y="1524000"/>
            <a:ext cx="3474720" cy="3048000"/>
          </a:xfrm>
        </p:spPr>
      </p:pic>
      <p:sp>
        <p:nvSpPr>
          <p:cNvPr id="4" name="Text Placeholder 3"/>
          <p:cNvSpPr>
            <a:spLocks noGrp="1"/>
          </p:cNvSpPr>
          <p:nvPr>
            <p:ph type="body" sz="half" idx="2"/>
          </p:nvPr>
        </p:nvSpPr>
        <p:spPr/>
        <p:txBody>
          <a:bodyPr/>
          <a:lstStyle/>
          <a:p>
            <a:pPr algn="ctr"/>
            <a:r>
              <a:rPr lang="en-US" dirty="0" smtClean="0"/>
              <a:t>Service Contact Centre</a:t>
            </a:r>
            <a:endParaRPr lang="en-US" dirty="0"/>
          </a:p>
        </p:txBody>
      </p:sp>
      <p:pic>
        <p:nvPicPr>
          <p:cNvPr id="16" name="Picture Placeholder 15"/>
          <p:cNvPicPr>
            <a:picLocks noGrp="1" noChangeAspect="1"/>
          </p:cNvPicPr>
          <p:nvPr>
            <p:ph type="pic" idx="13"/>
          </p:nvPr>
        </p:nvPicPr>
        <p:blipFill rotWithShape="1">
          <a:blip r:embed="rId4">
            <a:extLst>
              <a:ext uri="{28A0092B-C50C-407E-A947-70E740481C1C}">
                <a14:useLocalDpi xmlns:a14="http://schemas.microsoft.com/office/drawing/2010/main" val="0"/>
              </a:ext>
            </a:extLst>
          </a:blip>
          <a:srcRect l="-51" t="-333" r="27929" b="333"/>
          <a:stretch/>
        </p:blipFill>
        <p:spPr>
          <a:xfrm>
            <a:off x="4357052" y="1524000"/>
            <a:ext cx="3557588" cy="3048000"/>
          </a:xfrm>
        </p:spPr>
      </p:pic>
      <p:sp>
        <p:nvSpPr>
          <p:cNvPr id="8" name="Text Placeholder 7"/>
          <p:cNvSpPr>
            <a:spLocks noGrp="1"/>
          </p:cNvSpPr>
          <p:nvPr>
            <p:ph type="body" sz="half" idx="14"/>
          </p:nvPr>
        </p:nvSpPr>
        <p:spPr/>
        <p:txBody>
          <a:bodyPr/>
          <a:lstStyle/>
          <a:p>
            <a:pPr algn="ctr"/>
            <a:r>
              <a:rPr lang="en-US" dirty="0" smtClean="0"/>
              <a:t>Sales Contact Centre</a:t>
            </a:r>
            <a:endParaRPr lang="en-US" dirty="0"/>
          </a:p>
        </p:txBody>
      </p:sp>
      <p:sp>
        <p:nvSpPr>
          <p:cNvPr id="10" name="Text Placeholder 9"/>
          <p:cNvSpPr>
            <a:spLocks noGrp="1"/>
          </p:cNvSpPr>
          <p:nvPr>
            <p:ph type="body" sz="half" idx="16"/>
          </p:nvPr>
        </p:nvSpPr>
        <p:spPr/>
        <p:txBody>
          <a:bodyPr/>
          <a:lstStyle/>
          <a:p>
            <a:pPr algn="ctr"/>
            <a:r>
              <a:rPr lang="en-US" dirty="0" smtClean="0"/>
              <a:t>Email content personalization</a:t>
            </a:r>
            <a:endParaRPr lang="en-US" dirty="0"/>
          </a:p>
        </p:txBody>
      </p:sp>
      <p:sp>
        <p:nvSpPr>
          <p:cNvPr id="5" name="Footer Placeholder 4"/>
          <p:cNvSpPr>
            <a:spLocks noGrp="1"/>
          </p:cNvSpPr>
          <p:nvPr>
            <p:ph type="ftr" sz="quarter" idx="11"/>
          </p:nvPr>
        </p:nvSpPr>
        <p:spPr/>
        <p:txBody>
          <a:bodyPr/>
          <a:lstStyle/>
          <a:p>
            <a:r>
              <a:rPr lang="en-US" smtClean="0">
                <a:solidFill>
                  <a:srgbClr val="5F5F5F"/>
                </a:solidFill>
              </a:rPr>
              <a:t>Oracle Confidential – Internal/Restricted/Highly Restricted</a:t>
            </a:r>
            <a:endParaRPr lang="en-US" dirty="0">
              <a:solidFill>
                <a:srgbClr val="5F5F5F"/>
              </a:solidFill>
            </a:endParaRPr>
          </a:p>
        </p:txBody>
      </p:sp>
      <p:sp>
        <p:nvSpPr>
          <p:cNvPr id="6" name="Slide Number Placeholder 5"/>
          <p:cNvSpPr>
            <a:spLocks noGrp="1"/>
          </p:cNvSpPr>
          <p:nvPr>
            <p:ph type="sldNum" sz="quarter" idx="12"/>
          </p:nvPr>
        </p:nvSpPr>
        <p:spPr/>
        <p:txBody>
          <a:bodyPr/>
          <a:lstStyle/>
          <a:p>
            <a:fld id="{C51EAA63-D034-42AE-91FA-B13B9518C7BE}" type="slidenum">
              <a:rPr lang="en-US" smtClean="0">
                <a:solidFill>
                  <a:srgbClr val="5F5F5F"/>
                </a:solidFill>
              </a:rPr>
              <a:pPr/>
              <a:t>32</a:t>
            </a:fld>
            <a:endParaRPr lang="en-US" dirty="0">
              <a:solidFill>
                <a:srgbClr val="5F5F5F"/>
              </a:solidFill>
            </a:endParaRPr>
          </a:p>
        </p:txBody>
      </p:sp>
      <p:pic>
        <p:nvPicPr>
          <p:cNvPr id="54" name="Picture Placeholder 53"/>
          <p:cNvPicPr>
            <a:picLocks noGrp="1" noChangeAspect="1"/>
          </p:cNvPicPr>
          <p:nvPr>
            <p:ph type="pic" idx="15"/>
          </p:nvPr>
        </p:nvPicPr>
        <p:blipFill>
          <a:blip r:embed="rId5" cstate="print">
            <a:extLst>
              <a:ext uri="{28A0092B-C50C-407E-A947-70E740481C1C}">
                <a14:useLocalDpi xmlns:a14="http://schemas.microsoft.com/office/drawing/2010/main" val="0"/>
              </a:ext>
            </a:extLst>
          </a:blip>
          <a:srcRect t="6929" b="6929"/>
          <a:stretch>
            <a:fillRect/>
          </a:stretch>
        </p:blipFill>
        <p:spPr/>
      </p:pic>
    </p:spTree>
    <p:extLst>
      <p:ext uri="{BB962C8B-B14F-4D97-AF65-F5344CB8AC3E}">
        <p14:creationId xmlns:p14="http://schemas.microsoft.com/office/powerpoint/2010/main" val="33789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812" y="406400"/>
            <a:ext cx="11125200" cy="889000"/>
          </a:xfrm>
        </p:spPr>
        <p:txBody>
          <a:bodyPr/>
          <a:lstStyle/>
          <a:p>
            <a:r>
              <a:rPr lang="en-US" dirty="0" smtClean="0"/>
              <a:t>Project#3: Email Personalization </a:t>
            </a:r>
            <a:endParaRPr lang="en-US" dirty="0"/>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33452" y="3898683"/>
            <a:ext cx="1965960" cy="1965960"/>
          </a:xfrm>
          <a:prstGeom prst="rect">
            <a:avLst/>
          </a:prstGeom>
        </p:spPr>
      </p:pic>
      <p:sp>
        <p:nvSpPr>
          <p:cNvPr id="5" name="Text Placeholder 4"/>
          <p:cNvSpPr>
            <a:spLocks noGrp="1"/>
          </p:cNvSpPr>
          <p:nvPr>
            <p:ph type="body" sz="quarter" idx="15"/>
          </p:nvPr>
        </p:nvSpPr>
        <p:spPr/>
        <p:txBody>
          <a:bodyPr/>
          <a:lstStyle/>
          <a:p>
            <a:r>
              <a:rPr lang="en-US" dirty="0" smtClean="0">
                <a:solidFill>
                  <a:srgbClr val="FF0000"/>
                </a:solidFill>
              </a:rPr>
              <a:t>Personalize</a:t>
            </a:r>
            <a:r>
              <a:rPr lang="en-US" dirty="0" smtClean="0"/>
              <a:t> email </a:t>
            </a:r>
            <a:r>
              <a:rPr lang="en-US" dirty="0" smtClean="0">
                <a:solidFill>
                  <a:srgbClr val="FF0000"/>
                </a:solidFill>
              </a:rPr>
              <a:t>subjects</a:t>
            </a:r>
            <a:r>
              <a:rPr lang="en-US" dirty="0" smtClean="0"/>
              <a:t> header to increase opening rates</a:t>
            </a:r>
            <a:endParaRPr lang="en-US" dirty="0"/>
          </a:p>
        </p:txBody>
      </p:sp>
      <p:sp>
        <p:nvSpPr>
          <p:cNvPr id="6" name="Text Placeholder 5"/>
          <p:cNvSpPr>
            <a:spLocks noGrp="1"/>
          </p:cNvSpPr>
          <p:nvPr>
            <p:ph type="body" sz="quarter" idx="16"/>
          </p:nvPr>
        </p:nvSpPr>
        <p:spPr>
          <a:xfrm>
            <a:off x="8151812" y="1524001"/>
            <a:ext cx="3670300" cy="2011680"/>
          </a:xfrm>
        </p:spPr>
        <p:txBody>
          <a:bodyPr/>
          <a:lstStyle/>
          <a:p>
            <a:r>
              <a:rPr lang="en-US" dirty="0" smtClean="0"/>
              <a:t>Send emails at </a:t>
            </a:r>
            <a:r>
              <a:rPr lang="en-US" dirty="0" smtClean="0">
                <a:solidFill>
                  <a:srgbClr val="FF0000"/>
                </a:solidFill>
              </a:rPr>
              <a:t>optimal time</a:t>
            </a:r>
            <a:r>
              <a:rPr lang="en-US" dirty="0" smtClean="0"/>
              <a:t> based on learned behaviors. </a:t>
            </a:r>
            <a:endParaRPr lang="en-US" dirty="0"/>
          </a:p>
        </p:txBody>
      </p:sp>
      <p:sp>
        <p:nvSpPr>
          <p:cNvPr id="7" name="Text Placeholder 6"/>
          <p:cNvSpPr>
            <a:spLocks noGrp="1"/>
          </p:cNvSpPr>
          <p:nvPr>
            <p:ph type="body" sz="quarter" idx="17"/>
          </p:nvPr>
        </p:nvSpPr>
        <p:spPr/>
        <p:txBody>
          <a:bodyPr/>
          <a:lstStyle/>
          <a:p>
            <a:r>
              <a:rPr lang="en-US" dirty="0" smtClean="0"/>
              <a:t>Propose Upsell / Cross-Sell offers at mail opening with </a:t>
            </a:r>
            <a:r>
              <a:rPr lang="en-US" dirty="0" smtClean="0">
                <a:solidFill>
                  <a:srgbClr val="FF0000"/>
                </a:solidFill>
              </a:rPr>
              <a:t>high probability</a:t>
            </a:r>
            <a:r>
              <a:rPr lang="en-US" dirty="0" smtClean="0"/>
              <a:t> of a sale transformation</a:t>
            </a:r>
            <a:endParaRPr lang="en-US" dirty="0"/>
          </a:p>
        </p:txBody>
      </p:sp>
      <p:pic>
        <p:nvPicPr>
          <p:cNvPr id="35" name="Picture 3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682" y="1506052"/>
            <a:ext cx="1965960" cy="1965960"/>
          </a:xfrm>
          <a:prstGeom prst="rect">
            <a:avLst/>
          </a:prstGeom>
        </p:spPr>
      </p:pic>
      <p:sp>
        <p:nvSpPr>
          <p:cNvPr id="8" name="Text Placeholder 7"/>
          <p:cNvSpPr>
            <a:spLocks noGrp="1"/>
          </p:cNvSpPr>
          <p:nvPr>
            <p:ph type="body" sz="quarter" idx="18"/>
          </p:nvPr>
        </p:nvSpPr>
        <p:spPr/>
        <p:txBody>
          <a:bodyPr/>
          <a:lstStyle/>
          <a:p>
            <a:r>
              <a:rPr lang="en-US" dirty="0" smtClean="0"/>
              <a:t>Learn in real-time on mail opening, click, cart, </a:t>
            </a:r>
            <a:r>
              <a:rPr lang="en-US" dirty="0" smtClean="0">
                <a:solidFill>
                  <a:srgbClr val="FF0000"/>
                </a:solidFill>
              </a:rPr>
              <a:t>revenue generating positive</a:t>
            </a:r>
            <a:r>
              <a:rPr lang="en-US" dirty="0" smtClean="0"/>
              <a:t> events </a:t>
            </a:r>
            <a:endParaRPr lang="en-US" dirty="0"/>
          </a:p>
        </p:txBody>
      </p:sp>
      <p:sp>
        <p:nvSpPr>
          <p:cNvPr id="4" name="Slide Number Placeholder 3"/>
          <p:cNvSpPr>
            <a:spLocks noGrp="1"/>
          </p:cNvSpPr>
          <p:nvPr>
            <p:ph type="sldNum" sz="quarter" idx="12"/>
          </p:nvPr>
        </p:nvSpPr>
        <p:spPr/>
        <p:txBody>
          <a:bodyPr/>
          <a:lstStyle/>
          <a:p>
            <a:fld id="{C51EAA63-D034-42AE-91FA-B13B9518C7BE}" type="slidenum">
              <a:rPr lang="en-US" smtClean="0">
                <a:solidFill>
                  <a:srgbClr val="5F5F5F"/>
                </a:solidFill>
              </a:rPr>
              <a:pPr/>
              <a:t>33</a:t>
            </a:fld>
            <a:endParaRPr lang="en-US" dirty="0">
              <a:solidFill>
                <a:srgbClr val="5F5F5F"/>
              </a:solidFill>
            </a:endParaRPr>
          </a:p>
        </p:txBody>
      </p:sp>
      <p:sp>
        <p:nvSpPr>
          <p:cNvPr id="3" name="Footer Placeholder 2"/>
          <p:cNvSpPr>
            <a:spLocks noGrp="1"/>
          </p:cNvSpPr>
          <p:nvPr>
            <p:ph type="ftr" sz="quarter" idx="11"/>
          </p:nvPr>
        </p:nvSpPr>
        <p:spPr/>
        <p:txBody>
          <a:bodyPr/>
          <a:lstStyle/>
          <a:p>
            <a:r>
              <a:rPr lang="en-US" dirty="0" smtClean="0">
                <a:solidFill>
                  <a:srgbClr val="5F5F5F"/>
                </a:solidFill>
              </a:rPr>
              <a:t>Oracle Confidential – Internal/Restricted/Highly Restricted</a:t>
            </a:r>
            <a:endParaRPr lang="en-US" dirty="0">
              <a:solidFill>
                <a:srgbClr val="5F5F5F"/>
              </a:solidFill>
            </a:endParaRPr>
          </a:p>
        </p:txBody>
      </p:sp>
      <p:pic>
        <p:nvPicPr>
          <p:cNvPr id="13" name="Picture 3" descr="https://encrypted-tbn0.gstatic.com/images?q=tbn:ANd9GcQR2PgRHX7gbn_V7lIjOXXPAP_2n2JZd0FIebQGAseRRqON1Us"/>
          <p:cNvPicPr>
            <a:picLocks noChangeAspect="1" noChangeArrowheads="1"/>
          </p:cNvPicPr>
          <p:nvPr/>
        </p:nvPicPr>
        <p:blipFill>
          <a:blip r:embed="rId5" cstate="print"/>
          <a:srcRect/>
          <a:stretch>
            <a:fillRect/>
          </a:stretch>
        </p:blipFill>
        <p:spPr bwMode="auto">
          <a:xfrm>
            <a:off x="10666412" y="381000"/>
            <a:ext cx="1155700" cy="865187"/>
          </a:xfrm>
          <a:prstGeom prst="rect">
            <a:avLst/>
          </a:prstGeom>
          <a:noFill/>
          <a:ln w="9525">
            <a:noFill/>
            <a:miter lim="800000"/>
            <a:headEnd/>
            <a:tailEnd/>
          </a:ln>
          <a:effectLst>
            <a:glow>
              <a:schemeClr val="accent1"/>
            </a:glow>
          </a:effectLst>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52184" y="1495724"/>
            <a:ext cx="1965960" cy="1965960"/>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5042" y="4114800"/>
            <a:ext cx="1524000" cy="1524000"/>
          </a:xfrm>
          <a:prstGeom prst="rect">
            <a:avLst/>
          </a:prstGeom>
        </p:spPr>
      </p:pic>
    </p:spTree>
    <p:extLst>
      <p:ext uri="{BB962C8B-B14F-4D97-AF65-F5344CB8AC3E}">
        <p14:creationId xmlns:p14="http://schemas.microsoft.com/office/powerpoint/2010/main" val="349013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p:cNvGrpSpPr/>
          <p:nvPr/>
        </p:nvGrpSpPr>
        <p:grpSpPr>
          <a:xfrm>
            <a:off x="455614" y="1447801"/>
            <a:ext cx="7772399" cy="4493461"/>
            <a:chOff x="455613" y="1342019"/>
            <a:chExt cx="7772399" cy="4599242"/>
          </a:xfrm>
        </p:grpSpPr>
        <p:sp>
          <p:nvSpPr>
            <p:cNvPr id="145" name="TextBox 144"/>
            <p:cNvSpPr txBox="1"/>
            <p:nvPr/>
          </p:nvSpPr>
          <p:spPr>
            <a:xfrm rot="16200000">
              <a:off x="1496108" y="3454933"/>
              <a:ext cx="1994062" cy="278562"/>
            </a:xfrm>
            <a:prstGeom prst="rect">
              <a:avLst/>
            </a:prstGeom>
            <a:noFill/>
          </p:spPr>
          <p:txBody>
            <a:bodyPr wrap="square" lIns="0" tIns="0" rIns="0" bIns="0" rtlCol="0" anchor="ctr">
              <a:noAutofit/>
            </a:bodyPr>
            <a:lstStyle/>
            <a:p>
              <a:pPr algn="ctr">
                <a:lnSpc>
                  <a:spcPct val="90000"/>
                </a:lnSpc>
              </a:pPr>
              <a:r>
                <a:rPr lang="en-US" sz="1500" b="1" dirty="0">
                  <a:solidFill>
                    <a:srgbClr val="5F5F5F"/>
                  </a:solidFill>
                </a:rPr>
                <a:t>Existing Sources</a:t>
              </a:r>
            </a:p>
          </p:txBody>
        </p:sp>
        <p:grpSp>
          <p:nvGrpSpPr>
            <p:cNvPr id="55" name="Group 54"/>
            <p:cNvGrpSpPr/>
            <p:nvPr/>
          </p:nvGrpSpPr>
          <p:grpSpPr>
            <a:xfrm>
              <a:off x="455613" y="1342019"/>
              <a:ext cx="7772399" cy="4599242"/>
              <a:chOff x="455613" y="1342019"/>
              <a:chExt cx="7772399" cy="4599242"/>
            </a:xfrm>
          </p:grpSpPr>
          <p:grpSp>
            <p:nvGrpSpPr>
              <p:cNvPr id="53" name="Group 52"/>
              <p:cNvGrpSpPr/>
              <p:nvPr/>
            </p:nvGrpSpPr>
            <p:grpSpPr>
              <a:xfrm>
                <a:off x="3546654" y="1342019"/>
                <a:ext cx="4681358" cy="4599242"/>
                <a:chOff x="3546654" y="1342019"/>
                <a:chExt cx="4681358" cy="4599242"/>
              </a:xfrm>
            </p:grpSpPr>
            <p:grpSp>
              <p:nvGrpSpPr>
                <p:cNvPr id="52" name="Group 51"/>
                <p:cNvGrpSpPr/>
                <p:nvPr/>
              </p:nvGrpSpPr>
              <p:grpSpPr>
                <a:xfrm>
                  <a:off x="3546654" y="1342019"/>
                  <a:ext cx="4681358" cy="4599242"/>
                  <a:chOff x="3546654" y="1342019"/>
                  <a:chExt cx="4681358" cy="4599242"/>
                </a:xfrm>
              </p:grpSpPr>
              <p:grpSp>
                <p:nvGrpSpPr>
                  <p:cNvPr id="44" name="Group 43"/>
                  <p:cNvGrpSpPr/>
                  <p:nvPr/>
                </p:nvGrpSpPr>
                <p:grpSpPr>
                  <a:xfrm>
                    <a:off x="6880348" y="2895057"/>
                    <a:ext cx="1347664" cy="3046204"/>
                    <a:chOff x="6880348" y="2895057"/>
                    <a:chExt cx="1347664" cy="3046204"/>
                  </a:xfrm>
                </p:grpSpPr>
                <p:sp>
                  <p:nvSpPr>
                    <p:cNvPr id="106" name="Rectangle 105"/>
                    <p:cNvSpPr/>
                    <p:nvPr/>
                  </p:nvSpPr>
                  <p:spPr>
                    <a:xfrm>
                      <a:off x="6880348" y="2895057"/>
                      <a:ext cx="1347664" cy="3046204"/>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r>
                        <a:rPr lang="en-US" sz="1500" dirty="0">
                          <a:solidFill>
                            <a:srgbClr val="5F5F5F"/>
                          </a:solidFill>
                          <a:latin typeface="Calibri"/>
                        </a:rPr>
                        <a:t>Oracle Big Data SQL</a:t>
                      </a:r>
                    </a:p>
                  </p:txBody>
                </p:sp>
                <p:cxnSp>
                  <p:nvCxnSpPr>
                    <p:cNvPr id="123" name="Straight Connector 122"/>
                    <p:cNvCxnSpPr>
                      <a:stCxn id="121" idx="0"/>
                      <a:endCxn id="122" idx="2"/>
                    </p:cNvCxnSpPr>
                    <p:nvPr/>
                  </p:nvCxnSpPr>
                  <p:spPr>
                    <a:xfrm flipV="1">
                      <a:off x="7539500" y="4070290"/>
                      <a:ext cx="0" cy="926041"/>
                    </a:xfrm>
                    <a:prstGeom prst="line">
                      <a:avLst/>
                    </a:prstGeom>
                    <a:ln/>
                  </p:spPr>
                  <p:style>
                    <a:lnRef idx="3">
                      <a:schemeClr val="accent4"/>
                    </a:lnRef>
                    <a:fillRef idx="0">
                      <a:schemeClr val="accent4"/>
                    </a:fillRef>
                    <a:effectRef idx="2">
                      <a:schemeClr val="accent4"/>
                    </a:effectRef>
                    <a:fontRef idx="minor">
                      <a:schemeClr val="tx1"/>
                    </a:fontRef>
                  </p:style>
                </p:cxnSp>
                <p:sp>
                  <p:nvSpPr>
                    <p:cNvPr id="124" name="TextBox 123"/>
                    <p:cNvSpPr txBox="1"/>
                    <p:nvPr/>
                  </p:nvSpPr>
                  <p:spPr>
                    <a:xfrm>
                      <a:off x="6974929" y="5536485"/>
                      <a:ext cx="1134875" cy="248254"/>
                    </a:xfrm>
                    <a:prstGeom prst="rect">
                      <a:avLst/>
                    </a:prstGeom>
                    <a:noFill/>
                  </p:spPr>
                  <p:txBody>
                    <a:bodyPr wrap="none" lIns="0" tIns="0" rIns="0" bIns="0" rtlCol="0">
                      <a:noAutofit/>
                    </a:bodyPr>
                    <a:lstStyle/>
                    <a:p>
                      <a:pPr algn="ctr">
                        <a:lnSpc>
                          <a:spcPct val="90000"/>
                        </a:lnSpc>
                      </a:pPr>
                      <a:r>
                        <a:rPr lang="en-US" sz="1100" dirty="0">
                          <a:solidFill>
                            <a:srgbClr val="5F5F5F"/>
                          </a:solidFill>
                          <a:latin typeface="Calibri"/>
                        </a:rPr>
                        <a:t>Tables in </a:t>
                      </a:r>
                      <a:r>
                        <a:rPr lang="en-US" sz="1100" dirty="0" err="1">
                          <a:solidFill>
                            <a:srgbClr val="5F5F5F"/>
                          </a:solidFill>
                          <a:latin typeface="Calibri"/>
                        </a:rPr>
                        <a:t>Hadoop</a:t>
                      </a:r>
                      <a:endParaRPr lang="en-US" sz="1100" dirty="0">
                        <a:solidFill>
                          <a:srgbClr val="5F5F5F"/>
                        </a:solidFill>
                        <a:latin typeface="Calibri"/>
                      </a:endParaRPr>
                    </a:p>
                  </p:txBody>
                </p:sp>
                <p:sp>
                  <p:nvSpPr>
                    <p:cNvPr id="125" name="TextBox 124"/>
                    <p:cNvSpPr txBox="1"/>
                    <p:nvPr/>
                  </p:nvSpPr>
                  <p:spPr>
                    <a:xfrm>
                      <a:off x="6992356" y="3404513"/>
                      <a:ext cx="1134875" cy="248254"/>
                    </a:xfrm>
                    <a:prstGeom prst="rect">
                      <a:avLst/>
                    </a:prstGeom>
                    <a:noFill/>
                  </p:spPr>
                  <p:txBody>
                    <a:bodyPr wrap="none" lIns="0" tIns="0" rIns="0" bIns="0" rtlCol="0">
                      <a:noAutofit/>
                    </a:bodyPr>
                    <a:lstStyle/>
                    <a:p>
                      <a:pPr algn="ctr">
                        <a:lnSpc>
                          <a:spcPct val="90000"/>
                        </a:lnSpc>
                      </a:pPr>
                      <a:r>
                        <a:rPr lang="en-US" sz="1100" dirty="0">
                          <a:solidFill>
                            <a:srgbClr val="5F5F5F"/>
                          </a:solidFill>
                          <a:latin typeface="Calibri"/>
                        </a:rPr>
                        <a:t>Tables in DB</a:t>
                      </a:r>
                    </a:p>
                  </p:txBody>
                </p:sp>
                <p:sp>
                  <p:nvSpPr>
                    <p:cNvPr id="126" name="TextBox 125"/>
                    <p:cNvSpPr txBox="1"/>
                    <p:nvPr/>
                  </p:nvSpPr>
                  <p:spPr>
                    <a:xfrm>
                      <a:off x="7218694" y="4383367"/>
                      <a:ext cx="674524" cy="212789"/>
                    </a:xfrm>
                    <a:prstGeom prst="rect">
                      <a:avLst/>
                    </a:prstGeom>
                    <a:solidFill>
                      <a:srgbClr val="FFFFFF"/>
                    </a:solidFill>
                  </p:spPr>
                  <p:txBody>
                    <a:bodyPr wrap="none" lIns="0" tIns="0" rIns="0" bIns="0" rtlCol="0" anchor="ctr">
                      <a:noAutofit/>
                    </a:bodyPr>
                    <a:lstStyle/>
                    <a:p>
                      <a:pPr algn="ctr">
                        <a:lnSpc>
                          <a:spcPct val="90000"/>
                        </a:lnSpc>
                      </a:pPr>
                      <a:r>
                        <a:rPr lang="en-US" sz="1100" i="1" dirty="0">
                          <a:solidFill>
                            <a:srgbClr val="5F5F5F"/>
                          </a:solidFill>
                          <a:latin typeface="Calibri"/>
                        </a:rPr>
                        <a:t>SQL join</a:t>
                      </a:r>
                    </a:p>
                  </p:txBody>
                </p:sp>
              </p:grpSp>
              <p:grpSp>
                <p:nvGrpSpPr>
                  <p:cNvPr id="43" name="Group 42"/>
                  <p:cNvGrpSpPr/>
                  <p:nvPr/>
                </p:nvGrpSpPr>
                <p:grpSpPr>
                  <a:xfrm>
                    <a:off x="3546654" y="1342019"/>
                    <a:ext cx="4032424" cy="1764393"/>
                    <a:chOff x="3546654" y="1342019"/>
                    <a:chExt cx="4032424" cy="1764393"/>
                  </a:xfrm>
                </p:grpSpPr>
                <p:sp>
                  <p:nvSpPr>
                    <p:cNvPr id="5" name="Block Arc 4"/>
                    <p:cNvSpPr/>
                    <p:nvPr/>
                  </p:nvSpPr>
                  <p:spPr>
                    <a:xfrm rot="5400000">
                      <a:off x="6596630" y="2283433"/>
                      <a:ext cx="851156" cy="794802"/>
                    </a:xfrm>
                    <a:prstGeom prst="blockArc">
                      <a:avLst>
                        <a:gd name="adj1" fmla="val 10800000"/>
                        <a:gd name="adj2" fmla="val 16064099"/>
                        <a:gd name="adj3" fmla="val 18189"/>
                      </a:avLst>
                    </a:prstGeom>
                    <a:solidFill>
                      <a:schemeClr val="accent1"/>
                    </a:solidFill>
                    <a:ln>
                      <a:noFill/>
                    </a:ln>
                  </p:spPr>
                  <p:txBody>
                    <a:bodyPr wrap="square" rtlCol="0" anchor="ctr">
                      <a:spAutoFit/>
                    </a:bodyPr>
                    <a:lstStyle/>
                    <a:p>
                      <a:pPr marL="231765" indent="-231765" algn="ctr">
                        <a:buFont typeface="Arial"/>
                        <a:buChar char="•"/>
                      </a:pPr>
                      <a:endParaRPr lang="en-US" sz="2000" b="1" dirty="0">
                        <a:solidFill>
                          <a:srgbClr val="FF0000"/>
                        </a:solidFill>
                        <a:latin typeface="Calibri"/>
                      </a:endParaRPr>
                    </a:p>
                  </p:txBody>
                </p:sp>
                <p:grpSp>
                  <p:nvGrpSpPr>
                    <p:cNvPr id="16" name="Group 15"/>
                    <p:cNvGrpSpPr/>
                    <p:nvPr/>
                  </p:nvGrpSpPr>
                  <p:grpSpPr>
                    <a:xfrm>
                      <a:off x="3546654" y="1342019"/>
                      <a:ext cx="4032424" cy="1480676"/>
                      <a:chOff x="3546654" y="1342019"/>
                      <a:chExt cx="4032424" cy="1480676"/>
                    </a:xfrm>
                  </p:grpSpPr>
                  <p:sp>
                    <p:nvSpPr>
                      <p:cNvPr id="127" name="Rectangle 126"/>
                      <p:cNvSpPr/>
                      <p:nvPr/>
                    </p:nvSpPr>
                    <p:spPr>
                      <a:xfrm>
                        <a:off x="3546654" y="1342019"/>
                        <a:ext cx="3262765" cy="1480676"/>
                      </a:xfrm>
                      <a:prstGeom prst="rect">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lnSpc>
                            <a:spcPct val="90000"/>
                          </a:lnSpc>
                        </a:pPr>
                        <a:r>
                          <a:rPr lang="en-US" sz="1500" dirty="0">
                            <a:solidFill>
                              <a:srgbClr val="FFFFFF"/>
                            </a:solidFill>
                            <a:latin typeface="Calibri"/>
                          </a:rPr>
                          <a:t>In-Memory Appliance</a:t>
                        </a:r>
                      </a:p>
                    </p:txBody>
                  </p:sp>
                  <p:sp>
                    <p:nvSpPr>
                      <p:cNvPr id="128" name="Rectangle 127"/>
                      <p:cNvSpPr/>
                      <p:nvPr/>
                    </p:nvSpPr>
                    <p:spPr>
                      <a:xfrm>
                        <a:off x="4465734" y="1361094"/>
                        <a:ext cx="2159073" cy="513180"/>
                      </a:xfrm>
                      <a:prstGeom prst="rect">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500" dirty="0">
                            <a:solidFill>
                              <a:srgbClr val="5F5F5F"/>
                            </a:solidFill>
                            <a:latin typeface="Calibri"/>
                          </a:rPr>
                          <a:t>Oracle BI Foundation </a:t>
                        </a:r>
                        <a:r>
                          <a:rPr lang="en-US" sz="1500" dirty="0" smtClean="0">
                            <a:solidFill>
                              <a:srgbClr val="5F5F5F"/>
                            </a:solidFill>
                            <a:latin typeface="Calibri"/>
                          </a:rPr>
                          <a:t>Suite</a:t>
                        </a:r>
                        <a:r>
                          <a:rPr lang="hr-HR" sz="1500" dirty="0" smtClean="0">
                            <a:solidFill>
                              <a:srgbClr val="5F5F5F"/>
                            </a:solidFill>
                            <a:latin typeface="Calibri"/>
                          </a:rPr>
                          <a:t> &amp; Data V.</a:t>
                        </a:r>
                        <a:endParaRPr lang="en-US" sz="1500" dirty="0">
                          <a:solidFill>
                            <a:srgbClr val="5F5F5F"/>
                          </a:solidFill>
                          <a:latin typeface="Calibri"/>
                        </a:endParaRPr>
                      </a:p>
                    </p:txBody>
                  </p:sp>
                  <p:sp>
                    <p:nvSpPr>
                      <p:cNvPr id="130" name="Isosceles Triangle 129"/>
                      <p:cNvSpPr/>
                      <p:nvPr/>
                    </p:nvSpPr>
                    <p:spPr>
                      <a:xfrm rot="10800000">
                        <a:off x="7167022" y="2657872"/>
                        <a:ext cx="412056" cy="164822"/>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a:solidFill>
                            <a:srgbClr val="FFFFFF"/>
                          </a:solidFill>
                          <a:latin typeface="Calibri"/>
                        </a:endParaRPr>
                      </a:p>
                    </p:txBody>
                  </p:sp>
                  <p:sp>
                    <p:nvSpPr>
                      <p:cNvPr id="131" name="Isosceles Triangle 130"/>
                      <p:cNvSpPr/>
                      <p:nvPr/>
                    </p:nvSpPr>
                    <p:spPr>
                      <a:xfrm rot="16200000">
                        <a:off x="6744910" y="2245880"/>
                        <a:ext cx="412056" cy="164822"/>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a:solidFill>
                            <a:srgbClr val="FFFFFF"/>
                          </a:solidFill>
                          <a:latin typeface="Calibri"/>
                        </a:endParaRPr>
                      </a:p>
                    </p:txBody>
                  </p:sp>
                </p:grpSp>
              </p:grpSp>
            </p:grpSp>
            <p:sp>
              <p:nvSpPr>
                <p:cNvPr id="114" name="Isosceles Triangle 113"/>
                <p:cNvSpPr/>
                <p:nvPr/>
              </p:nvSpPr>
              <p:spPr>
                <a:xfrm rot="5400000">
                  <a:off x="6597160" y="3509028"/>
                  <a:ext cx="632754" cy="253102"/>
                </a:xfrm>
                <a:prstGeom prst="triangle">
                  <a:avLst/>
                </a:prstGeom>
                <a:solidFill>
                  <a:srgbClr val="46575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a:solidFill>
                      <a:srgbClr val="FFFFFF"/>
                    </a:solidFill>
                    <a:latin typeface="Calibri"/>
                  </a:endParaRPr>
                </a:p>
              </p:txBody>
            </p:sp>
            <p:sp>
              <p:nvSpPr>
                <p:cNvPr id="113" name="Isosceles Triangle 112"/>
                <p:cNvSpPr/>
                <p:nvPr/>
              </p:nvSpPr>
              <p:spPr>
                <a:xfrm rot="5400000">
                  <a:off x="6597160" y="5069481"/>
                  <a:ext cx="632754" cy="253102"/>
                </a:xfrm>
                <a:prstGeom prst="triangle">
                  <a:avLst/>
                </a:prstGeom>
                <a:solidFill>
                  <a:srgbClr val="F800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a:solidFill>
                      <a:srgbClr val="FFFFFF"/>
                    </a:solidFill>
                    <a:latin typeface="Calibri"/>
                  </a:endParaRPr>
                </a:p>
              </p:txBody>
            </p:sp>
          </p:grpSp>
          <p:grpSp>
            <p:nvGrpSpPr>
              <p:cNvPr id="54" name="Group 53"/>
              <p:cNvGrpSpPr/>
              <p:nvPr/>
            </p:nvGrpSpPr>
            <p:grpSpPr>
              <a:xfrm>
                <a:off x="455613" y="2868931"/>
                <a:ext cx="6424735" cy="1535819"/>
                <a:chOff x="455613" y="2868931"/>
                <a:chExt cx="6424735" cy="1535819"/>
              </a:xfrm>
            </p:grpSpPr>
            <p:cxnSp>
              <p:nvCxnSpPr>
                <p:cNvPr id="60" name="Straight Connector 59"/>
                <p:cNvCxnSpPr/>
                <p:nvPr/>
              </p:nvCxnSpPr>
              <p:spPr>
                <a:xfrm flipH="1" flipV="1">
                  <a:off x="455613" y="4394383"/>
                  <a:ext cx="6424735" cy="6014"/>
                </a:xfrm>
                <a:prstGeom prst="line">
                  <a:avLst/>
                </a:prstGeom>
                <a:ln w="28575" cmpd="sng">
                  <a:solidFill>
                    <a:schemeClr val="tx1"/>
                  </a:solidFill>
                  <a:prstDash val="sysDash"/>
                  <a:miter lim="800000"/>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703595" y="3087940"/>
                  <a:ext cx="1211676" cy="430887"/>
                </a:xfrm>
                <a:prstGeom prst="rect">
                  <a:avLst/>
                </a:prstGeom>
                <a:noFill/>
              </p:spPr>
              <p:txBody>
                <a:bodyPr wrap="square" rtlCol="0">
                  <a:spAutoFit/>
                </a:bodyPr>
                <a:lstStyle/>
                <a:p>
                  <a:pPr algn="ctr"/>
                  <a:r>
                    <a:rPr lang="en-US" sz="1100" dirty="0">
                      <a:solidFill>
                        <a:srgbClr val="5F5F5F"/>
                      </a:solidFill>
                      <a:latin typeface="Calibri"/>
                    </a:rPr>
                    <a:t>Productize, Secure &amp; Govern</a:t>
                  </a:r>
                </a:p>
              </p:txBody>
            </p:sp>
            <p:sp>
              <p:nvSpPr>
                <p:cNvPr id="76" name="Rectangle 75"/>
                <p:cNvSpPr/>
                <p:nvPr/>
              </p:nvSpPr>
              <p:spPr>
                <a:xfrm>
                  <a:off x="3546654" y="2868931"/>
                  <a:ext cx="3262765" cy="1471257"/>
                </a:xfrm>
                <a:prstGeom prst="rect">
                  <a:avLst/>
                </a:prstGeom>
                <a:solidFill>
                  <a:schemeClr val="accent4"/>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lnSpc>
                      <a:spcPct val="90000"/>
                    </a:lnSpc>
                  </a:pPr>
                  <a:r>
                    <a:rPr lang="en-US" sz="1500" dirty="0">
                      <a:solidFill>
                        <a:schemeClr val="bg1"/>
                      </a:solidFill>
                      <a:latin typeface="Calibri"/>
                    </a:rPr>
                    <a:t>Data Warehouse</a:t>
                  </a:r>
                </a:p>
              </p:txBody>
            </p:sp>
            <p:sp>
              <p:nvSpPr>
                <p:cNvPr id="80" name="Rectangle 79"/>
                <p:cNvSpPr/>
                <p:nvPr/>
              </p:nvSpPr>
              <p:spPr>
                <a:xfrm>
                  <a:off x="4468738" y="3514379"/>
                  <a:ext cx="2159073" cy="584109"/>
                </a:xfrm>
                <a:prstGeom prst="rect">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500" dirty="0">
                      <a:solidFill>
                        <a:srgbClr val="5F5F5F"/>
                      </a:solidFill>
                      <a:latin typeface="Calibri"/>
                    </a:rPr>
                    <a:t>Oracle Database</a:t>
                  </a:r>
                </a:p>
              </p:txBody>
            </p:sp>
            <p:sp>
              <p:nvSpPr>
                <p:cNvPr id="119" name="Rectangle 118"/>
                <p:cNvSpPr/>
                <p:nvPr/>
              </p:nvSpPr>
              <p:spPr>
                <a:xfrm>
                  <a:off x="4468738" y="2946941"/>
                  <a:ext cx="2159073" cy="513180"/>
                </a:xfrm>
                <a:prstGeom prst="rect">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500" dirty="0">
                      <a:solidFill>
                        <a:srgbClr val="5F5F5F"/>
                      </a:solidFill>
                      <a:latin typeface="Calibri"/>
                    </a:rPr>
                    <a:t>Oracle Advanced Analytics</a:t>
                  </a:r>
                </a:p>
              </p:txBody>
            </p:sp>
            <p:grpSp>
              <p:nvGrpSpPr>
                <p:cNvPr id="147" name="Group 839"/>
                <p:cNvGrpSpPr/>
                <p:nvPr/>
              </p:nvGrpSpPr>
              <p:grpSpPr>
                <a:xfrm>
                  <a:off x="2826547" y="3068765"/>
                  <a:ext cx="218973" cy="236481"/>
                  <a:chOff x="4821158" y="595233"/>
                  <a:chExt cx="956072" cy="1032511"/>
                </a:xfrm>
              </p:grpSpPr>
              <p:sp>
                <p:nvSpPr>
                  <p:cNvPr id="189" name="Freeform 214"/>
                  <p:cNvSpPr>
                    <a:spLocks noEditPoints="1"/>
                  </p:cNvSpPr>
                  <p:nvPr/>
                </p:nvSpPr>
                <p:spPr bwMode="auto">
                  <a:xfrm>
                    <a:off x="4821158" y="990046"/>
                    <a:ext cx="956072" cy="334565"/>
                  </a:xfrm>
                  <a:custGeom>
                    <a:avLst/>
                    <a:gdLst>
                      <a:gd name="T0" fmla="*/ 1434 w 1700"/>
                      <a:gd name="T1" fmla="*/ 111 h 595"/>
                      <a:gd name="T2" fmla="*/ 850 w 1700"/>
                      <a:gd name="T3" fmla="*/ 157 h 595"/>
                      <a:gd name="T4" fmla="*/ 265 w 1700"/>
                      <a:gd name="T5" fmla="*/ 111 h 595"/>
                      <a:gd name="T6" fmla="*/ 0 w 1700"/>
                      <a:gd name="T7" fmla="*/ 0 h 595"/>
                      <a:gd name="T8" fmla="*/ 0 w 1700"/>
                      <a:gd name="T9" fmla="*/ 419 h 595"/>
                      <a:gd name="T10" fmla="*/ 850 w 1700"/>
                      <a:gd name="T11" fmla="*/ 595 h 595"/>
                      <a:gd name="T12" fmla="*/ 1700 w 1700"/>
                      <a:gd name="T13" fmla="*/ 419 h 595"/>
                      <a:gd name="T14" fmla="*/ 1700 w 1700"/>
                      <a:gd name="T15" fmla="*/ 0 h 595"/>
                      <a:gd name="T16" fmla="*/ 1434 w 1700"/>
                      <a:gd name="T17" fmla="*/ 111 h 595"/>
                      <a:gd name="T18" fmla="*/ 1567 w 1700"/>
                      <a:gd name="T19" fmla="*/ 267 h 595"/>
                      <a:gd name="T20" fmla="*/ 1137 w 1700"/>
                      <a:gd name="T21" fmla="*/ 338 h 595"/>
                      <a:gd name="T22" fmla="*/ 1134 w 1700"/>
                      <a:gd name="T23" fmla="*/ 338 h 595"/>
                      <a:gd name="T24" fmla="*/ 1095 w 1700"/>
                      <a:gd name="T25" fmla="*/ 302 h 595"/>
                      <a:gd name="T26" fmla="*/ 1132 w 1700"/>
                      <a:gd name="T27" fmla="*/ 260 h 595"/>
                      <a:gd name="T28" fmla="*/ 1538 w 1700"/>
                      <a:gd name="T29" fmla="*/ 194 h 595"/>
                      <a:gd name="T30" fmla="*/ 1589 w 1700"/>
                      <a:gd name="T31" fmla="*/ 217 h 595"/>
                      <a:gd name="T32" fmla="*/ 1567 w 1700"/>
                      <a:gd name="T33" fmla="*/ 26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00" h="595">
                        <a:moveTo>
                          <a:pt x="1434" y="111"/>
                        </a:moveTo>
                        <a:cubicBezTo>
                          <a:pt x="1278" y="141"/>
                          <a:pt x="1070" y="157"/>
                          <a:pt x="850" y="157"/>
                        </a:cubicBezTo>
                        <a:cubicBezTo>
                          <a:pt x="630" y="157"/>
                          <a:pt x="422" y="141"/>
                          <a:pt x="265" y="111"/>
                        </a:cubicBezTo>
                        <a:cubicBezTo>
                          <a:pt x="121" y="83"/>
                          <a:pt x="36" y="47"/>
                          <a:pt x="0" y="0"/>
                        </a:cubicBezTo>
                        <a:cubicBezTo>
                          <a:pt x="0" y="419"/>
                          <a:pt x="0" y="419"/>
                          <a:pt x="0" y="419"/>
                        </a:cubicBezTo>
                        <a:cubicBezTo>
                          <a:pt x="53" y="593"/>
                          <a:pt x="816" y="595"/>
                          <a:pt x="850" y="595"/>
                        </a:cubicBezTo>
                        <a:cubicBezTo>
                          <a:pt x="883" y="595"/>
                          <a:pt x="1646" y="593"/>
                          <a:pt x="1700" y="419"/>
                        </a:cubicBezTo>
                        <a:cubicBezTo>
                          <a:pt x="1700" y="0"/>
                          <a:pt x="1700" y="0"/>
                          <a:pt x="1700" y="0"/>
                        </a:cubicBezTo>
                        <a:cubicBezTo>
                          <a:pt x="1664" y="47"/>
                          <a:pt x="1579" y="83"/>
                          <a:pt x="1434" y="111"/>
                        </a:cubicBezTo>
                        <a:moveTo>
                          <a:pt x="1567" y="267"/>
                        </a:moveTo>
                        <a:cubicBezTo>
                          <a:pt x="1473" y="303"/>
                          <a:pt x="1336" y="326"/>
                          <a:pt x="1137" y="338"/>
                        </a:cubicBezTo>
                        <a:cubicBezTo>
                          <a:pt x="1136" y="338"/>
                          <a:pt x="1135" y="338"/>
                          <a:pt x="1134" y="338"/>
                        </a:cubicBezTo>
                        <a:cubicBezTo>
                          <a:pt x="1114" y="338"/>
                          <a:pt x="1096" y="322"/>
                          <a:pt x="1095" y="302"/>
                        </a:cubicBezTo>
                        <a:cubicBezTo>
                          <a:pt x="1094" y="280"/>
                          <a:pt x="1110" y="261"/>
                          <a:pt x="1132" y="260"/>
                        </a:cubicBezTo>
                        <a:cubicBezTo>
                          <a:pt x="1320" y="249"/>
                          <a:pt x="1453" y="227"/>
                          <a:pt x="1538" y="194"/>
                        </a:cubicBezTo>
                        <a:cubicBezTo>
                          <a:pt x="1558" y="186"/>
                          <a:pt x="1581" y="196"/>
                          <a:pt x="1589" y="217"/>
                        </a:cubicBezTo>
                        <a:cubicBezTo>
                          <a:pt x="1597" y="237"/>
                          <a:pt x="1587" y="259"/>
                          <a:pt x="1567" y="267"/>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90" name="Freeform 215"/>
                  <p:cNvSpPr>
                    <a:spLocks noEditPoints="1"/>
                  </p:cNvSpPr>
                  <p:nvPr/>
                </p:nvSpPr>
                <p:spPr bwMode="auto">
                  <a:xfrm>
                    <a:off x="4821158" y="1292463"/>
                    <a:ext cx="956072" cy="335281"/>
                  </a:xfrm>
                  <a:custGeom>
                    <a:avLst/>
                    <a:gdLst>
                      <a:gd name="T0" fmla="*/ 1434 w 1700"/>
                      <a:gd name="T1" fmla="*/ 111 h 596"/>
                      <a:gd name="T2" fmla="*/ 850 w 1700"/>
                      <a:gd name="T3" fmla="*/ 158 h 596"/>
                      <a:gd name="T4" fmla="*/ 265 w 1700"/>
                      <a:gd name="T5" fmla="*/ 111 h 596"/>
                      <a:gd name="T6" fmla="*/ 0 w 1700"/>
                      <a:gd name="T7" fmla="*/ 0 h 596"/>
                      <a:gd name="T8" fmla="*/ 0 w 1700"/>
                      <a:gd name="T9" fmla="*/ 400 h 596"/>
                      <a:gd name="T10" fmla="*/ 850 w 1700"/>
                      <a:gd name="T11" fmla="*/ 596 h 596"/>
                      <a:gd name="T12" fmla="*/ 1700 w 1700"/>
                      <a:gd name="T13" fmla="*/ 400 h 596"/>
                      <a:gd name="T14" fmla="*/ 1700 w 1700"/>
                      <a:gd name="T15" fmla="*/ 0 h 596"/>
                      <a:gd name="T16" fmla="*/ 1434 w 1700"/>
                      <a:gd name="T17" fmla="*/ 111 h 596"/>
                      <a:gd name="T18" fmla="*/ 1566 w 1700"/>
                      <a:gd name="T19" fmla="*/ 268 h 596"/>
                      <a:gd name="T20" fmla="*/ 1137 w 1700"/>
                      <a:gd name="T21" fmla="*/ 339 h 596"/>
                      <a:gd name="T22" fmla="*/ 1134 w 1700"/>
                      <a:gd name="T23" fmla="*/ 339 h 596"/>
                      <a:gd name="T24" fmla="*/ 1095 w 1700"/>
                      <a:gd name="T25" fmla="*/ 302 h 596"/>
                      <a:gd name="T26" fmla="*/ 1132 w 1700"/>
                      <a:gd name="T27" fmla="*/ 261 h 596"/>
                      <a:gd name="T28" fmla="*/ 1538 w 1700"/>
                      <a:gd name="T29" fmla="*/ 195 h 596"/>
                      <a:gd name="T30" fmla="*/ 1589 w 1700"/>
                      <a:gd name="T31" fmla="*/ 217 h 596"/>
                      <a:gd name="T32" fmla="*/ 1566 w 1700"/>
                      <a:gd name="T33" fmla="*/ 268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00" h="596">
                        <a:moveTo>
                          <a:pt x="1434" y="111"/>
                        </a:moveTo>
                        <a:cubicBezTo>
                          <a:pt x="1278" y="141"/>
                          <a:pt x="1070" y="158"/>
                          <a:pt x="850" y="158"/>
                        </a:cubicBezTo>
                        <a:cubicBezTo>
                          <a:pt x="630" y="158"/>
                          <a:pt x="422" y="141"/>
                          <a:pt x="265" y="111"/>
                        </a:cubicBezTo>
                        <a:cubicBezTo>
                          <a:pt x="121" y="83"/>
                          <a:pt x="36" y="48"/>
                          <a:pt x="0" y="0"/>
                        </a:cubicBezTo>
                        <a:cubicBezTo>
                          <a:pt x="0" y="400"/>
                          <a:pt x="0" y="400"/>
                          <a:pt x="0" y="400"/>
                        </a:cubicBezTo>
                        <a:cubicBezTo>
                          <a:pt x="0" y="594"/>
                          <a:pt x="815" y="596"/>
                          <a:pt x="850" y="596"/>
                        </a:cubicBezTo>
                        <a:cubicBezTo>
                          <a:pt x="884" y="596"/>
                          <a:pt x="1700" y="594"/>
                          <a:pt x="1700" y="400"/>
                        </a:cubicBezTo>
                        <a:cubicBezTo>
                          <a:pt x="1700" y="0"/>
                          <a:pt x="1700" y="0"/>
                          <a:pt x="1700" y="0"/>
                        </a:cubicBezTo>
                        <a:cubicBezTo>
                          <a:pt x="1664" y="48"/>
                          <a:pt x="1579" y="83"/>
                          <a:pt x="1434" y="111"/>
                        </a:cubicBezTo>
                        <a:moveTo>
                          <a:pt x="1566" y="268"/>
                        </a:moveTo>
                        <a:cubicBezTo>
                          <a:pt x="1473" y="304"/>
                          <a:pt x="1336" y="326"/>
                          <a:pt x="1137" y="339"/>
                        </a:cubicBezTo>
                        <a:cubicBezTo>
                          <a:pt x="1136" y="339"/>
                          <a:pt x="1135" y="339"/>
                          <a:pt x="1134" y="339"/>
                        </a:cubicBezTo>
                        <a:cubicBezTo>
                          <a:pt x="1114" y="339"/>
                          <a:pt x="1096" y="323"/>
                          <a:pt x="1095" y="302"/>
                        </a:cubicBezTo>
                        <a:cubicBezTo>
                          <a:pt x="1094" y="280"/>
                          <a:pt x="1110" y="262"/>
                          <a:pt x="1132" y="261"/>
                        </a:cubicBezTo>
                        <a:cubicBezTo>
                          <a:pt x="1320" y="249"/>
                          <a:pt x="1453" y="227"/>
                          <a:pt x="1538" y="195"/>
                        </a:cubicBezTo>
                        <a:cubicBezTo>
                          <a:pt x="1559" y="187"/>
                          <a:pt x="1581" y="197"/>
                          <a:pt x="1589" y="217"/>
                        </a:cubicBezTo>
                        <a:cubicBezTo>
                          <a:pt x="1597" y="237"/>
                          <a:pt x="1587" y="260"/>
                          <a:pt x="1566" y="268"/>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91" name="Freeform 216"/>
                  <p:cNvSpPr>
                    <a:spLocks noEditPoints="1"/>
                  </p:cNvSpPr>
                  <p:nvPr/>
                </p:nvSpPr>
                <p:spPr bwMode="auto">
                  <a:xfrm>
                    <a:off x="4821158" y="595233"/>
                    <a:ext cx="956072" cy="426721"/>
                  </a:xfrm>
                  <a:custGeom>
                    <a:avLst/>
                    <a:gdLst>
                      <a:gd name="T0" fmla="*/ 850 w 1700"/>
                      <a:gd name="T1" fmla="*/ 0 h 759"/>
                      <a:gd name="T2" fmla="*/ 0 w 1700"/>
                      <a:gd name="T3" fmla="*/ 196 h 759"/>
                      <a:gd name="T4" fmla="*/ 0 w 1700"/>
                      <a:gd name="T5" fmla="*/ 563 h 759"/>
                      <a:gd name="T6" fmla="*/ 850 w 1700"/>
                      <a:gd name="T7" fmla="*/ 759 h 759"/>
                      <a:gd name="T8" fmla="*/ 1700 w 1700"/>
                      <a:gd name="T9" fmla="*/ 563 h 759"/>
                      <a:gd name="T10" fmla="*/ 1700 w 1700"/>
                      <a:gd name="T11" fmla="*/ 196 h 759"/>
                      <a:gd name="T12" fmla="*/ 850 w 1700"/>
                      <a:gd name="T13" fmla="*/ 0 h 759"/>
                      <a:gd name="T14" fmla="*/ 1567 w 1700"/>
                      <a:gd name="T15" fmla="*/ 431 h 759"/>
                      <a:gd name="T16" fmla="*/ 1137 w 1700"/>
                      <a:gd name="T17" fmla="*/ 502 h 759"/>
                      <a:gd name="T18" fmla="*/ 1134 w 1700"/>
                      <a:gd name="T19" fmla="*/ 502 h 759"/>
                      <a:gd name="T20" fmla="*/ 1095 w 1700"/>
                      <a:gd name="T21" fmla="*/ 465 h 759"/>
                      <a:gd name="T22" fmla="*/ 1132 w 1700"/>
                      <a:gd name="T23" fmla="*/ 424 h 759"/>
                      <a:gd name="T24" fmla="*/ 1538 w 1700"/>
                      <a:gd name="T25" fmla="*/ 358 h 759"/>
                      <a:gd name="T26" fmla="*/ 1589 w 1700"/>
                      <a:gd name="T27" fmla="*/ 380 h 759"/>
                      <a:gd name="T28" fmla="*/ 1567 w 1700"/>
                      <a:gd name="T29" fmla="*/ 431 h 759"/>
                      <a:gd name="T30" fmla="*/ 1620 w 1700"/>
                      <a:gd name="T31" fmla="*/ 196 h 759"/>
                      <a:gd name="T32" fmla="*/ 850 w 1700"/>
                      <a:gd name="T33" fmla="*/ 313 h 759"/>
                      <a:gd name="T34" fmla="*/ 80 w 1700"/>
                      <a:gd name="T35" fmla="*/ 197 h 759"/>
                      <a:gd name="T36" fmla="*/ 79 w 1700"/>
                      <a:gd name="T37" fmla="*/ 196 h 759"/>
                      <a:gd name="T38" fmla="*/ 850 w 1700"/>
                      <a:gd name="T39" fmla="*/ 78 h 759"/>
                      <a:gd name="T40" fmla="*/ 1621 w 1700"/>
                      <a:gd name="T41" fmla="*/ 196 h 759"/>
                      <a:gd name="T42" fmla="*/ 1620 w 1700"/>
                      <a:gd name="T43" fmla="*/ 196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00" h="759">
                        <a:moveTo>
                          <a:pt x="850" y="0"/>
                        </a:moveTo>
                        <a:cubicBezTo>
                          <a:pt x="815" y="0"/>
                          <a:pt x="0" y="2"/>
                          <a:pt x="0" y="196"/>
                        </a:cubicBezTo>
                        <a:cubicBezTo>
                          <a:pt x="0" y="563"/>
                          <a:pt x="0" y="563"/>
                          <a:pt x="0" y="563"/>
                        </a:cubicBezTo>
                        <a:cubicBezTo>
                          <a:pt x="0" y="757"/>
                          <a:pt x="815" y="759"/>
                          <a:pt x="850" y="759"/>
                        </a:cubicBezTo>
                        <a:cubicBezTo>
                          <a:pt x="885" y="759"/>
                          <a:pt x="1700" y="757"/>
                          <a:pt x="1700" y="563"/>
                        </a:cubicBezTo>
                        <a:cubicBezTo>
                          <a:pt x="1700" y="196"/>
                          <a:pt x="1700" y="196"/>
                          <a:pt x="1700" y="196"/>
                        </a:cubicBezTo>
                        <a:cubicBezTo>
                          <a:pt x="1700" y="2"/>
                          <a:pt x="885" y="0"/>
                          <a:pt x="850" y="0"/>
                        </a:cubicBezTo>
                        <a:moveTo>
                          <a:pt x="1567" y="431"/>
                        </a:moveTo>
                        <a:cubicBezTo>
                          <a:pt x="1473" y="467"/>
                          <a:pt x="1336" y="490"/>
                          <a:pt x="1137" y="502"/>
                        </a:cubicBezTo>
                        <a:cubicBezTo>
                          <a:pt x="1136" y="502"/>
                          <a:pt x="1135" y="502"/>
                          <a:pt x="1134" y="502"/>
                        </a:cubicBezTo>
                        <a:cubicBezTo>
                          <a:pt x="1114" y="502"/>
                          <a:pt x="1096" y="486"/>
                          <a:pt x="1095" y="465"/>
                        </a:cubicBezTo>
                        <a:cubicBezTo>
                          <a:pt x="1094" y="444"/>
                          <a:pt x="1110" y="425"/>
                          <a:pt x="1132" y="424"/>
                        </a:cubicBezTo>
                        <a:cubicBezTo>
                          <a:pt x="1320" y="412"/>
                          <a:pt x="1453" y="391"/>
                          <a:pt x="1538" y="358"/>
                        </a:cubicBezTo>
                        <a:cubicBezTo>
                          <a:pt x="1558" y="350"/>
                          <a:pt x="1581" y="360"/>
                          <a:pt x="1589" y="380"/>
                        </a:cubicBezTo>
                        <a:cubicBezTo>
                          <a:pt x="1597" y="400"/>
                          <a:pt x="1587" y="423"/>
                          <a:pt x="1567" y="431"/>
                        </a:cubicBezTo>
                        <a:moveTo>
                          <a:pt x="1620" y="196"/>
                        </a:moveTo>
                        <a:cubicBezTo>
                          <a:pt x="1591" y="240"/>
                          <a:pt x="1318" y="313"/>
                          <a:pt x="850" y="313"/>
                        </a:cubicBezTo>
                        <a:cubicBezTo>
                          <a:pt x="382" y="313"/>
                          <a:pt x="109" y="240"/>
                          <a:pt x="80" y="197"/>
                        </a:cubicBezTo>
                        <a:cubicBezTo>
                          <a:pt x="79" y="196"/>
                          <a:pt x="79" y="196"/>
                          <a:pt x="79" y="196"/>
                        </a:cubicBezTo>
                        <a:cubicBezTo>
                          <a:pt x="107" y="152"/>
                          <a:pt x="380" y="78"/>
                          <a:pt x="850" y="78"/>
                        </a:cubicBezTo>
                        <a:cubicBezTo>
                          <a:pt x="1320" y="78"/>
                          <a:pt x="1593" y="152"/>
                          <a:pt x="1621" y="196"/>
                        </a:cubicBezTo>
                        <a:cubicBezTo>
                          <a:pt x="1620" y="196"/>
                          <a:pt x="1620" y="196"/>
                          <a:pt x="1620" y="196"/>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grpSp>
            <p:grpSp>
              <p:nvGrpSpPr>
                <p:cNvPr id="148" name="Group 843"/>
                <p:cNvGrpSpPr/>
                <p:nvPr/>
              </p:nvGrpSpPr>
              <p:grpSpPr>
                <a:xfrm>
                  <a:off x="2815767" y="3866416"/>
                  <a:ext cx="328305" cy="294019"/>
                  <a:chOff x="10707607" y="731439"/>
                  <a:chExt cx="1030605" cy="922971"/>
                </a:xfrm>
              </p:grpSpPr>
              <p:sp>
                <p:nvSpPr>
                  <p:cNvPr id="174" name="Freeform 243"/>
                  <p:cNvSpPr>
                    <a:spLocks noEditPoints="1"/>
                  </p:cNvSpPr>
                  <p:nvPr/>
                </p:nvSpPr>
                <p:spPr bwMode="auto">
                  <a:xfrm>
                    <a:off x="11224578" y="1295080"/>
                    <a:ext cx="269319" cy="118111"/>
                  </a:xfrm>
                  <a:custGeom>
                    <a:avLst/>
                    <a:gdLst>
                      <a:gd name="T0" fmla="*/ 479 w 479"/>
                      <a:gd name="T1" fmla="*/ 0 h 210"/>
                      <a:gd name="T2" fmla="*/ 0 w 479"/>
                      <a:gd name="T3" fmla="*/ 0 h 210"/>
                      <a:gd name="T4" fmla="*/ 0 w 479"/>
                      <a:gd name="T5" fmla="*/ 210 h 210"/>
                      <a:gd name="T6" fmla="*/ 479 w 479"/>
                      <a:gd name="T7" fmla="*/ 210 h 210"/>
                      <a:gd name="T8" fmla="*/ 479 w 479"/>
                      <a:gd name="T9" fmla="*/ 0 h 210"/>
                      <a:gd name="T10" fmla="*/ 390 w 479"/>
                      <a:gd name="T11" fmla="*/ 68 h 210"/>
                      <a:gd name="T12" fmla="*/ 424 w 479"/>
                      <a:gd name="T13" fmla="*/ 103 h 210"/>
                      <a:gd name="T14" fmla="*/ 390 w 479"/>
                      <a:gd name="T15" fmla="*/ 137 h 210"/>
                      <a:gd name="T16" fmla="*/ 355 w 479"/>
                      <a:gd name="T17" fmla="*/ 103 h 210"/>
                      <a:gd name="T18" fmla="*/ 390 w 479"/>
                      <a:gd name="T19" fmla="*/ 6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10">
                        <a:moveTo>
                          <a:pt x="479" y="0"/>
                        </a:moveTo>
                        <a:cubicBezTo>
                          <a:pt x="0" y="0"/>
                          <a:pt x="0" y="0"/>
                          <a:pt x="0" y="0"/>
                        </a:cubicBezTo>
                        <a:cubicBezTo>
                          <a:pt x="0" y="210"/>
                          <a:pt x="0" y="210"/>
                          <a:pt x="0" y="210"/>
                        </a:cubicBezTo>
                        <a:cubicBezTo>
                          <a:pt x="479" y="210"/>
                          <a:pt x="479" y="210"/>
                          <a:pt x="479" y="210"/>
                        </a:cubicBezTo>
                        <a:lnTo>
                          <a:pt x="479" y="0"/>
                        </a:lnTo>
                        <a:close/>
                        <a:moveTo>
                          <a:pt x="390" y="68"/>
                        </a:moveTo>
                        <a:cubicBezTo>
                          <a:pt x="409" y="68"/>
                          <a:pt x="424" y="84"/>
                          <a:pt x="424" y="103"/>
                        </a:cubicBezTo>
                        <a:cubicBezTo>
                          <a:pt x="424" y="122"/>
                          <a:pt x="409" y="137"/>
                          <a:pt x="390" y="137"/>
                        </a:cubicBezTo>
                        <a:cubicBezTo>
                          <a:pt x="371" y="137"/>
                          <a:pt x="355" y="122"/>
                          <a:pt x="355" y="103"/>
                        </a:cubicBezTo>
                        <a:cubicBezTo>
                          <a:pt x="355" y="84"/>
                          <a:pt x="371" y="68"/>
                          <a:pt x="390" y="68"/>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75" name="Freeform 244"/>
                  <p:cNvSpPr>
                    <a:spLocks noEditPoints="1"/>
                  </p:cNvSpPr>
                  <p:nvPr/>
                </p:nvSpPr>
                <p:spPr bwMode="auto">
                  <a:xfrm>
                    <a:off x="11224578" y="1447480"/>
                    <a:ext cx="269319" cy="118111"/>
                  </a:xfrm>
                  <a:custGeom>
                    <a:avLst/>
                    <a:gdLst>
                      <a:gd name="T0" fmla="*/ 447 w 479"/>
                      <a:gd name="T1" fmla="*/ 210 h 210"/>
                      <a:gd name="T2" fmla="*/ 479 w 479"/>
                      <a:gd name="T3" fmla="*/ 178 h 210"/>
                      <a:gd name="T4" fmla="*/ 479 w 479"/>
                      <a:gd name="T5" fmla="*/ 0 h 210"/>
                      <a:gd name="T6" fmla="*/ 0 w 479"/>
                      <a:gd name="T7" fmla="*/ 0 h 210"/>
                      <a:gd name="T8" fmla="*/ 0 w 479"/>
                      <a:gd name="T9" fmla="*/ 210 h 210"/>
                      <a:gd name="T10" fmla="*/ 447 w 479"/>
                      <a:gd name="T11" fmla="*/ 210 h 210"/>
                      <a:gd name="T12" fmla="*/ 390 w 479"/>
                      <a:gd name="T13" fmla="*/ 68 h 210"/>
                      <a:gd name="T14" fmla="*/ 424 w 479"/>
                      <a:gd name="T15" fmla="*/ 102 h 210"/>
                      <a:gd name="T16" fmla="*/ 390 w 479"/>
                      <a:gd name="T17" fmla="*/ 137 h 210"/>
                      <a:gd name="T18" fmla="*/ 355 w 479"/>
                      <a:gd name="T19" fmla="*/ 102 h 210"/>
                      <a:gd name="T20" fmla="*/ 390 w 479"/>
                      <a:gd name="T21" fmla="*/ 6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10">
                        <a:moveTo>
                          <a:pt x="447" y="210"/>
                        </a:moveTo>
                        <a:cubicBezTo>
                          <a:pt x="465" y="210"/>
                          <a:pt x="479" y="195"/>
                          <a:pt x="479" y="178"/>
                        </a:cubicBezTo>
                        <a:cubicBezTo>
                          <a:pt x="479" y="0"/>
                          <a:pt x="479" y="0"/>
                          <a:pt x="479" y="0"/>
                        </a:cubicBezTo>
                        <a:cubicBezTo>
                          <a:pt x="0" y="0"/>
                          <a:pt x="0" y="0"/>
                          <a:pt x="0" y="0"/>
                        </a:cubicBezTo>
                        <a:cubicBezTo>
                          <a:pt x="0" y="210"/>
                          <a:pt x="0" y="210"/>
                          <a:pt x="0" y="210"/>
                        </a:cubicBezTo>
                        <a:lnTo>
                          <a:pt x="447" y="210"/>
                        </a:lnTo>
                        <a:close/>
                        <a:moveTo>
                          <a:pt x="390" y="68"/>
                        </a:moveTo>
                        <a:cubicBezTo>
                          <a:pt x="409" y="68"/>
                          <a:pt x="424" y="83"/>
                          <a:pt x="424" y="102"/>
                        </a:cubicBezTo>
                        <a:cubicBezTo>
                          <a:pt x="424" y="121"/>
                          <a:pt x="409" y="137"/>
                          <a:pt x="390" y="137"/>
                        </a:cubicBezTo>
                        <a:cubicBezTo>
                          <a:pt x="371" y="137"/>
                          <a:pt x="355" y="121"/>
                          <a:pt x="355" y="102"/>
                        </a:cubicBezTo>
                        <a:cubicBezTo>
                          <a:pt x="355" y="83"/>
                          <a:pt x="371" y="68"/>
                          <a:pt x="390" y="68"/>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76" name="Freeform 245"/>
                  <p:cNvSpPr>
                    <a:spLocks noEditPoints="1"/>
                  </p:cNvSpPr>
                  <p:nvPr/>
                </p:nvSpPr>
                <p:spPr bwMode="auto">
                  <a:xfrm>
                    <a:off x="11224578" y="839310"/>
                    <a:ext cx="269319" cy="118111"/>
                  </a:xfrm>
                  <a:custGeom>
                    <a:avLst/>
                    <a:gdLst>
                      <a:gd name="T0" fmla="*/ 479 w 479"/>
                      <a:gd name="T1" fmla="*/ 210 h 210"/>
                      <a:gd name="T2" fmla="*/ 479 w 479"/>
                      <a:gd name="T3" fmla="*/ 32 h 210"/>
                      <a:gd name="T4" fmla="*/ 447 w 479"/>
                      <a:gd name="T5" fmla="*/ 0 h 210"/>
                      <a:gd name="T6" fmla="*/ 0 w 479"/>
                      <a:gd name="T7" fmla="*/ 0 h 210"/>
                      <a:gd name="T8" fmla="*/ 0 w 479"/>
                      <a:gd name="T9" fmla="*/ 210 h 210"/>
                      <a:gd name="T10" fmla="*/ 479 w 479"/>
                      <a:gd name="T11" fmla="*/ 210 h 210"/>
                      <a:gd name="T12" fmla="*/ 390 w 479"/>
                      <a:gd name="T13" fmla="*/ 74 h 210"/>
                      <a:gd name="T14" fmla="*/ 424 w 479"/>
                      <a:gd name="T15" fmla="*/ 108 h 210"/>
                      <a:gd name="T16" fmla="*/ 390 w 479"/>
                      <a:gd name="T17" fmla="*/ 142 h 210"/>
                      <a:gd name="T18" fmla="*/ 355 w 479"/>
                      <a:gd name="T19" fmla="*/ 108 h 210"/>
                      <a:gd name="T20" fmla="*/ 390 w 479"/>
                      <a:gd name="T21" fmla="*/ 7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10">
                        <a:moveTo>
                          <a:pt x="479" y="210"/>
                        </a:moveTo>
                        <a:cubicBezTo>
                          <a:pt x="479" y="32"/>
                          <a:pt x="479" y="32"/>
                          <a:pt x="479" y="32"/>
                        </a:cubicBezTo>
                        <a:cubicBezTo>
                          <a:pt x="479" y="14"/>
                          <a:pt x="465" y="0"/>
                          <a:pt x="447" y="0"/>
                        </a:cubicBezTo>
                        <a:cubicBezTo>
                          <a:pt x="0" y="0"/>
                          <a:pt x="0" y="0"/>
                          <a:pt x="0" y="0"/>
                        </a:cubicBezTo>
                        <a:cubicBezTo>
                          <a:pt x="0" y="210"/>
                          <a:pt x="0" y="210"/>
                          <a:pt x="0" y="210"/>
                        </a:cubicBezTo>
                        <a:lnTo>
                          <a:pt x="479" y="210"/>
                        </a:lnTo>
                        <a:close/>
                        <a:moveTo>
                          <a:pt x="390" y="74"/>
                        </a:moveTo>
                        <a:cubicBezTo>
                          <a:pt x="409" y="74"/>
                          <a:pt x="424" y="89"/>
                          <a:pt x="424" y="108"/>
                        </a:cubicBezTo>
                        <a:cubicBezTo>
                          <a:pt x="424" y="127"/>
                          <a:pt x="409" y="142"/>
                          <a:pt x="390" y="142"/>
                        </a:cubicBezTo>
                        <a:cubicBezTo>
                          <a:pt x="371" y="142"/>
                          <a:pt x="355" y="127"/>
                          <a:pt x="355" y="108"/>
                        </a:cubicBezTo>
                        <a:cubicBezTo>
                          <a:pt x="355" y="89"/>
                          <a:pt x="371" y="74"/>
                          <a:pt x="390" y="74"/>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77" name="Freeform 246"/>
                  <p:cNvSpPr>
                    <a:spLocks noEditPoints="1"/>
                  </p:cNvSpPr>
                  <p:nvPr/>
                </p:nvSpPr>
                <p:spPr bwMode="auto">
                  <a:xfrm>
                    <a:off x="11224578" y="991232"/>
                    <a:ext cx="269319" cy="118111"/>
                  </a:xfrm>
                  <a:custGeom>
                    <a:avLst/>
                    <a:gdLst>
                      <a:gd name="T0" fmla="*/ 479 w 479"/>
                      <a:gd name="T1" fmla="*/ 0 h 210"/>
                      <a:gd name="T2" fmla="*/ 0 w 479"/>
                      <a:gd name="T3" fmla="*/ 0 h 210"/>
                      <a:gd name="T4" fmla="*/ 0 w 479"/>
                      <a:gd name="T5" fmla="*/ 210 h 210"/>
                      <a:gd name="T6" fmla="*/ 479 w 479"/>
                      <a:gd name="T7" fmla="*/ 210 h 210"/>
                      <a:gd name="T8" fmla="*/ 479 w 479"/>
                      <a:gd name="T9" fmla="*/ 0 h 210"/>
                      <a:gd name="T10" fmla="*/ 390 w 479"/>
                      <a:gd name="T11" fmla="*/ 75 h 210"/>
                      <a:gd name="T12" fmla="*/ 424 w 479"/>
                      <a:gd name="T13" fmla="*/ 109 h 210"/>
                      <a:gd name="T14" fmla="*/ 390 w 479"/>
                      <a:gd name="T15" fmla="*/ 143 h 210"/>
                      <a:gd name="T16" fmla="*/ 355 w 479"/>
                      <a:gd name="T17" fmla="*/ 109 h 210"/>
                      <a:gd name="T18" fmla="*/ 390 w 479"/>
                      <a:gd name="T19" fmla="*/ 7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10">
                        <a:moveTo>
                          <a:pt x="479" y="0"/>
                        </a:moveTo>
                        <a:cubicBezTo>
                          <a:pt x="0" y="0"/>
                          <a:pt x="0" y="0"/>
                          <a:pt x="0" y="0"/>
                        </a:cubicBezTo>
                        <a:cubicBezTo>
                          <a:pt x="0" y="210"/>
                          <a:pt x="0" y="210"/>
                          <a:pt x="0" y="210"/>
                        </a:cubicBezTo>
                        <a:cubicBezTo>
                          <a:pt x="479" y="210"/>
                          <a:pt x="479" y="210"/>
                          <a:pt x="479" y="210"/>
                        </a:cubicBezTo>
                        <a:lnTo>
                          <a:pt x="479" y="0"/>
                        </a:lnTo>
                        <a:close/>
                        <a:moveTo>
                          <a:pt x="390" y="75"/>
                        </a:moveTo>
                        <a:cubicBezTo>
                          <a:pt x="409" y="75"/>
                          <a:pt x="424" y="90"/>
                          <a:pt x="424" y="109"/>
                        </a:cubicBezTo>
                        <a:cubicBezTo>
                          <a:pt x="424" y="128"/>
                          <a:pt x="409" y="143"/>
                          <a:pt x="390" y="143"/>
                        </a:cubicBezTo>
                        <a:cubicBezTo>
                          <a:pt x="371" y="143"/>
                          <a:pt x="355" y="128"/>
                          <a:pt x="355" y="109"/>
                        </a:cubicBezTo>
                        <a:cubicBezTo>
                          <a:pt x="355" y="90"/>
                          <a:pt x="371" y="75"/>
                          <a:pt x="390" y="75"/>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78" name="Freeform 247"/>
                  <p:cNvSpPr>
                    <a:spLocks noEditPoints="1"/>
                  </p:cNvSpPr>
                  <p:nvPr/>
                </p:nvSpPr>
                <p:spPr bwMode="auto">
                  <a:xfrm>
                    <a:off x="11224578" y="1143155"/>
                    <a:ext cx="269319" cy="118111"/>
                  </a:xfrm>
                  <a:custGeom>
                    <a:avLst/>
                    <a:gdLst>
                      <a:gd name="T0" fmla="*/ 479 w 479"/>
                      <a:gd name="T1" fmla="*/ 0 h 210"/>
                      <a:gd name="T2" fmla="*/ 0 w 479"/>
                      <a:gd name="T3" fmla="*/ 0 h 210"/>
                      <a:gd name="T4" fmla="*/ 0 w 479"/>
                      <a:gd name="T5" fmla="*/ 210 h 210"/>
                      <a:gd name="T6" fmla="*/ 479 w 479"/>
                      <a:gd name="T7" fmla="*/ 210 h 210"/>
                      <a:gd name="T8" fmla="*/ 479 w 479"/>
                      <a:gd name="T9" fmla="*/ 0 h 210"/>
                      <a:gd name="T10" fmla="*/ 390 w 479"/>
                      <a:gd name="T11" fmla="*/ 72 h 210"/>
                      <a:gd name="T12" fmla="*/ 424 w 479"/>
                      <a:gd name="T13" fmla="*/ 106 h 210"/>
                      <a:gd name="T14" fmla="*/ 390 w 479"/>
                      <a:gd name="T15" fmla="*/ 140 h 210"/>
                      <a:gd name="T16" fmla="*/ 355 w 479"/>
                      <a:gd name="T17" fmla="*/ 106 h 210"/>
                      <a:gd name="T18" fmla="*/ 390 w 479"/>
                      <a:gd name="T19" fmla="*/ 7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10">
                        <a:moveTo>
                          <a:pt x="479" y="0"/>
                        </a:moveTo>
                        <a:cubicBezTo>
                          <a:pt x="0" y="0"/>
                          <a:pt x="0" y="0"/>
                          <a:pt x="0" y="0"/>
                        </a:cubicBezTo>
                        <a:cubicBezTo>
                          <a:pt x="0" y="210"/>
                          <a:pt x="0" y="210"/>
                          <a:pt x="0" y="210"/>
                        </a:cubicBezTo>
                        <a:cubicBezTo>
                          <a:pt x="479" y="210"/>
                          <a:pt x="479" y="210"/>
                          <a:pt x="479" y="210"/>
                        </a:cubicBezTo>
                        <a:lnTo>
                          <a:pt x="479" y="0"/>
                        </a:lnTo>
                        <a:close/>
                        <a:moveTo>
                          <a:pt x="390" y="72"/>
                        </a:moveTo>
                        <a:cubicBezTo>
                          <a:pt x="409" y="72"/>
                          <a:pt x="424" y="87"/>
                          <a:pt x="424" y="106"/>
                        </a:cubicBezTo>
                        <a:cubicBezTo>
                          <a:pt x="424" y="125"/>
                          <a:pt x="409" y="140"/>
                          <a:pt x="390" y="140"/>
                        </a:cubicBezTo>
                        <a:cubicBezTo>
                          <a:pt x="371" y="140"/>
                          <a:pt x="355" y="125"/>
                          <a:pt x="355" y="106"/>
                        </a:cubicBezTo>
                        <a:cubicBezTo>
                          <a:pt x="355" y="87"/>
                          <a:pt x="371" y="72"/>
                          <a:pt x="390" y="72"/>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79" name="Freeform 248"/>
                  <p:cNvSpPr>
                    <a:spLocks noEditPoints="1"/>
                  </p:cNvSpPr>
                  <p:nvPr/>
                </p:nvSpPr>
                <p:spPr bwMode="auto">
                  <a:xfrm>
                    <a:off x="11521041" y="1284363"/>
                    <a:ext cx="217171" cy="95013"/>
                  </a:xfrm>
                  <a:custGeom>
                    <a:avLst/>
                    <a:gdLst>
                      <a:gd name="T0" fmla="*/ 386 w 386"/>
                      <a:gd name="T1" fmla="*/ 0 h 169"/>
                      <a:gd name="T2" fmla="*/ 0 w 386"/>
                      <a:gd name="T3" fmla="*/ 0 h 169"/>
                      <a:gd name="T4" fmla="*/ 0 w 386"/>
                      <a:gd name="T5" fmla="*/ 169 h 169"/>
                      <a:gd name="T6" fmla="*/ 386 w 386"/>
                      <a:gd name="T7" fmla="*/ 169 h 169"/>
                      <a:gd name="T8" fmla="*/ 386 w 386"/>
                      <a:gd name="T9" fmla="*/ 0 h 169"/>
                      <a:gd name="T10" fmla="*/ 314 w 386"/>
                      <a:gd name="T11" fmla="*/ 55 h 169"/>
                      <a:gd name="T12" fmla="*/ 341 w 386"/>
                      <a:gd name="T13" fmla="*/ 83 h 169"/>
                      <a:gd name="T14" fmla="*/ 314 w 386"/>
                      <a:gd name="T15" fmla="*/ 110 h 169"/>
                      <a:gd name="T16" fmla="*/ 286 w 386"/>
                      <a:gd name="T17" fmla="*/ 83 h 169"/>
                      <a:gd name="T18" fmla="*/ 314 w 386"/>
                      <a:gd name="T19" fmla="*/ 5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169">
                        <a:moveTo>
                          <a:pt x="386" y="0"/>
                        </a:moveTo>
                        <a:cubicBezTo>
                          <a:pt x="0" y="0"/>
                          <a:pt x="0" y="0"/>
                          <a:pt x="0" y="0"/>
                        </a:cubicBezTo>
                        <a:cubicBezTo>
                          <a:pt x="0" y="169"/>
                          <a:pt x="0" y="169"/>
                          <a:pt x="0" y="169"/>
                        </a:cubicBezTo>
                        <a:cubicBezTo>
                          <a:pt x="386" y="169"/>
                          <a:pt x="386" y="169"/>
                          <a:pt x="386" y="169"/>
                        </a:cubicBezTo>
                        <a:lnTo>
                          <a:pt x="386" y="0"/>
                        </a:lnTo>
                        <a:close/>
                        <a:moveTo>
                          <a:pt x="314" y="55"/>
                        </a:moveTo>
                        <a:cubicBezTo>
                          <a:pt x="329" y="55"/>
                          <a:pt x="341" y="67"/>
                          <a:pt x="341" y="83"/>
                        </a:cubicBezTo>
                        <a:cubicBezTo>
                          <a:pt x="341" y="98"/>
                          <a:pt x="329" y="110"/>
                          <a:pt x="314" y="110"/>
                        </a:cubicBezTo>
                        <a:cubicBezTo>
                          <a:pt x="298" y="110"/>
                          <a:pt x="286" y="98"/>
                          <a:pt x="286" y="83"/>
                        </a:cubicBezTo>
                        <a:cubicBezTo>
                          <a:pt x="286" y="67"/>
                          <a:pt x="298" y="55"/>
                          <a:pt x="314" y="55"/>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0" name="Freeform 249"/>
                  <p:cNvSpPr>
                    <a:spLocks noEditPoints="1"/>
                  </p:cNvSpPr>
                  <p:nvPr/>
                </p:nvSpPr>
                <p:spPr bwMode="auto">
                  <a:xfrm>
                    <a:off x="11521041" y="1406998"/>
                    <a:ext cx="217171" cy="95013"/>
                  </a:xfrm>
                  <a:custGeom>
                    <a:avLst/>
                    <a:gdLst>
                      <a:gd name="T0" fmla="*/ 360 w 386"/>
                      <a:gd name="T1" fmla="*/ 169 h 169"/>
                      <a:gd name="T2" fmla="*/ 386 w 386"/>
                      <a:gd name="T3" fmla="*/ 143 h 169"/>
                      <a:gd name="T4" fmla="*/ 386 w 386"/>
                      <a:gd name="T5" fmla="*/ 0 h 169"/>
                      <a:gd name="T6" fmla="*/ 0 w 386"/>
                      <a:gd name="T7" fmla="*/ 0 h 169"/>
                      <a:gd name="T8" fmla="*/ 0 w 386"/>
                      <a:gd name="T9" fmla="*/ 169 h 169"/>
                      <a:gd name="T10" fmla="*/ 360 w 386"/>
                      <a:gd name="T11" fmla="*/ 169 h 169"/>
                      <a:gd name="T12" fmla="*/ 314 w 386"/>
                      <a:gd name="T13" fmla="*/ 55 h 169"/>
                      <a:gd name="T14" fmla="*/ 341 w 386"/>
                      <a:gd name="T15" fmla="*/ 83 h 169"/>
                      <a:gd name="T16" fmla="*/ 314 w 386"/>
                      <a:gd name="T17" fmla="*/ 110 h 169"/>
                      <a:gd name="T18" fmla="*/ 286 w 386"/>
                      <a:gd name="T19" fmla="*/ 83 h 169"/>
                      <a:gd name="T20" fmla="*/ 314 w 386"/>
                      <a:gd name="T21" fmla="*/ 5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6" h="169">
                        <a:moveTo>
                          <a:pt x="360" y="169"/>
                        </a:moveTo>
                        <a:cubicBezTo>
                          <a:pt x="374" y="169"/>
                          <a:pt x="386" y="157"/>
                          <a:pt x="386" y="143"/>
                        </a:cubicBezTo>
                        <a:cubicBezTo>
                          <a:pt x="386" y="0"/>
                          <a:pt x="386" y="0"/>
                          <a:pt x="386" y="0"/>
                        </a:cubicBezTo>
                        <a:cubicBezTo>
                          <a:pt x="0" y="0"/>
                          <a:pt x="0" y="0"/>
                          <a:pt x="0" y="0"/>
                        </a:cubicBezTo>
                        <a:cubicBezTo>
                          <a:pt x="0" y="169"/>
                          <a:pt x="0" y="169"/>
                          <a:pt x="0" y="169"/>
                        </a:cubicBezTo>
                        <a:lnTo>
                          <a:pt x="360" y="169"/>
                        </a:lnTo>
                        <a:close/>
                        <a:moveTo>
                          <a:pt x="314" y="55"/>
                        </a:moveTo>
                        <a:cubicBezTo>
                          <a:pt x="329" y="55"/>
                          <a:pt x="341" y="67"/>
                          <a:pt x="341" y="83"/>
                        </a:cubicBezTo>
                        <a:cubicBezTo>
                          <a:pt x="341" y="98"/>
                          <a:pt x="329" y="110"/>
                          <a:pt x="314" y="110"/>
                        </a:cubicBezTo>
                        <a:cubicBezTo>
                          <a:pt x="298" y="110"/>
                          <a:pt x="286" y="98"/>
                          <a:pt x="286" y="83"/>
                        </a:cubicBezTo>
                        <a:cubicBezTo>
                          <a:pt x="286" y="67"/>
                          <a:pt x="298" y="55"/>
                          <a:pt x="314" y="55"/>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1" name="Freeform 250"/>
                  <p:cNvSpPr>
                    <a:spLocks noEditPoints="1"/>
                  </p:cNvSpPr>
                  <p:nvPr/>
                </p:nvSpPr>
                <p:spPr bwMode="auto">
                  <a:xfrm>
                    <a:off x="11521041" y="916938"/>
                    <a:ext cx="217171" cy="95725"/>
                  </a:xfrm>
                  <a:custGeom>
                    <a:avLst/>
                    <a:gdLst>
                      <a:gd name="T0" fmla="*/ 386 w 386"/>
                      <a:gd name="T1" fmla="*/ 170 h 170"/>
                      <a:gd name="T2" fmla="*/ 386 w 386"/>
                      <a:gd name="T3" fmla="*/ 26 h 170"/>
                      <a:gd name="T4" fmla="*/ 360 w 386"/>
                      <a:gd name="T5" fmla="*/ 0 h 170"/>
                      <a:gd name="T6" fmla="*/ 0 w 386"/>
                      <a:gd name="T7" fmla="*/ 0 h 170"/>
                      <a:gd name="T8" fmla="*/ 0 w 386"/>
                      <a:gd name="T9" fmla="*/ 170 h 170"/>
                      <a:gd name="T10" fmla="*/ 386 w 386"/>
                      <a:gd name="T11" fmla="*/ 170 h 170"/>
                      <a:gd name="T12" fmla="*/ 314 w 386"/>
                      <a:gd name="T13" fmla="*/ 60 h 170"/>
                      <a:gd name="T14" fmla="*/ 341 w 386"/>
                      <a:gd name="T15" fmla="*/ 87 h 170"/>
                      <a:gd name="T16" fmla="*/ 314 w 386"/>
                      <a:gd name="T17" fmla="*/ 115 h 170"/>
                      <a:gd name="T18" fmla="*/ 286 w 386"/>
                      <a:gd name="T19" fmla="*/ 87 h 170"/>
                      <a:gd name="T20" fmla="*/ 314 w 386"/>
                      <a:gd name="T21" fmla="*/ 6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6" h="170">
                        <a:moveTo>
                          <a:pt x="386" y="170"/>
                        </a:moveTo>
                        <a:cubicBezTo>
                          <a:pt x="386" y="26"/>
                          <a:pt x="386" y="26"/>
                          <a:pt x="386" y="26"/>
                        </a:cubicBezTo>
                        <a:cubicBezTo>
                          <a:pt x="386" y="12"/>
                          <a:pt x="374" y="0"/>
                          <a:pt x="360" y="0"/>
                        </a:cubicBezTo>
                        <a:cubicBezTo>
                          <a:pt x="0" y="0"/>
                          <a:pt x="0" y="0"/>
                          <a:pt x="0" y="0"/>
                        </a:cubicBezTo>
                        <a:cubicBezTo>
                          <a:pt x="0" y="170"/>
                          <a:pt x="0" y="170"/>
                          <a:pt x="0" y="170"/>
                        </a:cubicBezTo>
                        <a:lnTo>
                          <a:pt x="386" y="170"/>
                        </a:lnTo>
                        <a:close/>
                        <a:moveTo>
                          <a:pt x="314" y="60"/>
                        </a:moveTo>
                        <a:cubicBezTo>
                          <a:pt x="329" y="60"/>
                          <a:pt x="341" y="72"/>
                          <a:pt x="341" y="87"/>
                        </a:cubicBezTo>
                        <a:cubicBezTo>
                          <a:pt x="341" y="103"/>
                          <a:pt x="329" y="115"/>
                          <a:pt x="314" y="115"/>
                        </a:cubicBezTo>
                        <a:cubicBezTo>
                          <a:pt x="298" y="115"/>
                          <a:pt x="286" y="103"/>
                          <a:pt x="286" y="87"/>
                        </a:cubicBezTo>
                        <a:cubicBezTo>
                          <a:pt x="286" y="72"/>
                          <a:pt x="298" y="60"/>
                          <a:pt x="314" y="60"/>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2" name="Freeform 251"/>
                  <p:cNvSpPr>
                    <a:spLocks noEditPoints="1"/>
                  </p:cNvSpPr>
                  <p:nvPr/>
                </p:nvSpPr>
                <p:spPr bwMode="auto">
                  <a:xfrm>
                    <a:off x="11521041" y="1039572"/>
                    <a:ext cx="217171" cy="95013"/>
                  </a:xfrm>
                  <a:custGeom>
                    <a:avLst/>
                    <a:gdLst>
                      <a:gd name="T0" fmla="*/ 386 w 386"/>
                      <a:gd name="T1" fmla="*/ 0 h 169"/>
                      <a:gd name="T2" fmla="*/ 0 w 386"/>
                      <a:gd name="T3" fmla="*/ 0 h 169"/>
                      <a:gd name="T4" fmla="*/ 0 w 386"/>
                      <a:gd name="T5" fmla="*/ 169 h 169"/>
                      <a:gd name="T6" fmla="*/ 386 w 386"/>
                      <a:gd name="T7" fmla="*/ 169 h 169"/>
                      <a:gd name="T8" fmla="*/ 386 w 386"/>
                      <a:gd name="T9" fmla="*/ 0 h 169"/>
                      <a:gd name="T10" fmla="*/ 314 w 386"/>
                      <a:gd name="T11" fmla="*/ 60 h 169"/>
                      <a:gd name="T12" fmla="*/ 341 w 386"/>
                      <a:gd name="T13" fmla="*/ 88 h 169"/>
                      <a:gd name="T14" fmla="*/ 314 w 386"/>
                      <a:gd name="T15" fmla="*/ 116 h 169"/>
                      <a:gd name="T16" fmla="*/ 286 w 386"/>
                      <a:gd name="T17" fmla="*/ 88 h 169"/>
                      <a:gd name="T18" fmla="*/ 314 w 386"/>
                      <a:gd name="T1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169">
                        <a:moveTo>
                          <a:pt x="386" y="0"/>
                        </a:moveTo>
                        <a:cubicBezTo>
                          <a:pt x="0" y="0"/>
                          <a:pt x="0" y="0"/>
                          <a:pt x="0" y="0"/>
                        </a:cubicBezTo>
                        <a:cubicBezTo>
                          <a:pt x="0" y="169"/>
                          <a:pt x="0" y="169"/>
                          <a:pt x="0" y="169"/>
                        </a:cubicBezTo>
                        <a:cubicBezTo>
                          <a:pt x="386" y="169"/>
                          <a:pt x="386" y="169"/>
                          <a:pt x="386" y="169"/>
                        </a:cubicBezTo>
                        <a:lnTo>
                          <a:pt x="386" y="0"/>
                        </a:lnTo>
                        <a:close/>
                        <a:moveTo>
                          <a:pt x="314" y="60"/>
                        </a:moveTo>
                        <a:cubicBezTo>
                          <a:pt x="329" y="60"/>
                          <a:pt x="341" y="73"/>
                          <a:pt x="341" y="88"/>
                        </a:cubicBezTo>
                        <a:cubicBezTo>
                          <a:pt x="341" y="103"/>
                          <a:pt x="329" y="116"/>
                          <a:pt x="314" y="116"/>
                        </a:cubicBezTo>
                        <a:cubicBezTo>
                          <a:pt x="298" y="116"/>
                          <a:pt x="286" y="103"/>
                          <a:pt x="286" y="88"/>
                        </a:cubicBezTo>
                        <a:cubicBezTo>
                          <a:pt x="286" y="73"/>
                          <a:pt x="298" y="60"/>
                          <a:pt x="314" y="60"/>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3" name="Freeform 252"/>
                  <p:cNvSpPr>
                    <a:spLocks noEditPoints="1"/>
                  </p:cNvSpPr>
                  <p:nvPr/>
                </p:nvSpPr>
                <p:spPr bwMode="auto">
                  <a:xfrm>
                    <a:off x="11521041" y="1162206"/>
                    <a:ext cx="217171" cy="95013"/>
                  </a:xfrm>
                  <a:custGeom>
                    <a:avLst/>
                    <a:gdLst>
                      <a:gd name="T0" fmla="*/ 386 w 386"/>
                      <a:gd name="T1" fmla="*/ 0 h 169"/>
                      <a:gd name="T2" fmla="*/ 0 w 386"/>
                      <a:gd name="T3" fmla="*/ 0 h 169"/>
                      <a:gd name="T4" fmla="*/ 0 w 386"/>
                      <a:gd name="T5" fmla="*/ 169 h 169"/>
                      <a:gd name="T6" fmla="*/ 386 w 386"/>
                      <a:gd name="T7" fmla="*/ 169 h 169"/>
                      <a:gd name="T8" fmla="*/ 386 w 386"/>
                      <a:gd name="T9" fmla="*/ 0 h 169"/>
                      <a:gd name="T10" fmla="*/ 314 w 386"/>
                      <a:gd name="T11" fmla="*/ 57 h 169"/>
                      <a:gd name="T12" fmla="*/ 341 w 386"/>
                      <a:gd name="T13" fmla="*/ 85 h 169"/>
                      <a:gd name="T14" fmla="*/ 314 w 386"/>
                      <a:gd name="T15" fmla="*/ 112 h 169"/>
                      <a:gd name="T16" fmla="*/ 286 w 386"/>
                      <a:gd name="T17" fmla="*/ 85 h 169"/>
                      <a:gd name="T18" fmla="*/ 314 w 386"/>
                      <a:gd name="T19" fmla="*/ 5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169">
                        <a:moveTo>
                          <a:pt x="386" y="0"/>
                        </a:moveTo>
                        <a:cubicBezTo>
                          <a:pt x="0" y="0"/>
                          <a:pt x="0" y="0"/>
                          <a:pt x="0" y="0"/>
                        </a:cubicBezTo>
                        <a:cubicBezTo>
                          <a:pt x="0" y="169"/>
                          <a:pt x="0" y="169"/>
                          <a:pt x="0" y="169"/>
                        </a:cubicBezTo>
                        <a:cubicBezTo>
                          <a:pt x="386" y="169"/>
                          <a:pt x="386" y="169"/>
                          <a:pt x="386" y="169"/>
                        </a:cubicBezTo>
                        <a:lnTo>
                          <a:pt x="386" y="0"/>
                        </a:lnTo>
                        <a:close/>
                        <a:moveTo>
                          <a:pt x="314" y="57"/>
                        </a:moveTo>
                        <a:cubicBezTo>
                          <a:pt x="329" y="57"/>
                          <a:pt x="341" y="69"/>
                          <a:pt x="341" y="85"/>
                        </a:cubicBezTo>
                        <a:cubicBezTo>
                          <a:pt x="341" y="100"/>
                          <a:pt x="329" y="112"/>
                          <a:pt x="314" y="112"/>
                        </a:cubicBezTo>
                        <a:cubicBezTo>
                          <a:pt x="298" y="112"/>
                          <a:pt x="286" y="100"/>
                          <a:pt x="286" y="85"/>
                        </a:cubicBezTo>
                        <a:cubicBezTo>
                          <a:pt x="286" y="69"/>
                          <a:pt x="298" y="57"/>
                          <a:pt x="314" y="57"/>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4" name="Freeform 253"/>
                  <p:cNvSpPr>
                    <a:spLocks noEditPoints="1"/>
                  </p:cNvSpPr>
                  <p:nvPr/>
                </p:nvSpPr>
                <p:spPr bwMode="auto">
                  <a:xfrm>
                    <a:off x="10707607" y="1311272"/>
                    <a:ext cx="484346" cy="150256"/>
                  </a:xfrm>
                  <a:custGeom>
                    <a:avLst/>
                    <a:gdLst>
                      <a:gd name="T0" fmla="*/ 0 w 861"/>
                      <a:gd name="T1" fmla="*/ 267 h 267"/>
                      <a:gd name="T2" fmla="*/ 861 w 861"/>
                      <a:gd name="T3" fmla="*/ 267 h 267"/>
                      <a:gd name="T4" fmla="*/ 861 w 861"/>
                      <a:gd name="T5" fmla="*/ 0 h 267"/>
                      <a:gd name="T6" fmla="*/ 0 w 861"/>
                      <a:gd name="T7" fmla="*/ 0 h 267"/>
                      <a:gd name="T8" fmla="*/ 0 w 861"/>
                      <a:gd name="T9" fmla="*/ 267 h 267"/>
                      <a:gd name="T10" fmla="*/ 748 w 861"/>
                      <a:gd name="T11" fmla="*/ 86 h 267"/>
                      <a:gd name="T12" fmla="*/ 791 w 861"/>
                      <a:gd name="T13" fmla="*/ 130 h 267"/>
                      <a:gd name="T14" fmla="*/ 748 w 861"/>
                      <a:gd name="T15" fmla="*/ 174 h 267"/>
                      <a:gd name="T16" fmla="*/ 704 w 861"/>
                      <a:gd name="T17" fmla="*/ 130 h 267"/>
                      <a:gd name="T18" fmla="*/ 748 w 861"/>
                      <a:gd name="T19" fmla="*/ 8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1" h="267">
                        <a:moveTo>
                          <a:pt x="0" y="267"/>
                        </a:moveTo>
                        <a:cubicBezTo>
                          <a:pt x="861" y="267"/>
                          <a:pt x="861" y="267"/>
                          <a:pt x="861" y="267"/>
                        </a:cubicBezTo>
                        <a:cubicBezTo>
                          <a:pt x="861" y="0"/>
                          <a:pt x="861" y="0"/>
                          <a:pt x="861" y="0"/>
                        </a:cubicBezTo>
                        <a:cubicBezTo>
                          <a:pt x="0" y="0"/>
                          <a:pt x="0" y="0"/>
                          <a:pt x="0" y="0"/>
                        </a:cubicBezTo>
                        <a:lnTo>
                          <a:pt x="0" y="267"/>
                        </a:lnTo>
                        <a:close/>
                        <a:moveTo>
                          <a:pt x="748" y="86"/>
                        </a:moveTo>
                        <a:cubicBezTo>
                          <a:pt x="772" y="86"/>
                          <a:pt x="791" y="106"/>
                          <a:pt x="791" y="130"/>
                        </a:cubicBezTo>
                        <a:cubicBezTo>
                          <a:pt x="791" y="154"/>
                          <a:pt x="772" y="174"/>
                          <a:pt x="748" y="174"/>
                        </a:cubicBezTo>
                        <a:cubicBezTo>
                          <a:pt x="724" y="174"/>
                          <a:pt x="704" y="154"/>
                          <a:pt x="704" y="130"/>
                        </a:cubicBezTo>
                        <a:cubicBezTo>
                          <a:pt x="704" y="106"/>
                          <a:pt x="724" y="86"/>
                          <a:pt x="748" y="86"/>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5" name="Freeform 254"/>
                  <p:cNvSpPr>
                    <a:spLocks noEditPoints="1"/>
                  </p:cNvSpPr>
                  <p:nvPr/>
                </p:nvSpPr>
                <p:spPr bwMode="auto">
                  <a:xfrm>
                    <a:off x="10707607" y="1504867"/>
                    <a:ext cx="484346" cy="149543"/>
                  </a:xfrm>
                  <a:custGeom>
                    <a:avLst/>
                    <a:gdLst>
                      <a:gd name="T0" fmla="*/ 0 w 861"/>
                      <a:gd name="T1" fmla="*/ 226 h 266"/>
                      <a:gd name="T2" fmla="*/ 41 w 861"/>
                      <a:gd name="T3" fmla="*/ 266 h 266"/>
                      <a:gd name="T4" fmla="*/ 821 w 861"/>
                      <a:gd name="T5" fmla="*/ 266 h 266"/>
                      <a:gd name="T6" fmla="*/ 861 w 861"/>
                      <a:gd name="T7" fmla="*/ 226 h 266"/>
                      <a:gd name="T8" fmla="*/ 861 w 861"/>
                      <a:gd name="T9" fmla="*/ 0 h 266"/>
                      <a:gd name="T10" fmla="*/ 0 w 861"/>
                      <a:gd name="T11" fmla="*/ 0 h 266"/>
                      <a:gd name="T12" fmla="*/ 0 w 861"/>
                      <a:gd name="T13" fmla="*/ 226 h 266"/>
                      <a:gd name="T14" fmla="*/ 748 w 861"/>
                      <a:gd name="T15" fmla="*/ 86 h 266"/>
                      <a:gd name="T16" fmla="*/ 791 w 861"/>
                      <a:gd name="T17" fmla="*/ 130 h 266"/>
                      <a:gd name="T18" fmla="*/ 748 w 861"/>
                      <a:gd name="T19" fmla="*/ 174 h 266"/>
                      <a:gd name="T20" fmla="*/ 704 w 861"/>
                      <a:gd name="T21" fmla="*/ 130 h 266"/>
                      <a:gd name="T22" fmla="*/ 748 w 861"/>
                      <a:gd name="T23" fmla="*/ 8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1" h="266">
                        <a:moveTo>
                          <a:pt x="0" y="226"/>
                        </a:moveTo>
                        <a:cubicBezTo>
                          <a:pt x="0" y="248"/>
                          <a:pt x="18" y="266"/>
                          <a:pt x="41" y="266"/>
                        </a:cubicBezTo>
                        <a:cubicBezTo>
                          <a:pt x="821" y="266"/>
                          <a:pt x="821" y="266"/>
                          <a:pt x="821" y="266"/>
                        </a:cubicBezTo>
                        <a:cubicBezTo>
                          <a:pt x="843" y="266"/>
                          <a:pt x="861" y="248"/>
                          <a:pt x="861" y="226"/>
                        </a:cubicBezTo>
                        <a:cubicBezTo>
                          <a:pt x="861" y="0"/>
                          <a:pt x="861" y="0"/>
                          <a:pt x="861" y="0"/>
                        </a:cubicBezTo>
                        <a:cubicBezTo>
                          <a:pt x="0" y="0"/>
                          <a:pt x="0" y="0"/>
                          <a:pt x="0" y="0"/>
                        </a:cubicBezTo>
                        <a:lnTo>
                          <a:pt x="0" y="226"/>
                        </a:lnTo>
                        <a:close/>
                        <a:moveTo>
                          <a:pt x="748" y="86"/>
                        </a:moveTo>
                        <a:cubicBezTo>
                          <a:pt x="772" y="86"/>
                          <a:pt x="791" y="106"/>
                          <a:pt x="791" y="130"/>
                        </a:cubicBezTo>
                        <a:cubicBezTo>
                          <a:pt x="791" y="154"/>
                          <a:pt x="772" y="174"/>
                          <a:pt x="748" y="174"/>
                        </a:cubicBezTo>
                        <a:cubicBezTo>
                          <a:pt x="724" y="174"/>
                          <a:pt x="704" y="154"/>
                          <a:pt x="704" y="130"/>
                        </a:cubicBezTo>
                        <a:cubicBezTo>
                          <a:pt x="704" y="106"/>
                          <a:pt x="724" y="86"/>
                          <a:pt x="748" y="86"/>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6" name="Freeform 255"/>
                  <p:cNvSpPr>
                    <a:spLocks noEditPoints="1"/>
                  </p:cNvSpPr>
                  <p:nvPr/>
                </p:nvSpPr>
                <p:spPr bwMode="auto">
                  <a:xfrm>
                    <a:off x="10707607" y="731439"/>
                    <a:ext cx="484346" cy="150733"/>
                  </a:xfrm>
                  <a:custGeom>
                    <a:avLst/>
                    <a:gdLst>
                      <a:gd name="T0" fmla="*/ 861 w 861"/>
                      <a:gd name="T1" fmla="*/ 41 h 268"/>
                      <a:gd name="T2" fmla="*/ 821 w 861"/>
                      <a:gd name="T3" fmla="*/ 0 h 268"/>
                      <a:gd name="T4" fmla="*/ 41 w 861"/>
                      <a:gd name="T5" fmla="*/ 0 h 268"/>
                      <a:gd name="T6" fmla="*/ 0 w 861"/>
                      <a:gd name="T7" fmla="*/ 41 h 268"/>
                      <a:gd name="T8" fmla="*/ 0 w 861"/>
                      <a:gd name="T9" fmla="*/ 268 h 268"/>
                      <a:gd name="T10" fmla="*/ 861 w 861"/>
                      <a:gd name="T11" fmla="*/ 268 h 268"/>
                      <a:gd name="T12" fmla="*/ 861 w 861"/>
                      <a:gd name="T13" fmla="*/ 41 h 268"/>
                      <a:gd name="T14" fmla="*/ 748 w 861"/>
                      <a:gd name="T15" fmla="*/ 182 h 268"/>
                      <a:gd name="T16" fmla="*/ 704 w 861"/>
                      <a:gd name="T17" fmla="*/ 138 h 268"/>
                      <a:gd name="T18" fmla="*/ 748 w 861"/>
                      <a:gd name="T19" fmla="*/ 94 h 268"/>
                      <a:gd name="T20" fmla="*/ 791 w 861"/>
                      <a:gd name="T21" fmla="*/ 138 h 268"/>
                      <a:gd name="T22" fmla="*/ 748 w 861"/>
                      <a:gd name="T23" fmla="*/ 18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1" h="268">
                        <a:moveTo>
                          <a:pt x="861" y="41"/>
                        </a:moveTo>
                        <a:cubicBezTo>
                          <a:pt x="861" y="19"/>
                          <a:pt x="843" y="0"/>
                          <a:pt x="821" y="0"/>
                        </a:cubicBezTo>
                        <a:cubicBezTo>
                          <a:pt x="41" y="0"/>
                          <a:pt x="41" y="0"/>
                          <a:pt x="41" y="0"/>
                        </a:cubicBezTo>
                        <a:cubicBezTo>
                          <a:pt x="18" y="0"/>
                          <a:pt x="0" y="19"/>
                          <a:pt x="0" y="41"/>
                        </a:cubicBezTo>
                        <a:cubicBezTo>
                          <a:pt x="0" y="268"/>
                          <a:pt x="0" y="268"/>
                          <a:pt x="0" y="268"/>
                        </a:cubicBezTo>
                        <a:cubicBezTo>
                          <a:pt x="861" y="268"/>
                          <a:pt x="861" y="268"/>
                          <a:pt x="861" y="268"/>
                        </a:cubicBezTo>
                        <a:lnTo>
                          <a:pt x="861" y="41"/>
                        </a:lnTo>
                        <a:close/>
                        <a:moveTo>
                          <a:pt x="748" y="182"/>
                        </a:moveTo>
                        <a:cubicBezTo>
                          <a:pt x="724" y="182"/>
                          <a:pt x="704" y="162"/>
                          <a:pt x="704" y="138"/>
                        </a:cubicBezTo>
                        <a:cubicBezTo>
                          <a:pt x="704" y="114"/>
                          <a:pt x="724" y="94"/>
                          <a:pt x="748" y="94"/>
                        </a:cubicBezTo>
                        <a:cubicBezTo>
                          <a:pt x="772" y="94"/>
                          <a:pt x="791" y="114"/>
                          <a:pt x="791" y="138"/>
                        </a:cubicBezTo>
                        <a:cubicBezTo>
                          <a:pt x="791" y="162"/>
                          <a:pt x="772" y="182"/>
                          <a:pt x="748" y="182"/>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7" name="Freeform 256"/>
                  <p:cNvSpPr>
                    <a:spLocks noEditPoints="1"/>
                  </p:cNvSpPr>
                  <p:nvPr/>
                </p:nvSpPr>
                <p:spPr bwMode="auto">
                  <a:xfrm>
                    <a:off x="10707616" y="924795"/>
                    <a:ext cx="484346" cy="150256"/>
                  </a:xfrm>
                  <a:custGeom>
                    <a:avLst/>
                    <a:gdLst>
                      <a:gd name="T0" fmla="*/ 0 w 861"/>
                      <a:gd name="T1" fmla="*/ 267 h 267"/>
                      <a:gd name="T2" fmla="*/ 861 w 861"/>
                      <a:gd name="T3" fmla="*/ 267 h 267"/>
                      <a:gd name="T4" fmla="*/ 861 w 861"/>
                      <a:gd name="T5" fmla="*/ 0 h 267"/>
                      <a:gd name="T6" fmla="*/ 0 w 861"/>
                      <a:gd name="T7" fmla="*/ 0 h 267"/>
                      <a:gd name="T8" fmla="*/ 0 w 861"/>
                      <a:gd name="T9" fmla="*/ 267 h 267"/>
                      <a:gd name="T10" fmla="*/ 748 w 861"/>
                      <a:gd name="T11" fmla="*/ 182 h 267"/>
                      <a:gd name="T12" fmla="*/ 704 w 861"/>
                      <a:gd name="T13" fmla="*/ 139 h 267"/>
                      <a:gd name="T14" fmla="*/ 748 w 861"/>
                      <a:gd name="T15" fmla="*/ 95 h 267"/>
                      <a:gd name="T16" fmla="*/ 791 w 861"/>
                      <a:gd name="T17" fmla="*/ 139 h 267"/>
                      <a:gd name="T18" fmla="*/ 748 w 861"/>
                      <a:gd name="T19" fmla="*/ 18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1" h="267">
                        <a:moveTo>
                          <a:pt x="0" y="267"/>
                        </a:moveTo>
                        <a:cubicBezTo>
                          <a:pt x="861" y="267"/>
                          <a:pt x="861" y="267"/>
                          <a:pt x="861" y="267"/>
                        </a:cubicBezTo>
                        <a:cubicBezTo>
                          <a:pt x="861" y="0"/>
                          <a:pt x="861" y="0"/>
                          <a:pt x="861" y="0"/>
                        </a:cubicBezTo>
                        <a:cubicBezTo>
                          <a:pt x="0" y="0"/>
                          <a:pt x="0" y="0"/>
                          <a:pt x="0" y="0"/>
                        </a:cubicBezTo>
                        <a:lnTo>
                          <a:pt x="0" y="267"/>
                        </a:lnTo>
                        <a:close/>
                        <a:moveTo>
                          <a:pt x="748" y="182"/>
                        </a:moveTo>
                        <a:cubicBezTo>
                          <a:pt x="724" y="182"/>
                          <a:pt x="704" y="163"/>
                          <a:pt x="704" y="139"/>
                        </a:cubicBezTo>
                        <a:cubicBezTo>
                          <a:pt x="704" y="114"/>
                          <a:pt x="724" y="95"/>
                          <a:pt x="748" y="95"/>
                        </a:cubicBezTo>
                        <a:cubicBezTo>
                          <a:pt x="772" y="95"/>
                          <a:pt x="791" y="114"/>
                          <a:pt x="791" y="139"/>
                        </a:cubicBezTo>
                        <a:cubicBezTo>
                          <a:pt x="791" y="163"/>
                          <a:pt x="772" y="182"/>
                          <a:pt x="748" y="182"/>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88" name="Freeform 257"/>
                  <p:cNvSpPr>
                    <a:spLocks noEditPoints="1"/>
                  </p:cNvSpPr>
                  <p:nvPr/>
                </p:nvSpPr>
                <p:spPr bwMode="auto">
                  <a:xfrm>
                    <a:off x="10707607" y="1118393"/>
                    <a:ext cx="484346" cy="149543"/>
                  </a:xfrm>
                  <a:custGeom>
                    <a:avLst/>
                    <a:gdLst>
                      <a:gd name="T0" fmla="*/ 0 w 861"/>
                      <a:gd name="T1" fmla="*/ 266 h 266"/>
                      <a:gd name="T2" fmla="*/ 861 w 861"/>
                      <a:gd name="T3" fmla="*/ 266 h 266"/>
                      <a:gd name="T4" fmla="*/ 861 w 861"/>
                      <a:gd name="T5" fmla="*/ 0 h 266"/>
                      <a:gd name="T6" fmla="*/ 0 w 861"/>
                      <a:gd name="T7" fmla="*/ 0 h 266"/>
                      <a:gd name="T8" fmla="*/ 0 w 861"/>
                      <a:gd name="T9" fmla="*/ 266 h 266"/>
                      <a:gd name="T10" fmla="*/ 748 w 861"/>
                      <a:gd name="T11" fmla="*/ 90 h 266"/>
                      <a:gd name="T12" fmla="*/ 791 w 861"/>
                      <a:gd name="T13" fmla="*/ 134 h 266"/>
                      <a:gd name="T14" fmla="*/ 748 w 861"/>
                      <a:gd name="T15" fmla="*/ 177 h 266"/>
                      <a:gd name="T16" fmla="*/ 704 w 861"/>
                      <a:gd name="T17" fmla="*/ 134 h 266"/>
                      <a:gd name="T18" fmla="*/ 748 w 861"/>
                      <a:gd name="T19" fmla="*/ 9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1" h="266">
                        <a:moveTo>
                          <a:pt x="0" y="266"/>
                        </a:moveTo>
                        <a:cubicBezTo>
                          <a:pt x="861" y="266"/>
                          <a:pt x="861" y="266"/>
                          <a:pt x="861" y="266"/>
                        </a:cubicBezTo>
                        <a:cubicBezTo>
                          <a:pt x="861" y="0"/>
                          <a:pt x="861" y="0"/>
                          <a:pt x="861" y="0"/>
                        </a:cubicBezTo>
                        <a:cubicBezTo>
                          <a:pt x="0" y="0"/>
                          <a:pt x="0" y="0"/>
                          <a:pt x="0" y="0"/>
                        </a:cubicBezTo>
                        <a:lnTo>
                          <a:pt x="0" y="266"/>
                        </a:lnTo>
                        <a:close/>
                        <a:moveTo>
                          <a:pt x="748" y="90"/>
                        </a:moveTo>
                        <a:cubicBezTo>
                          <a:pt x="772" y="90"/>
                          <a:pt x="791" y="110"/>
                          <a:pt x="791" y="134"/>
                        </a:cubicBezTo>
                        <a:cubicBezTo>
                          <a:pt x="791" y="158"/>
                          <a:pt x="772" y="177"/>
                          <a:pt x="748" y="177"/>
                        </a:cubicBezTo>
                        <a:cubicBezTo>
                          <a:pt x="724" y="177"/>
                          <a:pt x="704" y="158"/>
                          <a:pt x="704" y="134"/>
                        </a:cubicBezTo>
                        <a:cubicBezTo>
                          <a:pt x="704" y="110"/>
                          <a:pt x="724" y="90"/>
                          <a:pt x="748" y="90"/>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grpSp>
            <p:grpSp>
              <p:nvGrpSpPr>
                <p:cNvPr id="149" name="Group 24"/>
                <p:cNvGrpSpPr>
                  <a:grpSpLocks noChangeAspect="1"/>
                </p:cNvGrpSpPr>
                <p:nvPr/>
              </p:nvGrpSpPr>
              <p:grpSpPr bwMode="auto">
                <a:xfrm>
                  <a:off x="2760034" y="3407722"/>
                  <a:ext cx="366861" cy="363806"/>
                  <a:chOff x="3300" y="1627"/>
                  <a:chExt cx="1079" cy="1070"/>
                </a:xfrm>
                <a:solidFill>
                  <a:schemeClr val="accent1"/>
                </a:solidFill>
              </p:grpSpPr>
              <p:sp>
                <p:nvSpPr>
                  <p:cNvPr id="165" name="Freeform 25"/>
                  <p:cNvSpPr>
                    <a:spLocks/>
                  </p:cNvSpPr>
                  <p:nvPr/>
                </p:nvSpPr>
                <p:spPr bwMode="auto">
                  <a:xfrm>
                    <a:off x="4188" y="1769"/>
                    <a:ext cx="137" cy="45"/>
                  </a:xfrm>
                  <a:custGeom>
                    <a:avLst/>
                    <a:gdLst>
                      <a:gd name="T0" fmla="*/ 50 w 58"/>
                      <a:gd name="T1" fmla="*/ 1 h 19"/>
                      <a:gd name="T2" fmla="*/ 6 w 58"/>
                      <a:gd name="T3" fmla="*/ 8 h 19"/>
                      <a:gd name="T4" fmla="*/ 1 w 58"/>
                      <a:gd name="T5" fmla="*/ 14 h 19"/>
                      <a:gd name="T6" fmla="*/ 6 w 58"/>
                      <a:gd name="T7" fmla="*/ 19 h 19"/>
                      <a:gd name="T8" fmla="*/ 7 w 58"/>
                      <a:gd name="T9" fmla="*/ 19 h 19"/>
                      <a:gd name="T10" fmla="*/ 53 w 58"/>
                      <a:gd name="T11" fmla="*/ 11 h 19"/>
                      <a:gd name="T12" fmla="*/ 57 w 58"/>
                      <a:gd name="T13" fmla="*/ 4 h 19"/>
                      <a:gd name="T14" fmla="*/ 50 w 58"/>
                      <a:gd name="T15" fmla="*/ 1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9">
                        <a:moveTo>
                          <a:pt x="50" y="1"/>
                        </a:moveTo>
                        <a:cubicBezTo>
                          <a:pt x="39" y="4"/>
                          <a:pt x="25" y="7"/>
                          <a:pt x="6" y="8"/>
                        </a:cubicBezTo>
                        <a:cubicBezTo>
                          <a:pt x="3" y="8"/>
                          <a:pt x="0" y="11"/>
                          <a:pt x="1" y="14"/>
                        </a:cubicBezTo>
                        <a:cubicBezTo>
                          <a:pt x="1" y="17"/>
                          <a:pt x="3" y="19"/>
                          <a:pt x="6" y="19"/>
                        </a:cubicBezTo>
                        <a:cubicBezTo>
                          <a:pt x="6" y="19"/>
                          <a:pt x="7" y="19"/>
                          <a:pt x="7" y="19"/>
                        </a:cubicBezTo>
                        <a:cubicBezTo>
                          <a:pt x="27" y="18"/>
                          <a:pt x="42" y="15"/>
                          <a:pt x="53" y="11"/>
                        </a:cubicBezTo>
                        <a:cubicBezTo>
                          <a:pt x="56" y="10"/>
                          <a:pt x="58" y="7"/>
                          <a:pt x="57" y="4"/>
                        </a:cubicBezTo>
                        <a:cubicBezTo>
                          <a:pt x="56" y="1"/>
                          <a:pt x="53" y="0"/>
                          <a:pt x="50" y="1"/>
                        </a:cubicBezTo>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6" name="Freeform 26"/>
                  <p:cNvSpPr>
                    <a:spLocks/>
                  </p:cNvSpPr>
                  <p:nvPr/>
                </p:nvSpPr>
                <p:spPr bwMode="auto">
                  <a:xfrm>
                    <a:off x="4188" y="1932"/>
                    <a:ext cx="137" cy="45"/>
                  </a:xfrm>
                  <a:custGeom>
                    <a:avLst/>
                    <a:gdLst>
                      <a:gd name="T0" fmla="*/ 6 w 58"/>
                      <a:gd name="T1" fmla="*/ 19 h 19"/>
                      <a:gd name="T2" fmla="*/ 7 w 58"/>
                      <a:gd name="T3" fmla="*/ 19 h 19"/>
                      <a:gd name="T4" fmla="*/ 53 w 58"/>
                      <a:gd name="T5" fmla="*/ 11 h 19"/>
                      <a:gd name="T6" fmla="*/ 57 w 58"/>
                      <a:gd name="T7" fmla="*/ 4 h 19"/>
                      <a:gd name="T8" fmla="*/ 50 w 58"/>
                      <a:gd name="T9" fmla="*/ 1 h 19"/>
                      <a:gd name="T10" fmla="*/ 6 w 58"/>
                      <a:gd name="T11" fmla="*/ 8 h 19"/>
                      <a:gd name="T12" fmla="*/ 1 w 58"/>
                      <a:gd name="T13" fmla="*/ 14 h 19"/>
                      <a:gd name="T14" fmla="*/ 6 w 58"/>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9">
                        <a:moveTo>
                          <a:pt x="6" y="19"/>
                        </a:moveTo>
                        <a:cubicBezTo>
                          <a:pt x="6" y="19"/>
                          <a:pt x="7" y="19"/>
                          <a:pt x="7" y="19"/>
                        </a:cubicBezTo>
                        <a:cubicBezTo>
                          <a:pt x="27" y="18"/>
                          <a:pt x="42" y="15"/>
                          <a:pt x="53" y="11"/>
                        </a:cubicBezTo>
                        <a:cubicBezTo>
                          <a:pt x="56" y="10"/>
                          <a:pt x="58" y="7"/>
                          <a:pt x="57" y="4"/>
                        </a:cubicBezTo>
                        <a:cubicBezTo>
                          <a:pt x="56" y="1"/>
                          <a:pt x="53" y="0"/>
                          <a:pt x="50" y="1"/>
                        </a:cubicBezTo>
                        <a:cubicBezTo>
                          <a:pt x="39" y="4"/>
                          <a:pt x="25" y="7"/>
                          <a:pt x="6" y="8"/>
                        </a:cubicBezTo>
                        <a:cubicBezTo>
                          <a:pt x="3" y="8"/>
                          <a:pt x="0" y="11"/>
                          <a:pt x="1" y="14"/>
                        </a:cubicBezTo>
                        <a:cubicBezTo>
                          <a:pt x="1" y="17"/>
                          <a:pt x="3" y="19"/>
                          <a:pt x="6" y="19"/>
                        </a:cubicBezTo>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7" name="Freeform 27"/>
                  <p:cNvSpPr>
                    <a:spLocks/>
                  </p:cNvSpPr>
                  <p:nvPr/>
                </p:nvSpPr>
                <p:spPr bwMode="auto">
                  <a:xfrm>
                    <a:off x="4188" y="2100"/>
                    <a:ext cx="137" cy="47"/>
                  </a:xfrm>
                  <a:custGeom>
                    <a:avLst/>
                    <a:gdLst>
                      <a:gd name="T0" fmla="*/ 6 w 58"/>
                      <a:gd name="T1" fmla="*/ 20 h 20"/>
                      <a:gd name="T2" fmla="*/ 7 w 58"/>
                      <a:gd name="T3" fmla="*/ 20 h 20"/>
                      <a:gd name="T4" fmla="*/ 53 w 58"/>
                      <a:gd name="T5" fmla="*/ 12 h 20"/>
                      <a:gd name="T6" fmla="*/ 57 w 58"/>
                      <a:gd name="T7" fmla="*/ 5 h 20"/>
                      <a:gd name="T8" fmla="*/ 50 w 58"/>
                      <a:gd name="T9" fmla="*/ 1 h 20"/>
                      <a:gd name="T10" fmla="*/ 6 w 58"/>
                      <a:gd name="T11" fmla="*/ 9 h 20"/>
                      <a:gd name="T12" fmla="*/ 1 w 58"/>
                      <a:gd name="T13" fmla="*/ 15 h 20"/>
                      <a:gd name="T14" fmla="*/ 6 w 58"/>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0">
                        <a:moveTo>
                          <a:pt x="6" y="20"/>
                        </a:moveTo>
                        <a:cubicBezTo>
                          <a:pt x="6" y="20"/>
                          <a:pt x="7" y="20"/>
                          <a:pt x="7" y="20"/>
                        </a:cubicBezTo>
                        <a:cubicBezTo>
                          <a:pt x="27" y="18"/>
                          <a:pt x="42" y="15"/>
                          <a:pt x="53" y="12"/>
                        </a:cubicBezTo>
                        <a:cubicBezTo>
                          <a:pt x="56" y="11"/>
                          <a:pt x="58" y="8"/>
                          <a:pt x="57" y="5"/>
                        </a:cubicBezTo>
                        <a:cubicBezTo>
                          <a:pt x="56" y="2"/>
                          <a:pt x="53" y="0"/>
                          <a:pt x="50" y="1"/>
                        </a:cubicBezTo>
                        <a:cubicBezTo>
                          <a:pt x="39" y="5"/>
                          <a:pt x="25" y="7"/>
                          <a:pt x="6" y="9"/>
                        </a:cubicBezTo>
                        <a:cubicBezTo>
                          <a:pt x="3" y="9"/>
                          <a:pt x="0" y="12"/>
                          <a:pt x="1" y="15"/>
                        </a:cubicBezTo>
                        <a:cubicBezTo>
                          <a:pt x="1" y="18"/>
                          <a:pt x="3" y="20"/>
                          <a:pt x="6" y="20"/>
                        </a:cubicBezTo>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8" name="Freeform 28"/>
                  <p:cNvSpPr>
                    <a:spLocks noEditPoints="1"/>
                  </p:cNvSpPr>
                  <p:nvPr/>
                </p:nvSpPr>
                <p:spPr bwMode="auto">
                  <a:xfrm>
                    <a:off x="3300" y="1627"/>
                    <a:ext cx="1079" cy="855"/>
                  </a:xfrm>
                  <a:custGeom>
                    <a:avLst/>
                    <a:gdLst>
                      <a:gd name="T0" fmla="*/ 0 w 457"/>
                      <a:gd name="T1" fmla="*/ 218 h 362"/>
                      <a:gd name="T2" fmla="*/ 341 w 457"/>
                      <a:gd name="T3" fmla="*/ 260 h 362"/>
                      <a:gd name="T4" fmla="*/ 244 w 457"/>
                      <a:gd name="T5" fmla="*/ 362 h 362"/>
                      <a:gd name="T6" fmla="*/ 335 w 457"/>
                      <a:gd name="T7" fmla="*/ 11 h 362"/>
                      <a:gd name="T8" fmla="*/ 445 w 457"/>
                      <a:gd name="T9" fmla="*/ 29 h 362"/>
                      <a:gd name="T10" fmla="*/ 441 w 457"/>
                      <a:gd name="T11" fmla="*/ 31 h 362"/>
                      <a:gd name="T12" fmla="*/ 436 w 457"/>
                      <a:gd name="T13" fmla="*/ 33 h 362"/>
                      <a:gd name="T14" fmla="*/ 429 w 457"/>
                      <a:gd name="T15" fmla="*/ 35 h 362"/>
                      <a:gd name="T16" fmla="*/ 420 w 457"/>
                      <a:gd name="T17" fmla="*/ 37 h 362"/>
                      <a:gd name="T18" fmla="*/ 409 w 457"/>
                      <a:gd name="T19" fmla="*/ 39 h 362"/>
                      <a:gd name="T20" fmla="*/ 397 w 457"/>
                      <a:gd name="T21" fmla="*/ 41 h 362"/>
                      <a:gd name="T22" fmla="*/ 383 w 457"/>
                      <a:gd name="T23" fmla="*/ 43 h 362"/>
                      <a:gd name="T24" fmla="*/ 368 w 457"/>
                      <a:gd name="T25" fmla="*/ 44 h 362"/>
                      <a:gd name="T26" fmla="*/ 350 w 457"/>
                      <a:gd name="T27" fmla="*/ 45 h 362"/>
                      <a:gd name="T28" fmla="*/ 327 w 457"/>
                      <a:gd name="T29" fmla="*/ 45 h 362"/>
                      <a:gd name="T30" fmla="*/ 308 w 457"/>
                      <a:gd name="T31" fmla="*/ 44 h 362"/>
                      <a:gd name="T32" fmla="*/ 292 w 457"/>
                      <a:gd name="T33" fmla="*/ 43 h 362"/>
                      <a:gd name="T34" fmla="*/ 278 w 457"/>
                      <a:gd name="T35" fmla="*/ 42 h 362"/>
                      <a:gd name="T36" fmla="*/ 265 w 457"/>
                      <a:gd name="T37" fmla="*/ 40 h 362"/>
                      <a:gd name="T38" fmla="*/ 254 w 457"/>
                      <a:gd name="T39" fmla="*/ 38 h 362"/>
                      <a:gd name="T40" fmla="*/ 244 w 457"/>
                      <a:gd name="T41" fmla="*/ 36 h 362"/>
                      <a:gd name="T42" fmla="*/ 237 w 457"/>
                      <a:gd name="T43" fmla="*/ 34 h 362"/>
                      <a:gd name="T44" fmla="*/ 231 w 457"/>
                      <a:gd name="T45" fmla="*/ 32 h 362"/>
                      <a:gd name="T46" fmla="*/ 227 w 457"/>
                      <a:gd name="T47" fmla="*/ 30 h 362"/>
                      <a:gd name="T48" fmla="*/ 225 w 457"/>
                      <a:gd name="T49" fmla="*/ 28 h 362"/>
                      <a:gd name="T50" fmla="*/ 230 w 457"/>
                      <a:gd name="T51" fmla="*/ 137 h 362"/>
                      <a:gd name="T52" fmla="*/ 163 w 457"/>
                      <a:gd name="T53" fmla="*/ 262 h 362"/>
                      <a:gd name="T54" fmla="*/ 233 w 457"/>
                      <a:gd name="T55" fmla="*/ 218 h 362"/>
                      <a:gd name="T56" fmla="*/ 233 w 457"/>
                      <a:gd name="T57" fmla="*/ 218 h 362"/>
                      <a:gd name="T58" fmla="*/ 230 w 457"/>
                      <a:gd name="T59" fmla="*/ 148 h 362"/>
                      <a:gd name="T60" fmla="*/ 446 w 457"/>
                      <a:gd name="T61" fmla="*/ 182 h 362"/>
                      <a:gd name="T62" fmla="*/ 446 w 457"/>
                      <a:gd name="T63" fmla="*/ 168 h 362"/>
                      <a:gd name="T64" fmla="*/ 225 w 457"/>
                      <a:gd name="T65" fmla="*/ 41 h 362"/>
                      <a:gd name="T66" fmla="*/ 234 w 457"/>
                      <a:gd name="T67" fmla="*/ 45 h 362"/>
                      <a:gd name="T68" fmla="*/ 245 w 457"/>
                      <a:gd name="T69" fmla="*/ 48 h 362"/>
                      <a:gd name="T70" fmla="*/ 258 w 457"/>
                      <a:gd name="T71" fmla="*/ 50 h 362"/>
                      <a:gd name="T72" fmla="*/ 272 w 457"/>
                      <a:gd name="T73" fmla="*/ 52 h 362"/>
                      <a:gd name="T74" fmla="*/ 285 w 457"/>
                      <a:gd name="T75" fmla="*/ 54 h 362"/>
                      <a:gd name="T76" fmla="*/ 298 w 457"/>
                      <a:gd name="T77" fmla="*/ 55 h 362"/>
                      <a:gd name="T78" fmla="*/ 310 w 457"/>
                      <a:gd name="T79" fmla="*/ 55 h 362"/>
                      <a:gd name="T80" fmla="*/ 320 w 457"/>
                      <a:gd name="T81" fmla="*/ 56 h 362"/>
                      <a:gd name="T82" fmla="*/ 328 w 457"/>
                      <a:gd name="T83" fmla="*/ 56 h 362"/>
                      <a:gd name="T84" fmla="*/ 334 w 457"/>
                      <a:gd name="T85" fmla="*/ 56 h 362"/>
                      <a:gd name="T86" fmla="*/ 337 w 457"/>
                      <a:gd name="T87" fmla="*/ 56 h 362"/>
                      <a:gd name="T88" fmla="*/ 342 w 457"/>
                      <a:gd name="T89" fmla="*/ 56 h 362"/>
                      <a:gd name="T90" fmla="*/ 350 w 457"/>
                      <a:gd name="T91" fmla="*/ 56 h 362"/>
                      <a:gd name="T92" fmla="*/ 360 w 457"/>
                      <a:gd name="T93" fmla="*/ 55 h 362"/>
                      <a:gd name="T94" fmla="*/ 372 w 457"/>
                      <a:gd name="T95" fmla="*/ 55 h 362"/>
                      <a:gd name="T96" fmla="*/ 385 w 457"/>
                      <a:gd name="T97" fmla="*/ 54 h 362"/>
                      <a:gd name="T98" fmla="*/ 399 w 457"/>
                      <a:gd name="T99" fmla="*/ 52 h 362"/>
                      <a:gd name="T100" fmla="*/ 412 w 457"/>
                      <a:gd name="T101" fmla="*/ 50 h 362"/>
                      <a:gd name="T102" fmla="*/ 425 w 457"/>
                      <a:gd name="T103" fmla="*/ 48 h 362"/>
                      <a:gd name="T104" fmla="*/ 436 w 457"/>
                      <a:gd name="T105" fmla="*/ 45 h 362"/>
                      <a:gd name="T106" fmla="*/ 446 w 457"/>
                      <a:gd name="T107" fmla="*/ 4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7" h="362">
                        <a:moveTo>
                          <a:pt x="335" y="0"/>
                        </a:moveTo>
                        <a:cubicBezTo>
                          <a:pt x="330" y="0"/>
                          <a:pt x="213" y="0"/>
                          <a:pt x="213" y="28"/>
                        </a:cubicBezTo>
                        <a:cubicBezTo>
                          <a:pt x="213" y="92"/>
                          <a:pt x="213" y="92"/>
                          <a:pt x="213" y="92"/>
                        </a:cubicBezTo>
                        <a:cubicBezTo>
                          <a:pt x="180" y="93"/>
                          <a:pt x="108" y="98"/>
                          <a:pt x="108" y="120"/>
                        </a:cubicBezTo>
                        <a:cubicBezTo>
                          <a:pt x="108" y="190"/>
                          <a:pt x="108" y="190"/>
                          <a:pt x="108" y="190"/>
                        </a:cubicBezTo>
                        <a:cubicBezTo>
                          <a:pt x="76" y="191"/>
                          <a:pt x="0" y="195"/>
                          <a:pt x="0" y="218"/>
                        </a:cubicBezTo>
                        <a:cubicBezTo>
                          <a:pt x="0" y="275"/>
                          <a:pt x="0" y="275"/>
                          <a:pt x="0" y="275"/>
                        </a:cubicBezTo>
                        <a:cubicBezTo>
                          <a:pt x="10" y="299"/>
                          <a:pt x="117" y="299"/>
                          <a:pt x="122" y="299"/>
                        </a:cubicBezTo>
                        <a:cubicBezTo>
                          <a:pt x="127" y="299"/>
                          <a:pt x="236" y="299"/>
                          <a:pt x="244" y="274"/>
                        </a:cubicBezTo>
                        <a:cubicBezTo>
                          <a:pt x="244" y="218"/>
                          <a:pt x="244" y="218"/>
                          <a:pt x="244" y="218"/>
                        </a:cubicBezTo>
                        <a:cubicBezTo>
                          <a:pt x="279" y="217"/>
                          <a:pt x="321" y="212"/>
                          <a:pt x="341" y="202"/>
                        </a:cubicBezTo>
                        <a:cubicBezTo>
                          <a:pt x="341" y="260"/>
                          <a:pt x="341" y="260"/>
                          <a:pt x="341" y="260"/>
                        </a:cubicBezTo>
                        <a:cubicBezTo>
                          <a:pt x="338" y="266"/>
                          <a:pt x="302" y="278"/>
                          <a:pt x="244" y="279"/>
                        </a:cubicBezTo>
                        <a:cubicBezTo>
                          <a:pt x="244" y="290"/>
                          <a:pt x="244" y="290"/>
                          <a:pt x="244" y="290"/>
                        </a:cubicBezTo>
                        <a:cubicBezTo>
                          <a:pt x="279" y="289"/>
                          <a:pt x="321" y="285"/>
                          <a:pt x="341" y="274"/>
                        </a:cubicBezTo>
                        <a:cubicBezTo>
                          <a:pt x="341" y="334"/>
                          <a:pt x="341" y="334"/>
                          <a:pt x="341" y="334"/>
                        </a:cubicBezTo>
                        <a:cubicBezTo>
                          <a:pt x="338" y="340"/>
                          <a:pt x="304" y="350"/>
                          <a:pt x="244" y="351"/>
                        </a:cubicBezTo>
                        <a:cubicBezTo>
                          <a:pt x="244" y="362"/>
                          <a:pt x="244" y="362"/>
                          <a:pt x="244" y="362"/>
                        </a:cubicBezTo>
                        <a:cubicBezTo>
                          <a:pt x="276" y="361"/>
                          <a:pt x="352" y="357"/>
                          <a:pt x="352" y="334"/>
                        </a:cubicBezTo>
                        <a:cubicBezTo>
                          <a:pt x="352" y="270"/>
                          <a:pt x="352" y="270"/>
                          <a:pt x="352" y="270"/>
                        </a:cubicBezTo>
                        <a:cubicBezTo>
                          <a:pt x="386" y="269"/>
                          <a:pt x="457" y="264"/>
                          <a:pt x="457" y="242"/>
                        </a:cubicBezTo>
                        <a:cubicBezTo>
                          <a:pt x="457" y="28"/>
                          <a:pt x="457" y="28"/>
                          <a:pt x="457" y="28"/>
                        </a:cubicBezTo>
                        <a:cubicBezTo>
                          <a:pt x="457" y="0"/>
                          <a:pt x="340" y="0"/>
                          <a:pt x="335" y="0"/>
                        </a:cubicBezTo>
                        <a:moveTo>
                          <a:pt x="335" y="11"/>
                        </a:moveTo>
                        <a:cubicBezTo>
                          <a:pt x="403" y="11"/>
                          <a:pt x="442" y="22"/>
                          <a:pt x="446" y="28"/>
                        </a:cubicBezTo>
                        <a:cubicBezTo>
                          <a:pt x="446" y="28"/>
                          <a:pt x="446" y="28"/>
                          <a:pt x="446" y="28"/>
                        </a:cubicBezTo>
                        <a:cubicBezTo>
                          <a:pt x="446" y="28"/>
                          <a:pt x="446" y="28"/>
                          <a:pt x="446" y="28"/>
                        </a:cubicBezTo>
                        <a:cubicBezTo>
                          <a:pt x="445" y="28"/>
                          <a:pt x="445" y="28"/>
                          <a:pt x="445" y="29"/>
                        </a:cubicBezTo>
                        <a:cubicBezTo>
                          <a:pt x="445" y="29"/>
                          <a:pt x="445" y="29"/>
                          <a:pt x="445" y="29"/>
                        </a:cubicBezTo>
                        <a:cubicBezTo>
                          <a:pt x="445" y="29"/>
                          <a:pt x="445" y="29"/>
                          <a:pt x="445" y="29"/>
                        </a:cubicBezTo>
                        <a:cubicBezTo>
                          <a:pt x="444" y="29"/>
                          <a:pt x="444" y="29"/>
                          <a:pt x="444" y="30"/>
                        </a:cubicBezTo>
                        <a:cubicBezTo>
                          <a:pt x="444" y="30"/>
                          <a:pt x="444" y="30"/>
                          <a:pt x="444" y="30"/>
                        </a:cubicBezTo>
                        <a:cubicBezTo>
                          <a:pt x="443" y="30"/>
                          <a:pt x="443" y="30"/>
                          <a:pt x="443" y="30"/>
                        </a:cubicBezTo>
                        <a:cubicBezTo>
                          <a:pt x="443" y="30"/>
                          <a:pt x="443" y="30"/>
                          <a:pt x="442" y="31"/>
                        </a:cubicBezTo>
                        <a:cubicBezTo>
                          <a:pt x="442" y="31"/>
                          <a:pt x="442" y="31"/>
                          <a:pt x="442" y="31"/>
                        </a:cubicBezTo>
                        <a:cubicBezTo>
                          <a:pt x="442" y="31"/>
                          <a:pt x="441" y="31"/>
                          <a:pt x="441" y="31"/>
                        </a:cubicBezTo>
                        <a:cubicBezTo>
                          <a:pt x="441" y="31"/>
                          <a:pt x="441" y="31"/>
                          <a:pt x="440" y="32"/>
                        </a:cubicBezTo>
                        <a:cubicBezTo>
                          <a:pt x="440" y="32"/>
                          <a:pt x="440" y="32"/>
                          <a:pt x="440" y="32"/>
                        </a:cubicBezTo>
                        <a:cubicBezTo>
                          <a:pt x="439" y="32"/>
                          <a:pt x="439" y="32"/>
                          <a:pt x="439" y="32"/>
                        </a:cubicBezTo>
                        <a:cubicBezTo>
                          <a:pt x="438" y="32"/>
                          <a:pt x="438" y="32"/>
                          <a:pt x="438" y="33"/>
                        </a:cubicBezTo>
                        <a:cubicBezTo>
                          <a:pt x="437" y="33"/>
                          <a:pt x="437" y="33"/>
                          <a:pt x="437" y="33"/>
                        </a:cubicBezTo>
                        <a:cubicBezTo>
                          <a:pt x="437" y="33"/>
                          <a:pt x="436" y="33"/>
                          <a:pt x="436" y="33"/>
                        </a:cubicBezTo>
                        <a:cubicBezTo>
                          <a:pt x="435" y="33"/>
                          <a:pt x="435" y="34"/>
                          <a:pt x="435" y="34"/>
                        </a:cubicBezTo>
                        <a:cubicBezTo>
                          <a:pt x="434" y="34"/>
                          <a:pt x="434" y="34"/>
                          <a:pt x="434" y="34"/>
                        </a:cubicBezTo>
                        <a:cubicBezTo>
                          <a:pt x="433" y="34"/>
                          <a:pt x="433" y="34"/>
                          <a:pt x="433" y="34"/>
                        </a:cubicBezTo>
                        <a:cubicBezTo>
                          <a:pt x="432" y="34"/>
                          <a:pt x="432" y="35"/>
                          <a:pt x="431" y="35"/>
                        </a:cubicBezTo>
                        <a:cubicBezTo>
                          <a:pt x="431" y="35"/>
                          <a:pt x="430" y="35"/>
                          <a:pt x="430" y="35"/>
                        </a:cubicBezTo>
                        <a:cubicBezTo>
                          <a:pt x="430" y="35"/>
                          <a:pt x="429" y="35"/>
                          <a:pt x="429" y="35"/>
                        </a:cubicBezTo>
                        <a:cubicBezTo>
                          <a:pt x="428" y="36"/>
                          <a:pt x="428" y="36"/>
                          <a:pt x="427" y="36"/>
                        </a:cubicBezTo>
                        <a:cubicBezTo>
                          <a:pt x="427" y="36"/>
                          <a:pt x="426" y="36"/>
                          <a:pt x="426" y="36"/>
                        </a:cubicBezTo>
                        <a:cubicBezTo>
                          <a:pt x="426" y="36"/>
                          <a:pt x="425" y="36"/>
                          <a:pt x="425" y="36"/>
                        </a:cubicBezTo>
                        <a:cubicBezTo>
                          <a:pt x="424" y="37"/>
                          <a:pt x="424" y="37"/>
                          <a:pt x="423" y="37"/>
                        </a:cubicBezTo>
                        <a:cubicBezTo>
                          <a:pt x="423" y="37"/>
                          <a:pt x="422" y="37"/>
                          <a:pt x="422" y="37"/>
                        </a:cubicBezTo>
                        <a:cubicBezTo>
                          <a:pt x="421" y="37"/>
                          <a:pt x="420" y="37"/>
                          <a:pt x="420" y="37"/>
                        </a:cubicBezTo>
                        <a:cubicBezTo>
                          <a:pt x="419" y="38"/>
                          <a:pt x="419" y="38"/>
                          <a:pt x="418" y="38"/>
                        </a:cubicBezTo>
                        <a:cubicBezTo>
                          <a:pt x="418" y="38"/>
                          <a:pt x="417" y="38"/>
                          <a:pt x="417" y="38"/>
                        </a:cubicBezTo>
                        <a:cubicBezTo>
                          <a:pt x="416" y="38"/>
                          <a:pt x="415" y="38"/>
                          <a:pt x="415" y="38"/>
                        </a:cubicBezTo>
                        <a:cubicBezTo>
                          <a:pt x="414" y="39"/>
                          <a:pt x="414" y="39"/>
                          <a:pt x="413" y="39"/>
                        </a:cubicBezTo>
                        <a:cubicBezTo>
                          <a:pt x="412" y="39"/>
                          <a:pt x="412" y="39"/>
                          <a:pt x="411" y="39"/>
                        </a:cubicBezTo>
                        <a:cubicBezTo>
                          <a:pt x="411" y="39"/>
                          <a:pt x="410" y="39"/>
                          <a:pt x="409" y="39"/>
                        </a:cubicBezTo>
                        <a:cubicBezTo>
                          <a:pt x="409" y="40"/>
                          <a:pt x="408" y="40"/>
                          <a:pt x="407" y="40"/>
                        </a:cubicBezTo>
                        <a:cubicBezTo>
                          <a:pt x="407" y="40"/>
                          <a:pt x="406" y="40"/>
                          <a:pt x="405" y="40"/>
                        </a:cubicBezTo>
                        <a:cubicBezTo>
                          <a:pt x="405" y="40"/>
                          <a:pt x="404" y="40"/>
                          <a:pt x="404" y="40"/>
                        </a:cubicBezTo>
                        <a:cubicBezTo>
                          <a:pt x="403" y="40"/>
                          <a:pt x="402" y="41"/>
                          <a:pt x="401" y="41"/>
                        </a:cubicBezTo>
                        <a:cubicBezTo>
                          <a:pt x="401" y="41"/>
                          <a:pt x="400" y="41"/>
                          <a:pt x="399" y="41"/>
                        </a:cubicBezTo>
                        <a:cubicBezTo>
                          <a:pt x="399" y="41"/>
                          <a:pt x="398" y="41"/>
                          <a:pt x="397" y="41"/>
                        </a:cubicBezTo>
                        <a:cubicBezTo>
                          <a:pt x="396" y="41"/>
                          <a:pt x="396" y="41"/>
                          <a:pt x="395" y="41"/>
                        </a:cubicBezTo>
                        <a:cubicBezTo>
                          <a:pt x="394" y="42"/>
                          <a:pt x="393" y="42"/>
                          <a:pt x="393" y="42"/>
                        </a:cubicBezTo>
                        <a:cubicBezTo>
                          <a:pt x="392" y="42"/>
                          <a:pt x="391" y="42"/>
                          <a:pt x="390" y="42"/>
                        </a:cubicBezTo>
                        <a:cubicBezTo>
                          <a:pt x="390" y="42"/>
                          <a:pt x="389" y="42"/>
                          <a:pt x="388" y="42"/>
                        </a:cubicBezTo>
                        <a:cubicBezTo>
                          <a:pt x="387" y="42"/>
                          <a:pt x="386" y="42"/>
                          <a:pt x="386" y="42"/>
                        </a:cubicBezTo>
                        <a:cubicBezTo>
                          <a:pt x="385" y="43"/>
                          <a:pt x="384" y="43"/>
                          <a:pt x="383" y="43"/>
                        </a:cubicBezTo>
                        <a:cubicBezTo>
                          <a:pt x="382" y="43"/>
                          <a:pt x="382" y="43"/>
                          <a:pt x="381" y="43"/>
                        </a:cubicBezTo>
                        <a:cubicBezTo>
                          <a:pt x="380" y="43"/>
                          <a:pt x="379" y="43"/>
                          <a:pt x="378" y="43"/>
                        </a:cubicBezTo>
                        <a:cubicBezTo>
                          <a:pt x="377" y="43"/>
                          <a:pt x="377" y="43"/>
                          <a:pt x="376" y="43"/>
                        </a:cubicBezTo>
                        <a:cubicBezTo>
                          <a:pt x="375" y="43"/>
                          <a:pt x="374" y="43"/>
                          <a:pt x="373" y="43"/>
                        </a:cubicBezTo>
                        <a:cubicBezTo>
                          <a:pt x="372" y="44"/>
                          <a:pt x="371" y="44"/>
                          <a:pt x="370" y="44"/>
                        </a:cubicBezTo>
                        <a:cubicBezTo>
                          <a:pt x="369" y="44"/>
                          <a:pt x="369" y="44"/>
                          <a:pt x="368" y="44"/>
                        </a:cubicBezTo>
                        <a:cubicBezTo>
                          <a:pt x="367" y="44"/>
                          <a:pt x="366" y="44"/>
                          <a:pt x="365" y="44"/>
                        </a:cubicBezTo>
                        <a:cubicBezTo>
                          <a:pt x="364" y="44"/>
                          <a:pt x="363" y="44"/>
                          <a:pt x="362" y="44"/>
                        </a:cubicBezTo>
                        <a:cubicBezTo>
                          <a:pt x="361" y="44"/>
                          <a:pt x="360" y="44"/>
                          <a:pt x="359" y="44"/>
                        </a:cubicBezTo>
                        <a:cubicBezTo>
                          <a:pt x="358" y="44"/>
                          <a:pt x="357" y="44"/>
                          <a:pt x="356" y="44"/>
                        </a:cubicBezTo>
                        <a:cubicBezTo>
                          <a:pt x="355" y="44"/>
                          <a:pt x="354" y="44"/>
                          <a:pt x="354" y="44"/>
                        </a:cubicBezTo>
                        <a:cubicBezTo>
                          <a:pt x="352" y="44"/>
                          <a:pt x="351" y="44"/>
                          <a:pt x="350" y="45"/>
                        </a:cubicBezTo>
                        <a:cubicBezTo>
                          <a:pt x="349" y="45"/>
                          <a:pt x="348" y="45"/>
                          <a:pt x="348" y="45"/>
                        </a:cubicBezTo>
                        <a:cubicBezTo>
                          <a:pt x="346" y="45"/>
                          <a:pt x="345" y="45"/>
                          <a:pt x="344" y="45"/>
                        </a:cubicBezTo>
                        <a:cubicBezTo>
                          <a:pt x="343" y="45"/>
                          <a:pt x="342" y="45"/>
                          <a:pt x="341" y="45"/>
                        </a:cubicBezTo>
                        <a:cubicBezTo>
                          <a:pt x="339" y="45"/>
                          <a:pt x="337" y="45"/>
                          <a:pt x="335" y="45"/>
                        </a:cubicBezTo>
                        <a:cubicBezTo>
                          <a:pt x="333" y="45"/>
                          <a:pt x="331" y="45"/>
                          <a:pt x="329" y="45"/>
                        </a:cubicBezTo>
                        <a:cubicBezTo>
                          <a:pt x="328" y="45"/>
                          <a:pt x="327" y="45"/>
                          <a:pt x="327" y="45"/>
                        </a:cubicBezTo>
                        <a:cubicBezTo>
                          <a:pt x="325" y="45"/>
                          <a:pt x="324" y="45"/>
                          <a:pt x="323" y="45"/>
                        </a:cubicBezTo>
                        <a:cubicBezTo>
                          <a:pt x="322" y="45"/>
                          <a:pt x="321" y="45"/>
                          <a:pt x="320" y="45"/>
                        </a:cubicBezTo>
                        <a:cubicBezTo>
                          <a:pt x="319" y="44"/>
                          <a:pt x="318" y="44"/>
                          <a:pt x="317" y="44"/>
                        </a:cubicBezTo>
                        <a:cubicBezTo>
                          <a:pt x="316" y="44"/>
                          <a:pt x="315" y="44"/>
                          <a:pt x="314" y="44"/>
                        </a:cubicBezTo>
                        <a:cubicBezTo>
                          <a:pt x="313" y="44"/>
                          <a:pt x="312" y="44"/>
                          <a:pt x="311" y="44"/>
                        </a:cubicBezTo>
                        <a:cubicBezTo>
                          <a:pt x="310" y="44"/>
                          <a:pt x="309" y="44"/>
                          <a:pt x="308" y="44"/>
                        </a:cubicBezTo>
                        <a:cubicBezTo>
                          <a:pt x="307" y="44"/>
                          <a:pt x="306" y="44"/>
                          <a:pt x="305" y="44"/>
                        </a:cubicBezTo>
                        <a:cubicBezTo>
                          <a:pt x="305" y="44"/>
                          <a:pt x="304" y="44"/>
                          <a:pt x="303" y="44"/>
                        </a:cubicBezTo>
                        <a:cubicBezTo>
                          <a:pt x="302" y="44"/>
                          <a:pt x="301" y="44"/>
                          <a:pt x="300" y="44"/>
                        </a:cubicBezTo>
                        <a:cubicBezTo>
                          <a:pt x="299" y="44"/>
                          <a:pt x="298" y="44"/>
                          <a:pt x="298" y="43"/>
                        </a:cubicBezTo>
                        <a:cubicBezTo>
                          <a:pt x="297" y="43"/>
                          <a:pt x="296" y="43"/>
                          <a:pt x="295" y="43"/>
                        </a:cubicBezTo>
                        <a:cubicBezTo>
                          <a:pt x="294" y="43"/>
                          <a:pt x="293" y="43"/>
                          <a:pt x="292" y="43"/>
                        </a:cubicBezTo>
                        <a:cubicBezTo>
                          <a:pt x="291" y="43"/>
                          <a:pt x="290" y="43"/>
                          <a:pt x="290" y="43"/>
                        </a:cubicBezTo>
                        <a:cubicBezTo>
                          <a:pt x="289" y="43"/>
                          <a:pt x="288" y="43"/>
                          <a:pt x="287" y="43"/>
                        </a:cubicBezTo>
                        <a:cubicBezTo>
                          <a:pt x="286" y="43"/>
                          <a:pt x="286" y="43"/>
                          <a:pt x="285" y="42"/>
                        </a:cubicBezTo>
                        <a:cubicBezTo>
                          <a:pt x="284" y="42"/>
                          <a:pt x="283" y="42"/>
                          <a:pt x="282" y="42"/>
                        </a:cubicBezTo>
                        <a:cubicBezTo>
                          <a:pt x="282" y="42"/>
                          <a:pt x="281" y="42"/>
                          <a:pt x="280" y="42"/>
                        </a:cubicBezTo>
                        <a:cubicBezTo>
                          <a:pt x="279" y="42"/>
                          <a:pt x="279" y="42"/>
                          <a:pt x="278" y="42"/>
                        </a:cubicBezTo>
                        <a:cubicBezTo>
                          <a:pt x="277" y="42"/>
                          <a:pt x="276" y="42"/>
                          <a:pt x="275" y="41"/>
                        </a:cubicBezTo>
                        <a:cubicBezTo>
                          <a:pt x="275" y="41"/>
                          <a:pt x="274" y="41"/>
                          <a:pt x="273" y="41"/>
                        </a:cubicBezTo>
                        <a:cubicBezTo>
                          <a:pt x="273" y="41"/>
                          <a:pt x="272" y="41"/>
                          <a:pt x="271" y="41"/>
                        </a:cubicBezTo>
                        <a:cubicBezTo>
                          <a:pt x="270" y="41"/>
                          <a:pt x="270" y="41"/>
                          <a:pt x="269" y="41"/>
                        </a:cubicBezTo>
                        <a:cubicBezTo>
                          <a:pt x="268" y="41"/>
                          <a:pt x="268" y="40"/>
                          <a:pt x="267" y="40"/>
                        </a:cubicBezTo>
                        <a:cubicBezTo>
                          <a:pt x="266" y="40"/>
                          <a:pt x="266" y="40"/>
                          <a:pt x="265" y="40"/>
                        </a:cubicBezTo>
                        <a:cubicBezTo>
                          <a:pt x="264" y="40"/>
                          <a:pt x="264" y="40"/>
                          <a:pt x="263" y="40"/>
                        </a:cubicBezTo>
                        <a:cubicBezTo>
                          <a:pt x="262" y="40"/>
                          <a:pt x="262" y="40"/>
                          <a:pt x="261" y="39"/>
                        </a:cubicBezTo>
                        <a:cubicBezTo>
                          <a:pt x="260" y="39"/>
                          <a:pt x="260" y="39"/>
                          <a:pt x="259" y="39"/>
                        </a:cubicBezTo>
                        <a:cubicBezTo>
                          <a:pt x="258" y="39"/>
                          <a:pt x="258" y="39"/>
                          <a:pt x="257" y="39"/>
                        </a:cubicBezTo>
                        <a:cubicBezTo>
                          <a:pt x="257" y="39"/>
                          <a:pt x="256" y="39"/>
                          <a:pt x="255" y="38"/>
                        </a:cubicBezTo>
                        <a:cubicBezTo>
                          <a:pt x="255" y="38"/>
                          <a:pt x="254" y="38"/>
                          <a:pt x="254" y="38"/>
                        </a:cubicBezTo>
                        <a:cubicBezTo>
                          <a:pt x="253" y="38"/>
                          <a:pt x="253" y="38"/>
                          <a:pt x="252" y="38"/>
                        </a:cubicBezTo>
                        <a:cubicBezTo>
                          <a:pt x="252" y="38"/>
                          <a:pt x="251" y="38"/>
                          <a:pt x="250" y="38"/>
                        </a:cubicBezTo>
                        <a:cubicBezTo>
                          <a:pt x="250" y="37"/>
                          <a:pt x="249" y="37"/>
                          <a:pt x="249" y="37"/>
                        </a:cubicBezTo>
                        <a:cubicBezTo>
                          <a:pt x="248" y="37"/>
                          <a:pt x="248" y="37"/>
                          <a:pt x="247" y="37"/>
                        </a:cubicBezTo>
                        <a:cubicBezTo>
                          <a:pt x="247" y="37"/>
                          <a:pt x="246" y="37"/>
                          <a:pt x="246" y="36"/>
                        </a:cubicBezTo>
                        <a:cubicBezTo>
                          <a:pt x="245" y="36"/>
                          <a:pt x="245" y="36"/>
                          <a:pt x="244" y="36"/>
                        </a:cubicBezTo>
                        <a:cubicBezTo>
                          <a:pt x="244" y="36"/>
                          <a:pt x="243" y="36"/>
                          <a:pt x="243" y="36"/>
                        </a:cubicBezTo>
                        <a:cubicBezTo>
                          <a:pt x="243" y="36"/>
                          <a:pt x="242" y="36"/>
                          <a:pt x="242" y="35"/>
                        </a:cubicBezTo>
                        <a:cubicBezTo>
                          <a:pt x="241" y="35"/>
                          <a:pt x="241" y="35"/>
                          <a:pt x="240" y="35"/>
                        </a:cubicBezTo>
                        <a:cubicBezTo>
                          <a:pt x="240" y="35"/>
                          <a:pt x="239" y="35"/>
                          <a:pt x="239" y="35"/>
                        </a:cubicBezTo>
                        <a:cubicBezTo>
                          <a:pt x="239" y="35"/>
                          <a:pt x="238" y="34"/>
                          <a:pt x="238" y="34"/>
                        </a:cubicBezTo>
                        <a:cubicBezTo>
                          <a:pt x="237" y="34"/>
                          <a:pt x="237" y="34"/>
                          <a:pt x="237" y="34"/>
                        </a:cubicBezTo>
                        <a:cubicBezTo>
                          <a:pt x="236" y="34"/>
                          <a:pt x="236" y="34"/>
                          <a:pt x="236" y="34"/>
                        </a:cubicBezTo>
                        <a:cubicBezTo>
                          <a:pt x="235" y="34"/>
                          <a:pt x="235" y="33"/>
                          <a:pt x="235" y="33"/>
                        </a:cubicBezTo>
                        <a:cubicBezTo>
                          <a:pt x="234" y="33"/>
                          <a:pt x="234" y="33"/>
                          <a:pt x="234" y="33"/>
                        </a:cubicBezTo>
                        <a:cubicBezTo>
                          <a:pt x="233" y="33"/>
                          <a:pt x="233" y="33"/>
                          <a:pt x="233" y="33"/>
                        </a:cubicBezTo>
                        <a:cubicBezTo>
                          <a:pt x="232" y="32"/>
                          <a:pt x="232" y="32"/>
                          <a:pt x="232" y="32"/>
                        </a:cubicBezTo>
                        <a:cubicBezTo>
                          <a:pt x="231" y="32"/>
                          <a:pt x="231" y="32"/>
                          <a:pt x="231" y="32"/>
                        </a:cubicBezTo>
                        <a:cubicBezTo>
                          <a:pt x="231" y="32"/>
                          <a:pt x="230" y="32"/>
                          <a:pt x="230" y="32"/>
                        </a:cubicBezTo>
                        <a:cubicBezTo>
                          <a:pt x="230" y="31"/>
                          <a:pt x="230" y="31"/>
                          <a:pt x="229" y="31"/>
                        </a:cubicBezTo>
                        <a:cubicBezTo>
                          <a:pt x="229" y="31"/>
                          <a:pt x="229" y="31"/>
                          <a:pt x="229" y="31"/>
                        </a:cubicBezTo>
                        <a:cubicBezTo>
                          <a:pt x="228" y="31"/>
                          <a:pt x="228" y="31"/>
                          <a:pt x="228" y="31"/>
                        </a:cubicBezTo>
                        <a:cubicBezTo>
                          <a:pt x="228" y="30"/>
                          <a:pt x="228" y="30"/>
                          <a:pt x="227" y="30"/>
                        </a:cubicBezTo>
                        <a:cubicBezTo>
                          <a:pt x="227" y="30"/>
                          <a:pt x="227" y="30"/>
                          <a:pt x="227" y="30"/>
                        </a:cubicBezTo>
                        <a:cubicBezTo>
                          <a:pt x="227" y="30"/>
                          <a:pt x="226" y="30"/>
                          <a:pt x="226" y="30"/>
                        </a:cubicBezTo>
                        <a:cubicBezTo>
                          <a:pt x="226" y="29"/>
                          <a:pt x="226" y="29"/>
                          <a:pt x="226" y="29"/>
                        </a:cubicBezTo>
                        <a:cubicBezTo>
                          <a:pt x="226" y="29"/>
                          <a:pt x="226" y="29"/>
                          <a:pt x="225" y="29"/>
                        </a:cubicBezTo>
                        <a:cubicBezTo>
                          <a:pt x="225" y="29"/>
                          <a:pt x="225" y="29"/>
                          <a:pt x="225" y="29"/>
                        </a:cubicBezTo>
                        <a:cubicBezTo>
                          <a:pt x="225" y="28"/>
                          <a:pt x="225" y="28"/>
                          <a:pt x="225" y="28"/>
                        </a:cubicBezTo>
                        <a:cubicBezTo>
                          <a:pt x="225" y="28"/>
                          <a:pt x="225" y="28"/>
                          <a:pt x="225" y="28"/>
                        </a:cubicBezTo>
                        <a:cubicBezTo>
                          <a:pt x="225" y="28"/>
                          <a:pt x="225" y="28"/>
                          <a:pt x="225" y="28"/>
                        </a:cubicBezTo>
                        <a:cubicBezTo>
                          <a:pt x="229" y="22"/>
                          <a:pt x="268" y="11"/>
                          <a:pt x="335" y="11"/>
                        </a:cubicBezTo>
                        <a:moveTo>
                          <a:pt x="230" y="103"/>
                        </a:moveTo>
                        <a:cubicBezTo>
                          <a:pt x="298" y="103"/>
                          <a:pt x="337" y="114"/>
                          <a:pt x="341" y="120"/>
                        </a:cubicBezTo>
                        <a:cubicBezTo>
                          <a:pt x="341" y="120"/>
                          <a:pt x="341" y="120"/>
                          <a:pt x="341" y="120"/>
                        </a:cubicBezTo>
                        <a:cubicBezTo>
                          <a:pt x="336" y="126"/>
                          <a:pt x="297" y="137"/>
                          <a:pt x="230" y="137"/>
                        </a:cubicBezTo>
                        <a:cubicBezTo>
                          <a:pt x="163" y="137"/>
                          <a:pt x="124" y="126"/>
                          <a:pt x="119" y="120"/>
                        </a:cubicBezTo>
                        <a:cubicBezTo>
                          <a:pt x="119" y="120"/>
                          <a:pt x="119" y="120"/>
                          <a:pt x="119" y="120"/>
                        </a:cubicBezTo>
                        <a:cubicBezTo>
                          <a:pt x="123" y="114"/>
                          <a:pt x="162" y="103"/>
                          <a:pt x="230" y="103"/>
                        </a:cubicBezTo>
                        <a:moveTo>
                          <a:pt x="225" y="251"/>
                        </a:moveTo>
                        <a:cubicBezTo>
                          <a:pt x="211" y="257"/>
                          <a:pt x="192" y="260"/>
                          <a:pt x="163" y="262"/>
                        </a:cubicBezTo>
                        <a:cubicBezTo>
                          <a:pt x="163" y="262"/>
                          <a:pt x="163" y="262"/>
                          <a:pt x="163" y="262"/>
                        </a:cubicBezTo>
                        <a:cubicBezTo>
                          <a:pt x="160" y="262"/>
                          <a:pt x="157" y="259"/>
                          <a:pt x="157" y="256"/>
                        </a:cubicBezTo>
                        <a:cubicBezTo>
                          <a:pt x="157" y="253"/>
                          <a:pt x="159" y="251"/>
                          <a:pt x="162" y="250"/>
                        </a:cubicBezTo>
                        <a:cubicBezTo>
                          <a:pt x="189" y="249"/>
                          <a:pt x="209" y="246"/>
                          <a:pt x="221" y="241"/>
                        </a:cubicBezTo>
                        <a:cubicBezTo>
                          <a:pt x="224" y="240"/>
                          <a:pt x="227" y="241"/>
                          <a:pt x="228" y="244"/>
                        </a:cubicBezTo>
                        <a:cubicBezTo>
                          <a:pt x="229" y="247"/>
                          <a:pt x="228" y="250"/>
                          <a:pt x="225" y="251"/>
                        </a:cubicBezTo>
                        <a:moveTo>
                          <a:pt x="233" y="218"/>
                        </a:moveTo>
                        <a:cubicBezTo>
                          <a:pt x="228" y="224"/>
                          <a:pt x="189" y="235"/>
                          <a:pt x="122" y="235"/>
                        </a:cubicBezTo>
                        <a:cubicBezTo>
                          <a:pt x="55" y="235"/>
                          <a:pt x="16" y="224"/>
                          <a:pt x="11" y="218"/>
                        </a:cubicBezTo>
                        <a:cubicBezTo>
                          <a:pt x="11" y="218"/>
                          <a:pt x="11" y="218"/>
                          <a:pt x="11" y="218"/>
                        </a:cubicBezTo>
                        <a:cubicBezTo>
                          <a:pt x="15" y="211"/>
                          <a:pt x="54" y="201"/>
                          <a:pt x="122" y="201"/>
                        </a:cubicBezTo>
                        <a:cubicBezTo>
                          <a:pt x="189" y="201"/>
                          <a:pt x="229" y="211"/>
                          <a:pt x="233" y="218"/>
                        </a:cubicBezTo>
                        <a:cubicBezTo>
                          <a:pt x="233" y="218"/>
                          <a:pt x="233" y="218"/>
                          <a:pt x="233" y="218"/>
                        </a:cubicBezTo>
                        <a:moveTo>
                          <a:pt x="341" y="188"/>
                        </a:moveTo>
                        <a:cubicBezTo>
                          <a:pt x="338" y="195"/>
                          <a:pt x="300" y="206"/>
                          <a:pt x="237" y="207"/>
                        </a:cubicBezTo>
                        <a:cubicBezTo>
                          <a:pt x="212" y="190"/>
                          <a:pt x="126" y="190"/>
                          <a:pt x="122" y="190"/>
                        </a:cubicBezTo>
                        <a:cubicBezTo>
                          <a:pt x="121" y="190"/>
                          <a:pt x="120" y="190"/>
                          <a:pt x="119" y="190"/>
                        </a:cubicBezTo>
                        <a:cubicBezTo>
                          <a:pt x="119" y="133"/>
                          <a:pt x="119" y="133"/>
                          <a:pt x="119" y="133"/>
                        </a:cubicBezTo>
                        <a:cubicBezTo>
                          <a:pt x="149" y="148"/>
                          <a:pt x="226" y="148"/>
                          <a:pt x="230" y="148"/>
                        </a:cubicBezTo>
                        <a:cubicBezTo>
                          <a:pt x="234" y="148"/>
                          <a:pt x="311" y="148"/>
                          <a:pt x="341" y="133"/>
                        </a:cubicBezTo>
                        <a:lnTo>
                          <a:pt x="341" y="188"/>
                        </a:lnTo>
                        <a:close/>
                        <a:moveTo>
                          <a:pt x="446" y="242"/>
                        </a:moveTo>
                        <a:cubicBezTo>
                          <a:pt x="443" y="247"/>
                          <a:pt x="410" y="257"/>
                          <a:pt x="352" y="259"/>
                        </a:cubicBezTo>
                        <a:cubicBezTo>
                          <a:pt x="352" y="198"/>
                          <a:pt x="352" y="198"/>
                          <a:pt x="352" y="198"/>
                        </a:cubicBezTo>
                        <a:cubicBezTo>
                          <a:pt x="387" y="197"/>
                          <a:pt x="427" y="192"/>
                          <a:pt x="446" y="182"/>
                        </a:cubicBezTo>
                        <a:lnTo>
                          <a:pt x="446" y="242"/>
                        </a:lnTo>
                        <a:close/>
                        <a:moveTo>
                          <a:pt x="446" y="168"/>
                        </a:moveTo>
                        <a:cubicBezTo>
                          <a:pt x="444" y="174"/>
                          <a:pt x="409" y="185"/>
                          <a:pt x="352" y="187"/>
                        </a:cubicBezTo>
                        <a:cubicBezTo>
                          <a:pt x="352" y="126"/>
                          <a:pt x="352" y="126"/>
                          <a:pt x="352" y="126"/>
                        </a:cubicBezTo>
                        <a:cubicBezTo>
                          <a:pt x="387" y="125"/>
                          <a:pt x="427" y="120"/>
                          <a:pt x="446" y="110"/>
                        </a:cubicBezTo>
                        <a:lnTo>
                          <a:pt x="446" y="168"/>
                        </a:lnTo>
                        <a:close/>
                        <a:moveTo>
                          <a:pt x="446" y="96"/>
                        </a:moveTo>
                        <a:cubicBezTo>
                          <a:pt x="443" y="102"/>
                          <a:pt x="408" y="113"/>
                          <a:pt x="351" y="115"/>
                        </a:cubicBezTo>
                        <a:cubicBezTo>
                          <a:pt x="337" y="92"/>
                          <a:pt x="235" y="92"/>
                          <a:pt x="230" y="92"/>
                        </a:cubicBezTo>
                        <a:cubicBezTo>
                          <a:pt x="229" y="92"/>
                          <a:pt x="227" y="92"/>
                          <a:pt x="224" y="92"/>
                        </a:cubicBezTo>
                        <a:cubicBezTo>
                          <a:pt x="224" y="41"/>
                          <a:pt x="224" y="41"/>
                          <a:pt x="224" y="41"/>
                        </a:cubicBezTo>
                        <a:cubicBezTo>
                          <a:pt x="224" y="41"/>
                          <a:pt x="225" y="41"/>
                          <a:pt x="225" y="41"/>
                        </a:cubicBezTo>
                        <a:cubicBezTo>
                          <a:pt x="225" y="41"/>
                          <a:pt x="226" y="42"/>
                          <a:pt x="227" y="42"/>
                        </a:cubicBezTo>
                        <a:cubicBezTo>
                          <a:pt x="227" y="42"/>
                          <a:pt x="227" y="42"/>
                          <a:pt x="227" y="42"/>
                        </a:cubicBezTo>
                        <a:cubicBezTo>
                          <a:pt x="228" y="43"/>
                          <a:pt x="229" y="43"/>
                          <a:pt x="230" y="43"/>
                        </a:cubicBezTo>
                        <a:cubicBezTo>
                          <a:pt x="230" y="44"/>
                          <a:pt x="231" y="44"/>
                          <a:pt x="231" y="44"/>
                        </a:cubicBezTo>
                        <a:cubicBezTo>
                          <a:pt x="232" y="44"/>
                          <a:pt x="233" y="44"/>
                          <a:pt x="234" y="45"/>
                        </a:cubicBezTo>
                        <a:cubicBezTo>
                          <a:pt x="234" y="45"/>
                          <a:pt x="234" y="45"/>
                          <a:pt x="234" y="45"/>
                        </a:cubicBezTo>
                        <a:cubicBezTo>
                          <a:pt x="235" y="45"/>
                          <a:pt x="236" y="45"/>
                          <a:pt x="237" y="46"/>
                        </a:cubicBezTo>
                        <a:cubicBezTo>
                          <a:pt x="237" y="46"/>
                          <a:pt x="237" y="46"/>
                          <a:pt x="238" y="46"/>
                        </a:cubicBezTo>
                        <a:cubicBezTo>
                          <a:pt x="239" y="46"/>
                          <a:pt x="240" y="46"/>
                          <a:pt x="241" y="47"/>
                        </a:cubicBezTo>
                        <a:cubicBezTo>
                          <a:pt x="241" y="47"/>
                          <a:pt x="241" y="47"/>
                          <a:pt x="242" y="47"/>
                        </a:cubicBezTo>
                        <a:cubicBezTo>
                          <a:pt x="243" y="47"/>
                          <a:pt x="244" y="48"/>
                          <a:pt x="245" y="48"/>
                        </a:cubicBezTo>
                        <a:cubicBezTo>
                          <a:pt x="245" y="48"/>
                          <a:pt x="245" y="48"/>
                          <a:pt x="245" y="48"/>
                        </a:cubicBezTo>
                        <a:cubicBezTo>
                          <a:pt x="246" y="48"/>
                          <a:pt x="248" y="48"/>
                          <a:pt x="249" y="49"/>
                        </a:cubicBezTo>
                        <a:cubicBezTo>
                          <a:pt x="249" y="49"/>
                          <a:pt x="249" y="49"/>
                          <a:pt x="250" y="49"/>
                        </a:cubicBezTo>
                        <a:cubicBezTo>
                          <a:pt x="251" y="49"/>
                          <a:pt x="252" y="49"/>
                          <a:pt x="253" y="49"/>
                        </a:cubicBezTo>
                        <a:cubicBezTo>
                          <a:pt x="254" y="50"/>
                          <a:pt x="254" y="50"/>
                          <a:pt x="254" y="50"/>
                        </a:cubicBezTo>
                        <a:cubicBezTo>
                          <a:pt x="255" y="50"/>
                          <a:pt x="256" y="50"/>
                          <a:pt x="258" y="50"/>
                        </a:cubicBezTo>
                        <a:cubicBezTo>
                          <a:pt x="258" y="50"/>
                          <a:pt x="258" y="50"/>
                          <a:pt x="258" y="50"/>
                        </a:cubicBezTo>
                        <a:cubicBezTo>
                          <a:pt x="259" y="51"/>
                          <a:pt x="261" y="51"/>
                          <a:pt x="262" y="51"/>
                        </a:cubicBezTo>
                        <a:cubicBezTo>
                          <a:pt x="262" y="51"/>
                          <a:pt x="262" y="51"/>
                          <a:pt x="263" y="51"/>
                        </a:cubicBezTo>
                        <a:cubicBezTo>
                          <a:pt x="264" y="51"/>
                          <a:pt x="265" y="51"/>
                          <a:pt x="267" y="52"/>
                        </a:cubicBezTo>
                        <a:cubicBezTo>
                          <a:pt x="267" y="52"/>
                          <a:pt x="267" y="52"/>
                          <a:pt x="267" y="52"/>
                        </a:cubicBezTo>
                        <a:cubicBezTo>
                          <a:pt x="268" y="52"/>
                          <a:pt x="270" y="52"/>
                          <a:pt x="271" y="52"/>
                        </a:cubicBezTo>
                        <a:cubicBezTo>
                          <a:pt x="271" y="52"/>
                          <a:pt x="271" y="52"/>
                          <a:pt x="272" y="52"/>
                        </a:cubicBezTo>
                        <a:cubicBezTo>
                          <a:pt x="273" y="52"/>
                          <a:pt x="274" y="53"/>
                          <a:pt x="276" y="53"/>
                        </a:cubicBezTo>
                        <a:cubicBezTo>
                          <a:pt x="276" y="53"/>
                          <a:pt x="276" y="53"/>
                          <a:pt x="276" y="53"/>
                        </a:cubicBezTo>
                        <a:cubicBezTo>
                          <a:pt x="278" y="53"/>
                          <a:pt x="279" y="53"/>
                          <a:pt x="280" y="53"/>
                        </a:cubicBezTo>
                        <a:cubicBezTo>
                          <a:pt x="280" y="53"/>
                          <a:pt x="280" y="53"/>
                          <a:pt x="280" y="53"/>
                        </a:cubicBezTo>
                        <a:cubicBezTo>
                          <a:pt x="282" y="53"/>
                          <a:pt x="283" y="53"/>
                          <a:pt x="284" y="54"/>
                        </a:cubicBezTo>
                        <a:cubicBezTo>
                          <a:pt x="285" y="54"/>
                          <a:pt x="285" y="54"/>
                          <a:pt x="285" y="54"/>
                        </a:cubicBezTo>
                        <a:cubicBezTo>
                          <a:pt x="287" y="54"/>
                          <a:pt x="288" y="54"/>
                          <a:pt x="289" y="54"/>
                        </a:cubicBezTo>
                        <a:cubicBezTo>
                          <a:pt x="289" y="54"/>
                          <a:pt x="289" y="54"/>
                          <a:pt x="290" y="54"/>
                        </a:cubicBezTo>
                        <a:cubicBezTo>
                          <a:pt x="291" y="54"/>
                          <a:pt x="292" y="54"/>
                          <a:pt x="293" y="54"/>
                        </a:cubicBezTo>
                        <a:cubicBezTo>
                          <a:pt x="294" y="54"/>
                          <a:pt x="294" y="54"/>
                          <a:pt x="294" y="54"/>
                        </a:cubicBezTo>
                        <a:cubicBezTo>
                          <a:pt x="295" y="54"/>
                          <a:pt x="296" y="55"/>
                          <a:pt x="298" y="55"/>
                        </a:cubicBezTo>
                        <a:cubicBezTo>
                          <a:pt x="298" y="55"/>
                          <a:pt x="298" y="55"/>
                          <a:pt x="298" y="55"/>
                        </a:cubicBezTo>
                        <a:cubicBezTo>
                          <a:pt x="300" y="55"/>
                          <a:pt x="301" y="55"/>
                          <a:pt x="302" y="55"/>
                        </a:cubicBezTo>
                        <a:cubicBezTo>
                          <a:pt x="302" y="55"/>
                          <a:pt x="302" y="55"/>
                          <a:pt x="302" y="55"/>
                        </a:cubicBezTo>
                        <a:cubicBezTo>
                          <a:pt x="303" y="55"/>
                          <a:pt x="305" y="55"/>
                          <a:pt x="306" y="55"/>
                        </a:cubicBezTo>
                        <a:cubicBezTo>
                          <a:pt x="306" y="55"/>
                          <a:pt x="306" y="55"/>
                          <a:pt x="306" y="55"/>
                        </a:cubicBezTo>
                        <a:cubicBezTo>
                          <a:pt x="308" y="55"/>
                          <a:pt x="309" y="55"/>
                          <a:pt x="310" y="55"/>
                        </a:cubicBezTo>
                        <a:cubicBezTo>
                          <a:pt x="310" y="55"/>
                          <a:pt x="310" y="55"/>
                          <a:pt x="310" y="55"/>
                        </a:cubicBezTo>
                        <a:cubicBezTo>
                          <a:pt x="311" y="55"/>
                          <a:pt x="312" y="55"/>
                          <a:pt x="313" y="55"/>
                        </a:cubicBezTo>
                        <a:cubicBezTo>
                          <a:pt x="314" y="55"/>
                          <a:pt x="314" y="55"/>
                          <a:pt x="314" y="55"/>
                        </a:cubicBezTo>
                        <a:cubicBezTo>
                          <a:pt x="315" y="55"/>
                          <a:pt x="316" y="56"/>
                          <a:pt x="317" y="56"/>
                        </a:cubicBezTo>
                        <a:cubicBezTo>
                          <a:pt x="317" y="56"/>
                          <a:pt x="317" y="56"/>
                          <a:pt x="317" y="56"/>
                        </a:cubicBezTo>
                        <a:cubicBezTo>
                          <a:pt x="318" y="56"/>
                          <a:pt x="319" y="56"/>
                          <a:pt x="320" y="56"/>
                        </a:cubicBezTo>
                        <a:cubicBezTo>
                          <a:pt x="320" y="56"/>
                          <a:pt x="320" y="56"/>
                          <a:pt x="320" y="56"/>
                        </a:cubicBezTo>
                        <a:cubicBezTo>
                          <a:pt x="321" y="56"/>
                          <a:pt x="322" y="56"/>
                          <a:pt x="323" y="56"/>
                        </a:cubicBezTo>
                        <a:cubicBezTo>
                          <a:pt x="323" y="56"/>
                          <a:pt x="323" y="56"/>
                          <a:pt x="323" y="56"/>
                        </a:cubicBezTo>
                        <a:cubicBezTo>
                          <a:pt x="324" y="56"/>
                          <a:pt x="325" y="56"/>
                          <a:pt x="326" y="56"/>
                        </a:cubicBezTo>
                        <a:cubicBezTo>
                          <a:pt x="326" y="56"/>
                          <a:pt x="326" y="56"/>
                          <a:pt x="326" y="56"/>
                        </a:cubicBezTo>
                        <a:cubicBezTo>
                          <a:pt x="327" y="56"/>
                          <a:pt x="328" y="56"/>
                          <a:pt x="328" y="56"/>
                        </a:cubicBezTo>
                        <a:cubicBezTo>
                          <a:pt x="328" y="56"/>
                          <a:pt x="328" y="56"/>
                          <a:pt x="328" y="56"/>
                        </a:cubicBezTo>
                        <a:cubicBezTo>
                          <a:pt x="329" y="56"/>
                          <a:pt x="330" y="56"/>
                          <a:pt x="330" y="56"/>
                        </a:cubicBezTo>
                        <a:cubicBezTo>
                          <a:pt x="330" y="56"/>
                          <a:pt x="331" y="56"/>
                          <a:pt x="331" y="56"/>
                        </a:cubicBezTo>
                        <a:cubicBezTo>
                          <a:pt x="331" y="56"/>
                          <a:pt x="332" y="56"/>
                          <a:pt x="332" y="56"/>
                        </a:cubicBezTo>
                        <a:cubicBezTo>
                          <a:pt x="332" y="56"/>
                          <a:pt x="332" y="56"/>
                          <a:pt x="332" y="56"/>
                        </a:cubicBezTo>
                        <a:cubicBezTo>
                          <a:pt x="333" y="56"/>
                          <a:pt x="333" y="56"/>
                          <a:pt x="333" y="56"/>
                        </a:cubicBezTo>
                        <a:cubicBezTo>
                          <a:pt x="334" y="56"/>
                          <a:pt x="334" y="56"/>
                          <a:pt x="334" y="56"/>
                        </a:cubicBezTo>
                        <a:cubicBezTo>
                          <a:pt x="334" y="56"/>
                          <a:pt x="334" y="56"/>
                          <a:pt x="335" y="56"/>
                        </a:cubicBezTo>
                        <a:cubicBezTo>
                          <a:pt x="335" y="56"/>
                          <a:pt x="335" y="56"/>
                          <a:pt x="335" y="56"/>
                        </a:cubicBezTo>
                        <a:cubicBezTo>
                          <a:pt x="335" y="56"/>
                          <a:pt x="335" y="56"/>
                          <a:pt x="335" y="56"/>
                        </a:cubicBezTo>
                        <a:cubicBezTo>
                          <a:pt x="335" y="56"/>
                          <a:pt x="335" y="56"/>
                          <a:pt x="336" y="56"/>
                        </a:cubicBezTo>
                        <a:cubicBezTo>
                          <a:pt x="336" y="56"/>
                          <a:pt x="336" y="56"/>
                          <a:pt x="336" y="56"/>
                        </a:cubicBezTo>
                        <a:cubicBezTo>
                          <a:pt x="336" y="56"/>
                          <a:pt x="336" y="56"/>
                          <a:pt x="337" y="56"/>
                        </a:cubicBezTo>
                        <a:cubicBezTo>
                          <a:pt x="337" y="56"/>
                          <a:pt x="337" y="56"/>
                          <a:pt x="337" y="56"/>
                        </a:cubicBezTo>
                        <a:cubicBezTo>
                          <a:pt x="337" y="56"/>
                          <a:pt x="338" y="56"/>
                          <a:pt x="338" y="56"/>
                        </a:cubicBezTo>
                        <a:cubicBezTo>
                          <a:pt x="338" y="56"/>
                          <a:pt x="338" y="56"/>
                          <a:pt x="338" y="56"/>
                        </a:cubicBezTo>
                        <a:cubicBezTo>
                          <a:pt x="339" y="56"/>
                          <a:pt x="339" y="56"/>
                          <a:pt x="340" y="56"/>
                        </a:cubicBezTo>
                        <a:cubicBezTo>
                          <a:pt x="340" y="56"/>
                          <a:pt x="340" y="56"/>
                          <a:pt x="340" y="56"/>
                        </a:cubicBezTo>
                        <a:cubicBezTo>
                          <a:pt x="341" y="56"/>
                          <a:pt x="341" y="56"/>
                          <a:pt x="342" y="56"/>
                        </a:cubicBezTo>
                        <a:cubicBezTo>
                          <a:pt x="342" y="56"/>
                          <a:pt x="342" y="56"/>
                          <a:pt x="342" y="56"/>
                        </a:cubicBezTo>
                        <a:cubicBezTo>
                          <a:pt x="343" y="56"/>
                          <a:pt x="343" y="56"/>
                          <a:pt x="344" y="56"/>
                        </a:cubicBezTo>
                        <a:cubicBezTo>
                          <a:pt x="344" y="56"/>
                          <a:pt x="344" y="56"/>
                          <a:pt x="345" y="56"/>
                        </a:cubicBezTo>
                        <a:cubicBezTo>
                          <a:pt x="345" y="56"/>
                          <a:pt x="346" y="56"/>
                          <a:pt x="347" y="56"/>
                        </a:cubicBezTo>
                        <a:cubicBezTo>
                          <a:pt x="347" y="56"/>
                          <a:pt x="347" y="56"/>
                          <a:pt x="347" y="56"/>
                        </a:cubicBezTo>
                        <a:cubicBezTo>
                          <a:pt x="348" y="56"/>
                          <a:pt x="349" y="56"/>
                          <a:pt x="350" y="56"/>
                        </a:cubicBezTo>
                        <a:cubicBezTo>
                          <a:pt x="350" y="56"/>
                          <a:pt x="350" y="56"/>
                          <a:pt x="350" y="56"/>
                        </a:cubicBezTo>
                        <a:cubicBezTo>
                          <a:pt x="351" y="56"/>
                          <a:pt x="352" y="56"/>
                          <a:pt x="353" y="56"/>
                        </a:cubicBezTo>
                        <a:cubicBezTo>
                          <a:pt x="353" y="56"/>
                          <a:pt x="353" y="56"/>
                          <a:pt x="354" y="56"/>
                        </a:cubicBezTo>
                        <a:cubicBezTo>
                          <a:pt x="355" y="56"/>
                          <a:pt x="356" y="55"/>
                          <a:pt x="357" y="55"/>
                        </a:cubicBezTo>
                        <a:cubicBezTo>
                          <a:pt x="357" y="55"/>
                          <a:pt x="357" y="55"/>
                          <a:pt x="357" y="55"/>
                        </a:cubicBezTo>
                        <a:cubicBezTo>
                          <a:pt x="358" y="55"/>
                          <a:pt x="359" y="55"/>
                          <a:pt x="360" y="55"/>
                        </a:cubicBezTo>
                        <a:cubicBezTo>
                          <a:pt x="360" y="55"/>
                          <a:pt x="360" y="55"/>
                          <a:pt x="361" y="55"/>
                        </a:cubicBezTo>
                        <a:cubicBezTo>
                          <a:pt x="362" y="55"/>
                          <a:pt x="363" y="55"/>
                          <a:pt x="364" y="55"/>
                        </a:cubicBezTo>
                        <a:cubicBezTo>
                          <a:pt x="364" y="55"/>
                          <a:pt x="364" y="55"/>
                          <a:pt x="365" y="55"/>
                        </a:cubicBezTo>
                        <a:cubicBezTo>
                          <a:pt x="366" y="55"/>
                          <a:pt x="367" y="55"/>
                          <a:pt x="368" y="55"/>
                        </a:cubicBezTo>
                        <a:cubicBezTo>
                          <a:pt x="368" y="55"/>
                          <a:pt x="368" y="55"/>
                          <a:pt x="368" y="55"/>
                        </a:cubicBezTo>
                        <a:cubicBezTo>
                          <a:pt x="370" y="55"/>
                          <a:pt x="371" y="55"/>
                          <a:pt x="372" y="55"/>
                        </a:cubicBezTo>
                        <a:cubicBezTo>
                          <a:pt x="372" y="55"/>
                          <a:pt x="372" y="55"/>
                          <a:pt x="373" y="55"/>
                        </a:cubicBezTo>
                        <a:cubicBezTo>
                          <a:pt x="374" y="55"/>
                          <a:pt x="375" y="54"/>
                          <a:pt x="376" y="54"/>
                        </a:cubicBezTo>
                        <a:cubicBezTo>
                          <a:pt x="377" y="54"/>
                          <a:pt x="377" y="54"/>
                          <a:pt x="377" y="54"/>
                        </a:cubicBezTo>
                        <a:cubicBezTo>
                          <a:pt x="378" y="54"/>
                          <a:pt x="380" y="54"/>
                          <a:pt x="381" y="54"/>
                        </a:cubicBezTo>
                        <a:cubicBezTo>
                          <a:pt x="381" y="54"/>
                          <a:pt x="381" y="54"/>
                          <a:pt x="381" y="54"/>
                        </a:cubicBezTo>
                        <a:cubicBezTo>
                          <a:pt x="382" y="54"/>
                          <a:pt x="384" y="54"/>
                          <a:pt x="385" y="54"/>
                        </a:cubicBezTo>
                        <a:cubicBezTo>
                          <a:pt x="385" y="54"/>
                          <a:pt x="386" y="54"/>
                          <a:pt x="386" y="54"/>
                        </a:cubicBezTo>
                        <a:cubicBezTo>
                          <a:pt x="387" y="53"/>
                          <a:pt x="389" y="53"/>
                          <a:pt x="390" y="53"/>
                        </a:cubicBezTo>
                        <a:cubicBezTo>
                          <a:pt x="390" y="53"/>
                          <a:pt x="390" y="53"/>
                          <a:pt x="390" y="53"/>
                        </a:cubicBezTo>
                        <a:cubicBezTo>
                          <a:pt x="392" y="53"/>
                          <a:pt x="393" y="53"/>
                          <a:pt x="394" y="53"/>
                        </a:cubicBezTo>
                        <a:cubicBezTo>
                          <a:pt x="394" y="53"/>
                          <a:pt x="395" y="53"/>
                          <a:pt x="395" y="53"/>
                        </a:cubicBezTo>
                        <a:cubicBezTo>
                          <a:pt x="396" y="53"/>
                          <a:pt x="397" y="52"/>
                          <a:pt x="399" y="52"/>
                        </a:cubicBezTo>
                        <a:cubicBezTo>
                          <a:pt x="399" y="52"/>
                          <a:pt x="399" y="52"/>
                          <a:pt x="399" y="52"/>
                        </a:cubicBezTo>
                        <a:cubicBezTo>
                          <a:pt x="401" y="52"/>
                          <a:pt x="402" y="52"/>
                          <a:pt x="404" y="52"/>
                        </a:cubicBezTo>
                        <a:cubicBezTo>
                          <a:pt x="404" y="52"/>
                          <a:pt x="404" y="52"/>
                          <a:pt x="404" y="52"/>
                        </a:cubicBezTo>
                        <a:cubicBezTo>
                          <a:pt x="405" y="51"/>
                          <a:pt x="406" y="51"/>
                          <a:pt x="408" y="51"/>
                        </a:cubicBezTo>
                        <a:cubicBezTo>
                          <a:pt x="408" y="51"/>
                          <a:pt x="408" y="51"/>
                          <a:pt x="408" y="51"/>
                        </a:cubicBezTo>
                        <a:cubicBezTo>
                          <a:pt x="410" y="51"/>
                          <a:pt x="411" y="51"/>
                          <a:pt x="412" y="50"/>
                        </a:cubicBezTo>
                        <a:cubicBezTo>
                          <a:pt x="412" y="50"/>
                          <a:pt x="413" y="50"/>
                          <a:pt x="413" y="50"/>
                        </a:cubicBezTo>
                        <a:cubicBezTo>
                          <a:pt x="414" y="50"/>
                          <a:pt x="415" y="50"/>
                          <a:pt x="416" y="50"/>
                        </a:cubicBezTo>
                        <a:cubicBezTo>
                          <a:pt x="417" y="50"/>
                          <a:pt x="417" y="50"/>
                          <a:pt x="417" y="49"/>
                        </a:cubicBezTo>
                        <a:cubicBezTo>
                          <a:pt x="418" y="49"/>
                          <a:pt x="419" y="49"/>
                          <a:pt x="421" y="49"/>
                        </a:cubicBezTo>
                        <a:cubicBezTo>
                          <a:pt x="421" y="49"/>
                          <a:pt x="421" y="49"/>
                          <a:pt x="421" y="49"/>
                        </a:cubicBezTo>
                        <a:cubicBezTo>
                          <a:pt x="423" y="48"/>
                          <a:pt x="424" y="48"/>
                          <a:pt x="425" y="48"/>
                        </a:cubicBezTo>
                        <a:cubicBezTo>
                          <a:pt x="425" y="48"/>
                          <a:pt x="425" y="48"/>
                          <a:pt x="425" y="48"/>
                        </a:cubicBezTo>
                        <a:cubicBezTo>
                          <a:pt x="426" y="48"/>
                          <a:pt x="428" y="47"/>
                          <a:pt x="429" y="47"/>
                        </a:cubicBezTo>
                        <a:cubicBezTo>
                          <a:pt x="429" y="47"/>
                          <a:pt x="429" y="47"/>
                          <a:pt x="429" y="47"/>
                        </a:cubicBezTo>
                        <a:cubicBezTo>
                          <a:pt x="431" y="46"/>
                          <a:pt x="432" y="46"/>
                          <a:pt x="433" y="46"/>
                        </a:cubicBezTo>
                        <a:cubicBezTo>
                          <a:pt x="433" y="46"/>
                          <a:pt x="433" y="46"/>
                          <a:pt x="433" y="46"/>
                        </a:cubicBezTo>
                        <a:cubicBezTo>
                          <a:pt x="434" y="45"/>
                          <a:pt x="435" y="45"/>
                          <a:pt x="436" y="45"/>
                        </a:cubicBezTo>
                        <a:cubicBezTo>
                          <a:pt x="436" y="45"/>
                          <a:pt x="437" y="45"/>
                          <a:pt x="437" y="45"/>
                        </a:cubicBezTo>
                        <a:cubicBezTo>
                          <a:pt x="438" y="44"/>
                          <a:pt x="439" y="44"/>
                          <a:pt x="440" y="44"/>
                        </a:cubicBezTo>
                        <a:cubicBezTo>
                          <a:pt x="440" y="44"/>
                          <a:pt x="440" y="44"/>
                          <a:pt x="440" y="43"/>
                        </a:cubicBezTo>
                        <a:cubicBezTo>
                          <a:pt x="441" y="43"/>
                          <a:pt x="442" y="43"/>
                          <a:pt x="443" y="42"/>
                        </a:cubicBezTo>
                        <a:cubicBezTo>
                          <a:pt x="443" y="42"/>
                          <a:pt x="443" y="42"/>
                          <a:pt x="443" y="42"/>
                        </a:cubicBezTo>
                        <a:cubicBezTo>
                          <a:pt x="444" y="42"/>
                          <a:pt x="445" y="41"/>
                          <a:pt x="446" y="41"/>
                        </a:cubicBezTo>
                        <a:cubicBezTo>
                          <a:pt x="446" y="41"/>
                          <a:pt x="446" y="41"/>
                          <a:pt x="446" y="41"/>
                        </a:cubicBezTo>
                        <a:lnTo>
                          <a:pt x="446" y="96"/>
                        </a:lnTo>
                        <a:close/>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9" name="Freeform 29"/>
                  <p:cNvSpPr>
                    <a:spLocks/>
                  </p:cNvSpPr>
                  <p:nvPr/>
                </p:nvSpPr>
                <p:spPr bwMode="auto">
                  <a:xfrm>
                    <a:off x="3940" y="1986"/>
                    <a:ext cx="137" cy="48"/>
                  </a:xfrm>
                  <a:custGeom>
                    <a:avLst/>
                    <a:gdLst>
                      <a:gd name="T0" fmla="*/ 6 w 58"/>
                      <a:gd name="T1" fmla="*/ 20 h 20"/>
                      <a:gd name="T2" fmla="*/ 6 w 58"/>
                      <a:gd name="T3" fmla="*/ 20 h 20"/>
                      <a:gd name="T4" fmla="*/ 53 w 58"/>
                      <a:gd name="T5" fmla="*/ 12 h 20"/>
                      <a:gd name="T6" fmla="*/ 57 w 58"/>
                      <a:gd name="T7" fmla="*/ 4 h 20"/>
                      <a:gd name="T8" fmla="*/ 50 w 58"/>
                      <a:gd name="T9" fmla="*/ 1 h 20"/>
                      <a:gd name="T10" fmla="*/ 6 w 58"/>
                      <a:gd name="T11" fmla="*/ 8 h 20"/>
                      <a:gd name="T12" fmla="*/ 0 w 58"/>
                      <a:gd name="T13" fmla="*/ 14 h 20"/>
                      <a:gd name="T14" fmla="*/ 6 w 58"/>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20">
                        <a:moveTo>
                          <a:pt x="6" y="20"/>
                        </a:moveTo>
                        <a:cubicBezTo>
                          <a:pt x="6" y="20"/>
                          <a:pt x="6" y="20"/>
                          <a:pt x="6" y="20"/>
                        </a:cubicBezTo>
                        <a:cubicBezTo>
                          <a:pt x="27" y="18"/>
                          <a:pt x="42" y="15"/>
                          <a:pt x="53" y="12"/>
                        </a:cubicBezTo>
                        <a:cubicBezTo>
                          <a:pt x="56" y="11"/>
                          <a:pt x="58" y="7"/>
                          <a:pt x="57" y="4"/>
                        </a:cubicBezTo>
                        <a:cubicBezTo>
                          <a:pt x="56" y="2"/>
                          <a:pt x="53" y="0"/>
                          <a:pt x="50" y="1"/>
                        </a:cubicBezTo>
                        <a:cubicBezTo>
                          <a:pt x="39" y="4"/>
                          <a:pt x="25" y="7"/>
                          <a:pt x="6" y="8"/>
                        </a:cubicBezTo>
                        <a:cubicBezTo>
                          <a:pt x="2" y="9"/>
                          <a:pt x="0" y="11"/>
                          <a:pt x="0" y="14"/>
                        </a:cubicBezTo>
                        <a:cubicBezTo>
                          <a:pt x="1" y="17"/>
                          <a:pt x="3" y="20"/>
                          <a:pt x="6" y="20"/>
                        </a:cubicBezTo>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70" name="Freeform 30"/>
                  <p:cNvSpPr>
                    <a:spLocks/>
                  </p:cNvSpPr>
                  <p:nvPr/>
                </p:nvSpPr>
                <p:spPr bwMode="auto">
                  <a:xfrm>
                    <a:off x="3940" y="2149"/>
                    <a:ext cx="137" cy="48"/>
                  </a:xfrm>
                  <a:custGeom>
                    <a:avLst/>
                    <a:gdLst>
                      <a:gd name="T0" fmla="*/ 6 w 58"/>
                      <a:gd name="T1" fmla="*/ 20 h 20"/>
                      <a:gd name="T2" fmla="*/ 6 w 58"/>
                      <a:gd name="T3" fmla="*/ 20 h 20"/>
                      <a:gd name="T4" fmla="*/ 53 w 58"/>
                      <a:gd name="T5" fmla="*/ 12 h 20"/>
                      <a:gd name="T6" fmla="*/ 57 w 58"/>
                      <a:gd name="T7" fmla="*/ 4 h 20"/>
                      <a:gd name="T8" fmla="*/ 50 w 58"/>
                      <a:gd name="T9" fmla="*/ 1 h 20"/>
                      <a:gd name="T10" fmla="*/ 6 w 58"/>
                      <a:gd name="T11" fmla="*/ 8 h 20"/>
                      <a:gd name="T12" fmla="*/ 0 w 58"/>
                      <a:gd name="T13" fmla="*/ 14 h 20"/>
                      <a:gd name="T14" fmla="*/ 0 w 58"/>
                      <a:gd name="T15" fmla="*/ 15 h 20"/>
                      <a:gd name="T16" fmla="*/ 6 w 5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0">
                        <a:moveTo>
                          <a:pt x="6" y="20"/>
                        </a:moveTo>
                        <a:cubicBezTo>
                          <a:pt x="6" y="20"/>
                          <a:pt x="6" y="20"/>
                          <a:pt x="6" y="20"/>
                        </a:cubicBezTo>
                        <a:cubicBezTo>
                          <a:pt x="27" y="18"/>
                          <a:pt x="42" y="15"/>
                          <a:pt x="53" y="12"/>
                        </a:cubicBezTo>
                        <a:cubicBezTo>
                          <a:pt x="56" y="11"/>
                          <a:pt x="58" y="7"/>
                          <a:pt x="57" y="4"/>
                        </a:cubicBezTo>
                        <a:cubicBezTo>
                          <a:pt x="56" y="2"/>
                          <a:pt x="53" y="0"/>
                          <a:pt x="50" y="1"/>
                        </a:cubicBezTo>
                        <a:cubicBezTo>
                          <a:pt x="39" y="4"/>
                          <a:pt x="25" y="7"/>
                          <a:pt x="6" y="8"/>
                        </a:cubicBezTo>
                        <a:cubicBezTo>
                          <a:pt x="2" y="9"/>
                          <a:pt x="0" y="11"/>
                          <a:pt x="0" y="14"/>
                        </a:cubicBezTo>
                        <a:cubicBezTo>
                          <a:pt x="0" y="14"/>
                          <a:pt x="0" y="15"/>
                          <a:pt x="0" y="15"/>
                        </a:cubicBezTo>
                        <a:cubicBezTo>
                          <a:pt x="1" y="17"/>
                          <a:pt x="3" y="20"/>
                          <a:pt x="6" y="20"/>
                        </a:cubicBezTo>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71" name="Freeform 31"/>
                  <p:cNvSpPr>
                    <a:spLocks/>
                  </p:cNvSpPr>
                  <p:nvPr/>
                </p:nvSpPr>
                <p:spPr bwMode="auto">
                  <a:xfrm>
                    <a:off x="3940" y="2317"/>
                    <a:ext cx="137" cy="47"/>
                  </a:xfrm>
                  <a:custGeom>
                    <a:avLst/>
                    <a:gdLst>
                      <a:gd name="T0" fmla="*/ 6 w 58"/>
                      <a:gd name="T1" fmla="*/ 20 h 20"/>
                      <a:gd name="T2" fmla="*/ 6 w 58"/>
                      <a:gd name="T3" fmla="*/ 20 h 20"/>
                      <a:gd name="T4" fmla="*/ 53 w 58"/>
                      <a:gd name="T5" fmla="*/ 12 h 20"/>
                      <a:gd name="T6" fmla="*/ 57 w 58"/>
                      <a:gd name="T7" fmla="*/ 5 h 20"/>
                      <a:gd name="T8" fmla="*/ 50 w 58"/>
                      <a:gd name="T9" fmla="*/ 1 h 20"/>
                      <a:gd name="T10" fmla="*/ 6 w 58"/>
                      <a:gd name="T11" fmla="*/ 9 h 20"/>
                      <a:gd name="T12" fmla="*/ 0 w 58"/>
                      <a:gd name="T13" fmla="*/ 15 h 20"/>
                      <a:gd name="T14" fmla="*/ 1 w 58"/>
                      <a:gd name="T15" fmla="*/ 15 h 20"/>
                      <a:gd name="T16" fmla="*/ 6 w 58"/>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20">
                        <a:moveTo>
                          <a:pt x="6" y="20"/>
                        </a:moveTo>
                        <a:cubicBezTo>
                          <a:pt x="6" y="20"/>
                          <a:pt x="6" y="20"/>
                          <a:pt x="6" y="20"/>
                        </a:cubicBezTo>
                        <a:cubicBezTo>
                          <a:pt x="27" y="18"/>
                          <a:pt x="42" y="16"/>
                          <a:pt x="53" y="12"/>
                        </a:cubicBezTo>
                        <a:cubicBezTo>
                          <a:pt x="56" y="11"/>
                          <a:pt x="58" y="8"/>
                          <a:pt x="57" y="5"/>
                        </a:cubicBezTo>
                        <a:cubicBezTo>
                          <a:pt x="56" y="2"/>
                          <a:pt x="53" y="0"/>
                          <a:pt x="50" y="1"/>
                        </a:cubicBezTo>
                        <a:cubicBezTo>
                          <a:pt x="39" y="5"/>
                          <a:pt x="25" y="7"/>
                          <a:pt x="6" y="9"/>
                        </a:cubicBezTo>
                        <a:cubicBezTo>
                          <a:pt x="2" y="9"/>
                          <a:pt x="0" y="12"/>
                          <a:pt x="0" y="15"/>
                        </a:cubicBezTo>
                        <a:cubicBezTo>
                          <a:pt x="0" y="15"/>
                          <a:pt x="0" y="15"/>
                          <a:pt x="1" y="15"/>
                        </a:cubicBezTo>
                        <a:cubicBezTo>
                          <a:pt x="1" y="18"/>
                          <a:pt x="3" y="20"/>
                          <a:pt x="6" y="20"/>
                        </a:cubicBezTo>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72" name="Freeform 32"/>
                  <p:cNvSpPr>
                    <a:spLocks noEditPoints="1"/>
                  </p:cNvSpPr>
                  <p:nvPr/>
                </p:nvSpPr>
                <p:spPr bwMode="auto">
                  <a:xfrm>
                    <a:off x="3300" y="2497"/>
                    <a:ext cx="576" cy="200"/>
                  </a:xfrm>
                  <a:custGeom>
                    <a:avLst/>
                    <a:gdLst>
                      <a:gd name="T0" fmla="*/ 206 w 244"/>
                      <a:gd name="T1" fmla="*/ 16 h 85"/>
                      <a:gd name="T2" fmla="*/ 122 w 244"/>
                      <a:gd name="T3" fmla="*/ 22 h 85"/>
                      <a:gd name="T4" fmla="*/ 37 w 244"/>
                      <a:gd name="T5" fmla="*/ 16 h 85"/>
                      <a:gd name="T6" fmla="*/ 0 w 244"/>
                      <a:gd name="T7" fmla="*/ 1 h 85"/>
                      <a:gd name="T8" fmla="*/ 0 w 244"/>
                      <a:gd name="T9" fmla="*/ 57 h 85"/>
                      <a:gd name="T10" fmla="*/ 122 w 244"/>
                      <a:gd name="T11" fmla="*/ 85 h 85"/>
                      <a:gd name="T12" fmla="*/ 244 w 244"/>
                      <a:gd name="T13" fmla="*/ 57 h 85"/>
                      <a:gd name="T14" fmla="*/ 244 w 244"/>
                      <a:gd name="T15" fmla="*/ 0 h 85"/>
                      <a:gd name="T16" fmla="*/ 206 w 244"/>
                      <a:gd name="T17" fmla="*/ 16 h 85"/>
                      <a:gd name="T18" fmla="*/ 225 w 244"/>
                      <a:gd name="T19" fmla="*/ 38 h 85"/>
                      <a:gd name="T20" fmla="*/ 163 w 244"/>
                      <a:gd name="T21" fmla="*/ 48 h 85"/>
                      <a:gd name="T22" fmla="*/ 163 w 244"/>
                      <a:gd name="T23" fmla="*/ 48 h 85"/>
                      <a:gd name="T24" fmla="*/ 157 w 244"/>
                      <a:gd name="T25" fmla="*/ 43 h 85"/>
                      <a:gd name="T26" fmla="*/ 162 w 244"/>
                      <a:gd name="T27" fmla="*/ 37 h 85"/>
                      <a:gd name="T28" fmla="*/ 221 w 244"/>
                      <a:gd name="T29" fmla="*/ 28 h 85"/>
                      <a:gd name="T30" fmla="*/ 228 w 244"/>
                      <a:gd name="T31" fmla="*/ 31 h 85"/>
                      <a:gd name="T32" fmla="*/ 225 w 244"/>
                      <a:gd name="T33" fmla="*/ 3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4" h="85">
                        <a:moveTo>
                          <a:pt x="206" y="16"/>
                        </a:moveTo>
                        <a:cubicBezTo>
                          <a:pt x="184" y="20"/>
                          <a:pt x="154" y="22"/>
                          <a:pt x="122" y="22"/>
                        </a:cubicBezTo>
                        <a:cubicBezTo>
                          <a:pt x="90" y="22"/>
                          <a:pt x="60" y="20"/>
                          <a:pt x="37" y="16"/>
                        </a:cubicBezTo>
                        <a:cubicBezTo>
                          <a:pt x="18" y="12"/>
                          <a:pt x="5" y="7"/>
                          <a:pt x="0" y="1"/>
                        </a:cubicBezTo>
                        <a:cubicBezTo>
                          <a:pt x="0" y="57"/>
                          <a:pt x="0" y="57"/>
                          <a:pt x="0" y="57"/>
                        </a:cubicBezTo>
                        <a:cubicBezTo>
                          <a:pt x="0" y="85"/>
                          <a:pt x="117" y="85"/>
                          <a:pt x="122" y="85"/>
                        </a:cubicBezTo>
                        <a:cubicBezTo>
                          <a:pt x="127" y="85"/>
                          <a:pt x="244" y="85"/>
                          <a:pt x="244" y="57"/>
                        </a:cubicBezTo>
                        <a:cubicBezTo>
                          <a:pt x="244" y="0"/>
                          <a:pt x="244" y="0"/>
                          <a:pt x="244" y="0"/>
                        </a:cubicBezTo>
                        <a:cubicBezTo>
                          <a:pt x="239" y="7"/>
                          <a:pt x="226" y="12"/>
                          <a:pt x="206" y="16"/>
                        </a:cubicBezTo>
                        <a:moveTo>
                          <a:pt x="225" y="38"/>
                        </a:moveTo>
                        <a:cubicBezTo>
                          <a:pt x="211" y="43"/>
                          <a:pt x="192" y="46"/>
                          <a:pt x="163" y="48"/>
                        </a:cubicBezTo>
                        <a:cubicBezTo>
                          <a:pt x="163" y="48"/>
                          <a:pt x="163" y="48"/>
                          <a:pt x="163" y="48"/>
                        </a:cubicBezTo>
                        <a:cubicBezTo>
                          <a:pt x="160" y="48"/>
                          <a:pt x="157" y="46"/>
                          <a:pt x="157" y="43"/>
                        </a:cubicBezTo>
                        <a:cubicBezTo>
                          <a:pt x="157" y="40"/>
                          <a:pt x="159" y="37"/>
                          <a:pt x="162" y="37"/>
                        </a:cubicBezTo>
                        <a:cubicBezTo>
                          <a:pt x="189" y="35"/>
                          <a:pt x="209" y="32"/>
                          <a:pt x="221" y="28"/>
                        </a:cubicBezTo>
                        <a:cubicBezTo>
                          <a:pt x="224" y="26"/>
                          <a:pt x="227" y="28"/>
                          <a:pt x="228" y="31"/>
                        </a:cubicBezTo>
                        <a:cubicBezTo>
                          <a:pt x="229" y="34"/>
                          <a:pt x="228" y="37"/>
                          <a:pt x="225" y="38"/>
                        </a:cubicBezTo>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73" name="Freeform 33"/>
                  <p:cNvSpPr>
                    <a:spLocks noEditPoints="1"/>
                  </p:cNvSpPr>
                  <p:nvPr/>
                </p:nvSpPr>
                <p:spPr bwMode="auto">
                  <a:xfrm>
                    <a:off x="3300" y="2317"/>
                    <a:ext cx="576" cy="198"/>
                  </a:xfrm>
                  <a:custGeom>
                    <a:avLst/>
                    <a:gdLst>
                      <a:gd name="T0" fmla="*/ 122 w 244"/>
                      <a:gd name="T1" fmla="*/ 84 h 84"/>
                      <a:gd name="T2" fmla="*/ 244 w 244"/>
                      <a:gd name="T3" fmla="*/ 59 h 84"/>
                      <a:gd name="T4" fmla="*/ 244 w 244"/>
                      <a:gd name="T5" fmla="*/ 0 h 84"/>
                      <a:gd name="T6" fmla="*/ 206 w 244"/>
                      <a:gd name="T7" fmla="*/ 15 h 84"/>
                      <a:gd name="T8" fmla="*/ 122 w 244"/>
                      <a:gd name="T9" fmla="*/ 22 h 84"/>
                      <a:gd name="T10" fmla="*/ 37 w 244"/>
                      <a:gd name="T11" fmla="*/ 15 h 84"/>
                      <a:gd name="T12" fmla="*/ 0 w 244"/>
                      <a:gd name="T13" fmla="*/ 0 h 84"/>
                      <a:gd name="T14" fmla="*/ 0 w 244"/>
                      <a:gd name="T15" fmla="*/ 59 h 84"/>
                      <a:gd name="T16" fmla="*/ 122 w 244"/>
                      <a:gd name="T17" fmla="*/ 84 h 84"/>
                      <a:gd name="T18" fmla="*/ 162 w 244"/>
                      <a:gd name="T19" fmla="*/ 36 h 84"/>
                      <a:gd name="T20" fmla="*/ 221 w 244"/>
                      <a:gd name="T21" fmla="*/ 26 h 84"/>
                      <a:gd name="T22" fmla="*/ 228 w 244"/>
                      <a:gd name="T23" fmla="*/ 29 h 84"/>
                      <a:gd name="T24" fmla="*/ 225 w 244"/>
                      <a:gd name="T25" fmla="*/ 37 h 84"/>
                      <a:gd name="T26" fmla="*/ 163 w 244"/>
                      <a:gd name="T27" fmla="*/ 47 h 84"/>
                      <a:gd name="T28" fmla="*/ 163 w 244"/>
                      <a:gd name="T29" fmla="*/ 47 h 84"/>
                      <a:gd name="T30" fmla="*/ 157 w 244"/>
                      <a:gd name="T31" fmla="*/ 42 h 84"/>
                      <a:gd name="T32" fmla="*/ 162 w 244"/>
                      <a:gd name="T33" fmla="*/ 3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4" h="84">
                        <a:moveTo>
                          <a:pt x="122" y="84"/>
                        </a:moveTo>
                        <a:cubicBezTo>
                          <a:pt x="127" y="84"/>
                          <a:pt x="236" y="84"/>
                          <a:pt x="244" y="59"/>
                        </a:cubicBezTo>
                        <a:cubicBezTo>
                          <a:pt x="244" y="0"/>
                          <a:pt x="244" y="0"/>
                          <a:pt x="244" y="0"/>
                        </a:cubicBezTo>
                        <a:cubicBezTo>
                          <a:pt x="239" y="6"/>
                          <a:pt x="226" y="11"/>
                          <a:pt x="206" y="15"/>
                        </a:cubicBezTo>
                        <a:cubicBezTo>
                          <a:pt x="184" y="19"/>
                          <a:pt x="154" y="22"/>
                          <a:pt x="122" y="22"/>
                        </a:cubicBezTo>
                        <a:cubicBezTo>
                          <a:pt x="90" y="22"/>
                          <a:pt x="60" y="19"/>
                          <a:pt x="37" y="15"/>
                        </a:cubicBezTo>
                        <a:cubicBezTo>
                          <a:pt x="18" y="11"/>
                          <a:pt x="5" y="6"/>
                          <a:pt x="0" y="0"/>
                        </a:cubicBezTo>
                        <a:cubicBezTo>
                          <a:pt x="0" y="59"/>
                          <a:pt x="0" y="59"/>
                          <a:pt x="0" y="59"/>
                        </a:cubicBezTo>
                        <a:cubicBezTo>
                          <a:pt x="10" y="84"/>
                          <a:pt x="117" y="84"/>
                          <a:pt x="122" y="84"/>
                        </a:cubicBezTo>
                        <a:moveTo>
                          <a:pt x="162" y="36"/>
                        </a:moveTo>
                        <a:cubicBezTo>
                          <a:pt x="189" y="34"/>
                          <a:pt x="209" y="31"/>
                          <a:pt x="221" y="26"/>
                        </a:cubicBezTo>
                        <a:cubicBezTo>
                          <a:pt x="224" y="25"/>
                          <a:pt x="227" y="27"/>
                          <a:pt x="228" y="29"/>
                        </a:cubicBezTo>
                        <a:cubicBezTo>
                          <a:pt x="229" y="32"/>
                          <a:pt x="228" y="36"/>
                          <a:pt x="225" y="37"/>
                        </a:cubicBezTo>
                        <a:cubicBezTo>
                          <a:pt x="211" y="42"/>
                          <a:pt x="192" y="45"/>
                          <a:pt x="163" y="47"/>
                        </a:cubicBezTo>
                        <a:cubicBezTo>
                          <a:pt x="163" y="47"/>
                          <a:pt x="163" y="47"/>
                          <a:pt x="163" y="47"/>
                        </a:cubicBezTo>
                        <a:cubicBezTo>
                          <a:pt x="160" y="47"/>
                          <a:pt x="157" y="45"/>
                          <a:pt x="157" y="42"/>
                        </a:cubicBezTo>
                        <a:cubicBezTo>
                          <a:pt x="157" y="39"/>
                          <a:pt x="159" y="36"/>
                          <a:pt x="162" y="36"/>
                        </a:cubicBezTo>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grpSp>
              <p:nvGrpSpPr>
                <p:cNvPr id="150" name="Group 37"/>
                <p:cNvGrpSpPr>
                  <a:grpSpLocks noChangeAspect="1"/>
                </p:cNvGrpSpPr>
                <p:nvPr/>
              </p:nvGrpSpPr>
              <p:grpSpPr bwMode="auto">
                <a:xfrm>
                  <a:off x="3193520" y="3027893"/>
                  <a:ext cx="244941" cy="318217"/>
                  <a:chOff x="3426" y="1621"/>
                  <a:chExt cx="829" cy="1077"/>
                </a:xfrm>
                <a:solidFill>
                  <a:schemeClr val="accent1"/>
                </a:solidFill>
              </p:grpSpPr>
              <p:sp>
                <p:nvSpPr>
                  <p:cNvPr id="154" name="Rectangle 38"/>
                  <p:cNvSpPr>
                    <a:spLocks noChangeArrowheads="1"/>
                  </p:cNvSpPr>
                  <p:nvPr/>
                </p:nvSpPr>
                <p:spPr bwMode="auto">
                  <a:xfrm>
                    <a:off x="3759" y="2410"/>
                    <a:ext cx="352" cy="118"/>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5" name="Rectangle 39"/>
                  <p:cNvSpPr>
                    <a:spLocks noChangeArrowheads="1"/>
                  </p:cNvSpPr>
                  <p:nvPr/>
                </p:nvSpPr>
                <p:spPr bwMode="auto">
                  <a:xfrm>
                    <a:off x="3759" y="2261"/>
                    <a:ext cx="352" cy="121"/>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6" name="Rectangle 40"/>
                  <p:cNvSpPr>
                    <a:spLocks noChangeArrowheads="1"/>
                  </p:cNvSpPr>
                  <p:nvPr/>
                </p:nvSpPr>
                <p:spPr bwMode="auto">
                  <a:xfrm>
                    <a:off x="3759" y="1968"/>
                    <a:ext cx="352" cy="118"/>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7" name="Rectangle 41"/>
                  <p:cNvSpPr>
                    <a:spLocks noChangeArrowheads="1"/>
                  </p:cNvSpPr>
                  <p:nvPr/>
                </p:nvSpPr>
                <p:spPr bwMode="auto">
                  <a:xfrm>
                    <a:off x="3759" y="1819"/>
                    <a:ext cx="352" cy="121"/>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8" name="Rectangle 42"/>
                  <p:cNvSpPr>
                    <a:spLocks noChangeArrowheads="1"/>
                  </p:cNvSpPr>
                  <p:nvPr/>
                </p:nvSpPr>
                <p:spPr bwMode="auto">
                  <a:xfrm>
                    <a:off x="3759" y="2115"/>
                    <a:ext cx="352" cy="120"/>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9" name="Rectangle 43"/>
                  <p:cNvSpPr>
                    <a:spLocks noChangeArrowheads="1"/>
                  </p:cNvSpPr>
                  <p:nvPr/>
                </p:nvSpPr>
                <p:spPr bwMode="auto">
                  <a:xfrm>
                    <a:off x="3570" y="1819"/>
                    <a:ext cx="161" cy="121"/>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0" name="Rectangle 44"/>
                  <p:cNvSpPr>
                    <a:spLocks noChangeArrowheads="1"/>
                  </p:cNvSpPr>
                  <p:nvPr/>
                </p:nvSpPr>
                <p:spPr bwMode="auto">
                  <a:xfrm>
                    <a:off x="3570" y="2410"/>
                    <a:ext cx="161" cy="118"/>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1" name="Freeform 45"/>
                  <p:cNvSpPr>
                    <a:spLocks noEditPoints="1"/>
                  </p:cNvSpPr>
                  <p:nvPr/>
                </p:nvSpPr>
                <p:spPr bwMode="auto">
                  <a:xfrm>
                    <a:off x="3426" y="1621"/>
                    <a:ext cx="829" cy="1077"/>
                  </a:xfrm>
                  <a:custGeom>
                    <a:avLst/>
                    <a:gdLst>
                      <a:gd name="T0" fmla="*/ 261 w 351"/>
                      <a:gd name="T1" fmla="*/ 0 h 456"/>
                      <a:gd name="T2" fmla="*/ 0 w 351"/>
                      <a:gd name="T3" fmla="*/ 0 h 456"/>
                      <a:gd name="T4" fmla="*/ 0 w 351"/>
                      <a:gd name="T5" fmla="*/ 456 h 456"/>
                      <a:gd name="T6" fmla="*/ 351 w 351"/>
                      <a:gd name="T7" fmla="*/ 456 h 456"/>
                      <a:gd name="T8" fmla="*/ 351 w 351"/>
                      <a:gd name="T9" fmla="*/ 90 h 456"/>
                      <a:gd name="T10" fmla="*/ 261 w 351"/>
                      <a:gd name="T11" fmla="*/ 0 h 456"/>
                      <a:gd name="T12" fmla="*/ 301 w 351"/>
                      <a:gd name="T13" fmla="*/ 396 h 456"/>
                      <a:gd name="T14" fmla="*/ 49 w 351"/>
                      <a:gd name="T15" fmla="*/ 396 h 456"/>
                      <a:gd name="T16" fmla="*/ 49 w 351"/>
                      <a:gd name="T17" fmla="*/ 390 h 456"/>
                      <a:gd name="T18" fmla="*/ 49 w 351"/>
                      <a:gd name="T19" fmla="*/ 388 h 456"/>
                      <a:gd name="T20" fmla="*/ 49 w 351"/>
                      <a:gd name="T21" fmla="*/ 72 h 456"/>
                      <a:gd name="T22" fmla="*/ 301 w 351"/>
                      <a:gd name="T23" fmla="*/ 72 h 456"/>
                      <a:gd name="T24" fmla="*/ 301 w 351"/>
                      <a:gd name="T25" fmla="*/ 39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456">
                        <a:moveTo>
                          <a:pt x="261" y="0"/>
                        </a:moveTo>
                        <a:cubicBezTo>
                          <a:pt x="0" y="0"/>
                          <a:pt x="0" y="0"/>
                          <a:pt x="0" y="0"/>
                        </a:cubicBezTo>
                        <a:cubicBezTo>
                          <a:pt x="0" y="456"/>
                          <a:pt x="0" y="456"/>
                          <a:pt x="0" y="456"/>
                        </a:cubicBezTo>
                        <a:cubicBezTo>
                          <a:pt x="351" y="456"/>
                          <a:pt x="351" y="456"/>
                          <a:pt x="351" y="456"/>
                        </a:cubicBezTo>
                        <a:cubicBezTo>
                          <a:pt x="351" y="90"/>
                          <a:pt x="351" y="90"/>
                          <a:pt x="351" y="90"/>
                        </a:cubicBezTo>
                        <a:cubicBezTo>
                          <a:pt x="351" y="40"/>
                          <a:pt x="311" y="0"/>
                          <a:pt x="261" y="0"/>
                        </a:cubicBezTo>
                        <a:moveTo>
                          <a:pt x="301" y="396"/>
                        </a:moveTo>
                        <a:cubicBezTo>
                          <a:pt x="49" y="396"/>
                          <a:pt x="49" y="396"/>
                          <a:pt x="49" y="396"/>
                        </a:cubicBezTo>
                        <a:cubicBezTo>
                          <a:pt x="49" y="390"/>
                          <a:pt x="49" y="390"/>
                          <a:pt x="49" y="390"/>
                        </a:cubicBezTo>
                        <a:cubicBezTo>
                          <a:pt x="49" y="388"/>
                          <a:pt x="49" y="388"/>
                          <a:pt x="49" y="388"/>
                        </a:cubicBezTo>
                        <a:cubicBezTo>
                          <a:pt x="49" y="72"/>
                          <a:pt x="49" y="72"/>
                          <a:pt x="49" y="72"/>
                        </a:cubicBezTo>
                        <a:cubicBezTo>
                          <a:pt x="301" y="72"/>
                          <a:pt x="301" y="72"/>
                          <a:pt x="301" y="72"/>
                        </a:cubicBezTo>
                        <a:lnTo>
                          <a:pt x="301" y="396"/>
                        </a:lnTo>
                        <a:close/>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2" name="Rectangle 46"/>
                  <p:cNvSpPr>
                    <a:spLocks noChangeArrowheads="1"/>
                  </p:cNvSpPr>
                  <p:nvPr/>
                </p:nvSpPr>
                <p:spPr bwMode="auto">
                  <a:xfrm>
                    <a:off x="3570" y="2115"/>
                    <a:ext cx="161" cy="120"/>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3" name="Rectangle 47"/>
                  <p:cNvSpPr>
                    <a:spLocks noChangeArrowheads="1"/>
                  </p:cNvSpPr>
                  <p:nvPr/>
                </p:nvSpPr>
                <p:spPr bwMode="auto">
                  <a:xfrm>
                    <a:off x="3570" y="2261"/>
                    <a:ext cx="161" cy="121"/>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64" name="Rectangle 48"/>
                  <p:cNvSpPr>
                    <a:spLocks noChangeArrowheads="1"/>
                  </p:cNvSpPr>
                  <p:nvPr/>
                </p:nvSpPr>
                <p:spPr bwMode="auto">
                  <a:xfrm>
                    <a:off x="3570" y="1968"/>
                    <a:ext cx="161" cy="118"/>
                  </a:xfrm>
                  <a:prstGeom prst="rect">
                    <a:avLst/>
                  </a:prstGeom>
                  <a:solidFill>
                    <a:srgbClr val="46575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grpSp>
              <p:nvGrpSpPr>
                <p:cNvPr id="151" name="Group 81"/>
                <p:cNvGrpSpPr>
                  <a:grpSpLocks noChangeAspect="1"/>
                </p:cNvGrpSpPr>
                <p:nvPr/>
              </p:nvGrpSpPr>
              <p:grpSpPr bwMode="auto">
                <a:xfrm>
                  <a:off x="3207315" y="3404242"/>
                  <a:ext cx="202181" cy="314249"/>
                  <a:chOff x="3488" y="1616"/>
                  <a:chExt cx="700" cy="1088"/>
                </a:xfrm>
                <a:solidFill>
                  <a:schemeClr val="accent1"/>
                </a:solidFill>
              </p:grpSpPr>
              <p:sp>
                <p:nvSpPr>
                  <p:cNvPr id="152" name="Freeform 82"/>
                  <p:cNvSpPr>
                    <a:spLocks/>
                  </p:cNvSpPr>
                  <p:nvPr/>
                </p:nvSpPr>
                <p:spPr bwMode="auto">
                  <a:xfrm>
                    <a:off x="3516" y="1616"/>
                    <a:ext cx="643" cy="205"/>
                  </a:xfrm>
                  <a:custGeom>
                    <a:avLst/>
                    <a:gdLst>
                      <a:gd name="T0" fmla="*/ 438 w 643"/>
                      <a:gd name="T1" fmla="*/ 30 h 205"/>
                      <a:gd name="T2" fmla="*/ 608 w 643"/>
                      <a:gd name="T3" fmla="*/ 106 h 205"/>
                      <a:gd name="T4" fmla="*/ 643 w 643"/>
                      <a:gd name="T5" fmla="*/ 89 h 205"/>
                      <a:gd name="T6" fmla="*/ 438 w 643"/>
                      <a:gd name="T7" fmla="*/ 0 h 205"/>
                      <a:gd name="T8" fmla="*/ 0 w 643"/>
                      <a:gd name="T9" fmla="*/ 189 h 205"/>
                      <a:gd name="T10" fmla="*/ 36 w 643"/>
                      <a:gd name="T11" fmla="*/ 205 h 205"/>
                      <a:gd name="T12" fmla="*/ 438 w 643"/>
                      <a:gd name="T13" fmla="*/ 30 h 205"/>
                    </a:gdLst>
                    <a:ahLst/>
                    <a:cxnLst>
                      <a:cxn ang="0">
                        <a:pos x="T0" y="T1"/>
                      </a:cxn>
                      <a:cxn ang="0">
                        <a:pos x="T2" y="T3"/>
                      </a:cxn>
                      <a:cxn ang="0">
                        <a:pos x="T4" y="T5"/>
                      </a:cxn>
                      <a:cxn ang="0">
                        <a:pos x="T6" y="T7"/>
                      </a:cxn>
                      <a:cxn ang="0">
                        <a:pos x="T8" y="T9"/>
                      </a:cxn>
                      <a:cxn ang="0">
                        <a:pos x="T10" y="T11"/>
                      </a:cxn>
                      <a:cxn ang="0">
                        <a:pos x="T12" y="T13"/>
                      </a:cxn>
                    </a:cxnLst>
                    <a:rect l="0" t="0" r="r" b="b"/>
                    <a:pathLst>
                      <a:path w="643" h="205">
                        <a:moveTo>
                          <a:pt x="438" y="30"/>
                        </a:moveTo>
                        <a:lnTo>
                          <a:pt x="608" y="106"/>
                        </a:lnTo>
                        <a:lnTo>
                          <a:pt x="643" y="89"/>
                        </a:lnTo>
                        <a:lnTo>
                          <a:pt x="438" y="0"/>
                        </a:lnTo>
                        <a:lnTo>
                          <a:pt x="0" y="189"/>
                        </a:lnTo>
                        <a:lnTo>
                          <a:pt x="36" y="205"/>
                        </a:lnTo>
                        <a:lnTo>
                          <a:pt x="438" y="30"/>
                        </a:lnTo>
                        <a:close/>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53" name="Freeform 83"/>
                  <p:cNvSpPr>
                    <a:spLocks noEditPoints="1"/>
                  </p:cNvSpPr>
                  <p:nvPr/>
                </p:nvSpPr>
                <p:spPr bwMode="auto">
                  <a:xfrm>
                    <a:off x="3488" y="1724"/>
                    <a:ext cx="700" cy="980"/>
                  </a:xfrm>
                  <a:custGeom>
                    <a:avLst/>
                    <a:gdLst>
                      <a:gd name="T0" fmla="*/ 239 w 700"/>
                      <a:gd name="T1" fmla="*/ 194 h 980"/>
                      <a:gd name="T2" fmla="*/ 0 w 700"/>
                      <a:gd name="T3" fmla="*/ 97 h 980"/>
                      <a:gd name="T4" fmla="*/ 0 w 700"/>
                      <a:gd name="T5" fmla="*/ 114 h 980"/>
                      <a:gd name="T6" fmla="*/ 0 w 700"/>
                      <a:gd name="T7" fmla="*/ 128 h 980"/>
                      <a:gd name="T8" fmla="*/ 0 w 700"/>
                      <a:gd name="T9" fmla="*/ 402 h 980"/>
                      <a:gd name="T10" fmla="*/ 0 w 700"/>
                      <a:gd name="T11" fmla="*/ 621 h 980"/>
                      <a:gd name="T12" fmla="*/ 0 w 700"/>
                      <a:gd name="T13" fmla="*/ 876 h 980"/>
                      <a:gd name="T14" fmla="*/ 234 w 700"/>
                      <a:gd name="T15" fmla="*/ 980 h 980"/>
                      <a:gd name="T16" fmla="*/ 700 w 700"/>
                      <a:gd name="T17" fmla="*/ 780 h 980"/>
                      <a:gd name="T18" fmla="*/ 700 w 700"/>
                      <a:gd name="T19" fmla="*/ 522 h 980"/>
                      <a:gd name="T20" fmla="*/ 700 w 700"/>
                      <a:gd name="T21" fmla="*/ 303 h 980"/>
                      <a:gd name="T22" fmla="*/ 700 w 700"/>
                      <a:gd name="T23" fmla="*/ 31 h 980"/>
                      <a:gd name="T24" fmla="*/ 700 w 700"/>
                      <a:gd name="T25" fmla="*/ 15 h 980"/>
                      <a:gd name="T26" fmla="*/ 700 w 700"/>
                      <a:gd name="T27" fmla="*/ 0 h 980"/>
                      <a:gd name="T28" fmla="*/ 239 w 700"/>
                      <a:gd name="T29" fmla="*/ 194 h 980"/>
                      <a:gd name="T30" fmla="*/ 28 w 700"/>
                      <a:gd name="T31" fmla="*/ 140 h 980"/>
                      <a:gd name="T32" fmla="*/ 210 w 700"/>
                      <a:gd name="T33" fmla="*/ 213 h 980"/>
                      <a:gd name="T34" fmla="*/ 210 w 700"/>
                      <a:gd name="T35" fmla="*/ 494 h 980"/>
                      <a:gd name="T36" fmla="*/ 28 w 700"/>
                      <a:gd name="T37" fmla="*/ 414 h 980"/>
                      <a:gd name="T38" fmla="*/ 28 w 700"/>
                      <a:gd name="T39" fmla="*/ 140 h 980"/>
                      <a:gd name="T40" fmla="*/ 671 w 700"/>
                      <a:gd name="T41" fmla="*/ 317 h 980"/>
                      <a:gd name="T42" fmla="*/ 239 w 700"/>
                      <a:gd name="T43" fmla="*/ 501 h 980"/>
                      <a:gd name="T44" fmla="*/ 239 w 700"/>
                      <a:gd name="T45" fmla="*/ 225 h 980"/>
                      <a:gd name="T46" fmla="*/ 671 w 700"/>
                      <a:gd name="T47" fmla="*/ 45 h 980"/>
                      <a:gd name="T48" fmla="*/ 671 w 700"/>
                      <a:gd name="T49" fmla="*/ 317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00" h="980">
                        <a:moveTo>
                          <a:pt x="239" y="194"/>
                        </a:moveTo>
                        <a:lnTo>
                          <a:pt x="0" y="97"/>
                        </a:lnTo>
                        <a:lnTo>
                          <a:pt x="0" y="114"/>
                        </a:lnTo>
                        <a:lnTo>
                          <a:pt x="0" y="128"/>
                        </a:lnTo>
                        <a:lnTo>
                          <a:pt x="0" y="402"/>
                        </a:lnTo>
                        <a:lnTo>
                          <a:pt x="0" y="621"/>
                        </a:lnTo>
                        <a:lnTo>
                          <a:pt x="0" y="876"/>
                        </a:lnTo>
                        <a:lnTo>
                          <a:pt x="234" y="980"/>
                        </a:lnTo>
                        <a:lnTo>
                          <a:pt x="700" y="780"/>
                        </a:lnTo>
                        <a:lnTo>
                          <a:pt x="700" y="522"/>
                        </a:lnTo>
                        <a:lnTo>
                          <a:pt x="700" y="303"/>
                        </a:lnTo>
                        <a:lnTo>
                          <a:pt x="700" y="31"/>
                        </a:lnTo>
                        <a:lnTo>
                          <a:pt x="700" y="15"/>
                        </a:lnTo>
                        <a:lnTo>
                          <a:pt x="700" y="0"/>
                        </a:lnTo>
                        <a:lnTo>
                          <a:pt x="239" y="194"/>
                        </a:lnTo>
                        <a:close/>
                        <a:moveTo>
                          <a:pt x="28" y="140"/>
                        </a:moveTo>
                        <a:lnTo>
                          <a:pt x="210" y="213"/>
                        </a:lnTo>
                        <a:lnTo>
                          <a:pt x="210" y="494"/>
                        </a:lnTo>
                        <a:lnTo>
                          <a:pt x="28" y="414"/>
                        </a:lnTo>
                        <a:lnTo>
                          <a:pt x="28" y="140"/>
                        </a:lnTo>
                        <a:close/>
                        <a:moveTo>
                          <a:pt x="671" y="317"/>
                        </a:moveTo>
                        <a:lnTo>
                          <a:pt x="239" y="501"/>
                        </a:lnTo>
                        <a:lnTo>
                          <a:pt x="239" y="225"/>
                        </a:lnTo>
                        <a:lnTo>
                          <a:pt x="671" y="45"/>
                        </a:lnTo>
                        <a:lnTo>
                          <a:pt x="671" y="317"/>
                        </a:lnTo>
                        <a:close/>
                      </a:path>
                    </a:pathLst>
                  </a:custGeom>
                  <a:solidFill>
                    <a:srgbClr val="465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grpSp>
              <p:nvGrpSpPr>
                <p:cNvPr id="192" name="Group 839"/>
                <p:cNvGrpSpPr/>
                <p:nvPr/>
              </p:nvGrpSpPr>
              <p:grpSpPr>
                <a:xfrm>
                  <a:off x="3223241" y="3853943"/>
                  <a:ext cx="218973" cy="236481"/>
                  <a:chOff x="4821158" y="595233"/>
                  <a:chExt cx="956072" cy="1032511"/>
                </a:xfrm>
              </p:grpSpPr>
              <p:sp>
                <p:nvSpPr>
                  <p:cNvPr id="193" name="Freeform 214"/>
                  <p:cNvSpPr>
                    <a:spLocks noEditPoints="1"/>
                  </p:cNvSpPr>
                  <p:nvPr/>
                </p:nvSpPr>
                <p:spPr bwMode="auto">
                  <a:xfrm>
                    <a:off x="4821158" y="990046"/>
                    <a:ext cx="956072" cy="334565"/>
                  </a:xfrm>
                  <a:custGeom>
                    <a:avLst/>
                    <a:gdLst>
                      <a:gd name="T0" fmla="*/ 1434 w 1700"/>
                      <a:gd name="T1" fmla="*/ 111 h 595"/>
                      <a:gd name="T2" fmla="*/ 850 w 1700"/>
                      <a:gd name="T3" fmla="*/ 157 h 595"/>
                      <a:gd name="T4" fmla="*/ 265 w 1700"/>
                      <a:gd name="T5" fmla="*/ 111 h 595"/>
                      <a:gd name="T6" fmla="*/ 0 w 1700"/>
                      <a:gd name="T7" fmla="*/ 0 h 595"/>
                      <a:gd name="T8" fmla="*/ 0 w 1700"/>
                      <a:gd name="T9" fmla="*/ 419 h 595"/>
                      <a:gd name="T10" fmla="*/ 850 w 1700"/>
                      <a:gd name="T11" fmla="*/ 595 h 595"/>
                      <a:gd name="T12" fmla="*/ 1700 w 1700"/>
                      <a:gd name="T13" fmla="*/ 419 h 595"/>
                      <a:gd name="T14" fmla="*/ 1700 w 1700"/>
                      <a:gd name="T15" fmla="*/ 0 h 595"/>
                      <a:gd name="T16" fmla="*/ 1434 w 1700"/>
                      <a:gd name="T17" fmla="*/ 111 h 595"/>
                      <a:gd name="T18" fmla="*/ 1567 w 1700"/>
                      <a:gd name="T19" fmla="*/ 267 h 595"/>
                      <a:gd name="T20" fmla="*/ 1137 w 1700"/>
                      <a:gd name="T21" fmla="*/ 338 h 595"/>
                      <a:gd name="T22" fmla="*/ 1134 w 1700"/>
                      <a:gd name="T23" fmla="*/ 338 h 595"/>
                      <a:gd name="T24" fmla="*/ 1095 w 1700"/>
                      <a:gd name="T25" fmla="*/ 302 h 595"/>
                      <a:gd name="T26" fmla="*/ 1132 w 1700"/>
                      <a:gd name="T27" fmla="*/ 260 h 595"/>
                      <a:gd name="T28" fmla="*/ 1538 w 1700"/>
                      <a:gd name="T29" fmla="*/ 194 h 595"/>
                      <a:gd name="T30" fmla="*/ 1589 w 1700"/>
                      <a:gd name="T31" fmla="*/ 217 h 595"/>
                      <a:gd name="T32" fmla="*/ 1567 w 1700"/>
                      <a:gd name="T33" fmla="*/ 26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00" h="595">
                        <a:moveTo>
                          <a:pt x="1434" y="111"/>
                        </a:moveTo>
                        <a:cubicBezTo>
                          <a:pt x="1278" y="141"/>
                          <a:pt x="1070" y="157"/>
                          <a:pt x="850" y="157"/>
                        </a:cubicBezTo>
                        <a:cubicBezTo>
                          <a:pt x="630" y="157"/>
                          <a:pt x="422" y="141"/>
                          <a:pt x="265" y="111"/>
                        </a:cubicBezTo>
                        <a:cubicBezTo>
                          <a:pt x="121" y="83"/>
                          <a:pt x="36" y="47"/>
                          <a:pt x="0" y="0"/>
                        </a:cubicBezTo>
                        <a:cubicBezTo>
                          <a:pt x="0" y="419"/>
                          <a:pt x="0" y="419"/>
                          <a:pt x="0" y="419"/>
                        </a:cubicBezTo>
                        <a:cubicBezTo>
                          <a:pt x="53" y="593"/>
                          <a:pt x="816" y="595"/>
                          <a:pt x="850" y="595"/>
                        </a:cubicBezTo>
                        <a:cubicBezTo>
                          <a:pt x="883" y="595"/>
                          <a:pt x="1646" y="593"/>
                          <a:pt x="1700" y="419"/>
                        </a:cubicBezTo>
                        <a:cubicBezTo>
                          <a:pt x="1700" y="0"/>
                          <a:pt x="1700" y="0"/>
                          <a:pt x="1700" y="0"/>
                        </a:cubicBezTo>
                        <a:cubicBezTo>
                          <a:pt x="1664" y="47"/>
                          <a:pt x="1579" y="83"/>
                          <a:pt x="1434" y="111"/>
                        </a:cubicBezTo>
                        <a:moveTo>
                          <a:pt x="1567" y="267"/>
                        </a:moveTo>
                        <a:cubicBezTo>
                          <a:pt x="1473" y="303"/>
                          <a:pt x="1336" y="326"/>
                          <a:pt x="1137" y="338"/>
                        </a:cubicBezTo>
                        <a:cubicBezTo>
                          <a:pt x="1136" y="338"/>
                          <a:pt x="1135" y="338"/>
                          <a:pt x="1134" y="338"/>
                        </a:cubicBezTo>
                        <a:cubicBezTo>
                          <a:pt x="1114" y="338"/>
                          <a:pt x="1096" y="322"/>
                          <a:pt x="1095" y="302"/>
                        </a:cubicBezTo>
                        <a:cubicBezTo>
                          <a:pt x="1094" y="280"/>
                          <a:pt x="1110" y="261"/>
                          <a:pt x="1132" y="260"/>
                        </a:cubicBezTo>
                        <a:cubicBezTo>
                          <a:pt x="1320" y="249"/>
                          <a:pt x="1453" y="227"/>
                          <a:pt x="1538" y="194"/>
                        </a:cubicBezTo>
                        <a:cubicBezTo>
                          <a:pt x="1558" y="186"/>
                          <a:pt x="1581" y="196"/>
                          <a:pt x="1589" y="217"/>
                        </a:cubicBezTo>
                        <a:cubicBezTo>
                          <a:pt x="1597" y="237"/>
                          <a:pt x="1587" y="259"/>
                          <a:pt x="1567" y="267"/>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94" name="Freeform 215"/>
                  <p:cNvSpPr>
                    <a:spLocks noEditPoints="1"/>
                  </p:cNvSpPr>
                  <p:nvPr/>
                </p:nvSpPr>
                <p:spPr bwMode="auto">
                  <a:xfrm>
                    <a:off x="4821158" y="1292463"/>
                    <a:ext cx="956072" cy="335281"/>
                  </a:xfrm>
                  <a:custGeom>
                    <a:avLst/>
                    <a:gdLst>
                      <a:gd name="T0" fmla="*/ 1434 w 1700"/>
                      <a:gd name="T1" fmla="*/ 111 h 596"/>
                      <a:gd name="T2" fmla="*/ 850 w 1700"/>
                      <a:gd name="T3" fmla="*/ 158 h 596"/>
                      <a:gd name="T4" fmla="*/ 265 w 1700"/>
                      <a:gd name="T5" fmla="*/ 111 h 596"/>
                      <a:gd name="T6" fmla="*/ 0 w 1700"/>
                      <a:gd name="T7" fmla="*/ 0 h 596"/>
                      <a:gd name="T8" fmla="*/ 0 w 1700"/>
                      <a:gd name="T9" fmla="*/ 400 h 596"/>
                      <a:gd name="T10" fmla="*/ 850 w 1700"/>
                      <a:gd name="T11" fmla="*/ 596 h 596"/>
                      <a:gd name="T12" fmla="*/ 1700 w 1700"/>
                      <a:gd name="T13" fmla="*/ 400 h 596"/>
                      <a:gd name="T14" fmla="*/ 1700 w 1700"/>
                      <a:gd name="T15" fmla="*/ 0 h 596"/>
                      <a:gd name="T16" fmla="*/ 1434 w 1700"/>
                      <a:gd name="T17" fmla="*/ 111 h 596"/>
                      <a:gd name="T18" fmla="*/ 1566 w 1700"/>
                      <a:gd name="T19" fmla="*/ 268 h 596"/>
                      <a:gd name="T20" fmla="*/ 1137 w 1700"/>
                      <a:gd name="T21" fmla="*/ 339 h 596"/>
                      <a:gd name="T22" fmla="*/ 1134 w 1700"/>
                      <a:gd name="T23" fmla="*/ 339 h 596"/>
                      <a:gd name="T24" fmla="*/ 1095 w 1700"/>
                      <a:gd name="T25" fmla="*/ 302 h 596"/>
                      <a:gd name="T26" fmla="*/ 1132 w 1700"/>
                      <a:gd name="T27" fmla="*/ 261 h 596"/>
                      <a:gd name="T28" fmla="*/ 1538 w 1700"/>
                      <a:gd name="T29" fmla="*/ 195 h 596"/>
                      <a:gd name="T30" fmla="*/ 1589 w 1700"/>
                      <a:gd name="T31" fmla="*/ 217 h 596"/>
                      <a:gd name="T32" fmla="*/ 1566 w 1700"/>
                      <a:gd name="T33" fmla="*/ 268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00" h="596">
                        <a:moveTo>
                          <a:pt x="1434" y="111"/>
                        </a:moveTo>
                        <a:cubicBezTo>
                          <a:pt x="1278" y="141"/>
                          <a:pt x="1070" y="158"/>
                          <a:pt x="850" y="158"/>
                        </a:cubicBezTo>
                        <a:cubicBezTo>
                          <a:pt x="630" y="158"/>
                          <a:pt x="422" y="141"/>
                          <a:pt x="265" y="111"/>
                        </a:cubicBezTo>
                        <a:cubicBezTo>
                          <a:pt x="121" y="83"/>
                          <a:pt x="36" y="48"/>
                          <a:pt x="0" y="0"/>
                        </a:cubicBezTo>
                        <a:cubicBezTo>
                          <a:pt x="0" y="400"/>
                          <a:pt x="0" y="400"/>
                          <a:pt x="0" y="400"/>
                        </a:cubicBezTo>
                        <a:cubicBezTo>
                          <a:pt x="0" y="594"/>
                          <a:pt x="815" y="596"/>
                          <a:pt x="850" y="596"/>
                        </a:cubicBezTo>
                        <a:cubicBezTo>
                          <a:pt x="884" y="596"/>
                          <a:pt x="1700" y="594"/>
                          <a:pt x="1700" y="400"/>
                        </a:cubicBezTo>
                        <a:cubicBezTo>
                          <a:pt x="1700" y="0"/>
                          <a:pt x="1700" y="0"/>
                          <a:pt x="1700" y="0"/>
                        </a:cubicBezTo>
                        <a:cubicBezTo>
                          <a:pt x="1664" y="48"/>
                          <a:pt x="1579" y="83"/>
                          <a:pt x="1434" y="111"/>
                        </a:cubicBezTo>
                        <a:moveTo>
                          <a:pt x="1566" y="268"/>
                        </a:moveTo>
                        <a:cubicBezTo>
                          <a:pt x="1473" y="304"/>
                          <a:pt x="1336" y="326"/>
                          <a:pt x="1137" y="339"/>
                        </a:cubicBezTo>
                        <a:cubicBezTo>
                          <a:pt x="1136" y="339"/>
                          <a:pt x="1135" y="339"/>
                          <a:pt x="1134" y="339"/>
                        </a:cubicBezTo>
                        <a:cubicBezTo>
                          <a:pt x="1114" y="339"/>
                          <a:pt x="1096" y="323"/>
                          <a:pt x="1095" y="302"/>
                        </a:cubicBezTo>
                        <a:cubicBezTo>
                          <a:pt x="1094" y="280"/>
                          <a:pt x="1110" y="262"/>
                          <a:pt x="1132" y="261"/>
                        </a:cubicBezTo>
                        <a:cubicBezTo>
                          <a:pt x="1320" y="249"/>
                          <a:pt x="1453" y="227"/>
                          <a:pt x="1538" y="195"/>
                        </a:cubicBezTo>
                        <a:cubicBezTo>
                          <a:pt x="1559" y="187"/>
                          <a:pt x="1581" y="197"/>
                          <a:pt x="1589" y="217"/>
                        </a:cubicBezTo>
                        <a:cubicBezTo>
                          <a:pt x="1597" y="237"/>
                          <a:pt x="1587" y="260"/>
                          <a:pt x="1566" y="268"/>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sp>
                <p:nvSpPr>
                  <p:cNvPr id="195" name="Freeform 216"/>
                  <p:cNvSpPr>
                    <a:spLocks noEditPoints="1"/>
                  </p:cNvSpPr>
                  <p:nvPr/>
                </p:nvSpPr>
                <p:spPr bwMode="auto">
                  <a:xfrm>
                    <a:off x="4821158" y="595233"/>
                    <a:ext cx="956072" cy="426721"/>
                  </a:xfrm>
                  <a:custGeom>
                    <a:avLst/>
                    <a:gdLst>
                      <a:gd name="T0" fmla="*/ 850 w 1700"/>
                      <a:gd name="T1" fmla="*/ 0 h 759"/>
                      <a:gd name="T2" fmla="*/ 0 w 1700"/>
                      <a:gd name="T3" fmla="*/ 196 h 759"/>
                      <a:gd name="T4" fmla="*/ 0 w 1700"/>
                      <a:gd name="T5" fmla="*/ 563 h 759"/>
                      <a:gd name="T6" fmla="*/ 850 w 1700"/>
                      <a:gd name="T7" fmla="*/ 759 h 759"/>
                      <a:gd name="T8" fmla="*/ 1700 w 1700"/>
                      <a:gd name="T9" fmla="*/ 563 h 759"/>
                      <a:gd name="T10" fmla="*/ 1700 w 1700"/>
                      <a:gd name="T11" fmla="*/ 196 h 759"/>
                      <a:gd name="T12" fmla="*/ 850 w 1700"/>
                      <a:gd name="T13" fmla="*/ 0 h 759"/>
                      <a:gd name="T14" fmla="*/ 1567 w 1700"/>
                      <a:gd name="T15" fmla="*/ 431 h 759"/>
                      <a:gd name="T16" fmla="*/ 1137 w 1700"/>
                      <a:gd name="T17" fmla="*/ 502 h 759"/>
                      <a:gd name="T18" fmla="*/ 1134 w 1700"/>
                      <a:gd name="T19" fmla="*/ 502 h 759"/>
                      <a:gd name="T20" fmla="*/ 1095 w 1700"/>
                      <a:gd name="T21" fmla="*/ 465 h 759"/>
                      <a:gd name="T22" fmla="*/ 1132 w 1700"/>
                      <a:gd name="T23" fmla="*/ 424 h 759"/>
                      <a:gd name="T24" fmla="*/ 1538 w 1700"/>
                      <a:gd name="T25" fmla="*/ 358 h 759"/>
                      <a:gd name="T26" fmla="*/ 1589 w 1700"/>
                      <a:gd name="T27" fmla="*/ 380 h 759"/>
                      <a:gd name="T28" fmla="*/ 1567 w 1700"/>
                      <a:gd name="T29" fmla="*/ 431 h 759"/>
                      <a:gd name="T30" fmla="*/ 1620 w 1700"/>
                      <a:gd name="T31" fmla="*/ 196 h 759"/>
                      <a:gd name="T32" fmla="*/ 850 w 1700"/>
                      <a:gd name="T33" fmla="*/ 313 h 759"/>
                      <a:gd name="T34" fmla="*/ 80 w 1700"/>
                      <a:gd name="T35" fmla="*/ 197 h 759"/>
                      <a:gd name="T36" fmla="*/ 79 w 1700"/>
                      <a:gd name="T37" fmla="*/ 196 h 759"/>
                      <a:gd name="T38" fmla="*/ 850 w 1700"/>
                      <a:gd name="T39" fmla="*/ 78 h 759"/>
                      <a:gd name="T40" fmla="*/ 1621 w 1700"/>
                      <a:gd name="T41" fmla="*/ 196 h 759"/>
                      <a:gd name="T42" fmla="*/ 1620 w 1700"/>
                      <a:gd name="T43" fmla="*/ 196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00" h="759">
                        <a:moveTo>
                          <a:pt x="850" y="0"/>
                        </a:moveTo>
                        <a:cubicBezTo>
                          <a:pt x="815" y="0"/>
                          <a:pt x="0" y="2"/>
                          <a:pt x="0" y="196"/>
                        </a:cubicBezTo>
                        <a:cubicBezTo>
                          <a:pt x="0" y="563"/>
                          <a:pt x="0" y="563"/>
                          <a:pt x="0" y="563"/>
                        </a:cubicBezTo>
                        <a:cubicBezTo>
                          <a:pt x="0" y="757"/>
                          <a:pt x="815" y="759"/>
                          <a:pt x="850" y="759"/>
                        </a:cubicBezTo>
                        <a:cubicBezTo>
                          <a:pt x="885" y="759"/>
                          <a:pt x="1700" y="757"/>
                          <a:pt x="1700" y="563"/>
                        </a:cubicBezTo>
                        <a:cubicBezTo>
                          <a:pt x="1700" y="196"/>
                          <a:pt x="1700" y="196"/>
                          <a:pt x="1700" y="196"/>
                        </a:cubicBezTo>
                        <a:cubicBezTo>
                          <a:pt x="1700" y="2"/>
                          <a:pt x="885" y="0"/>
                          <a:pt x="850" y="0"/>
                        </a:cubicBezTo>
                        <a:moveTo>
                          <a:pt x="1567" y="431"/>
                        </a:moveTo>
                        <a:cubicBezTo>
                          <a:pt x="1473" y="467"/>
                          <a:pt x="1336" y="490"/>
                          <a:pt x="1137" y="502"/>
                        </a:cubicBezTo>
                        <a:cubicBezTo>
                          <a:pt x="1136" y="502"/>
                          <a:pt x="1135" y="502"/>
                          <a:pt x="1134" y="502"/>
                        </a:cubicBezTo>
                        <a:cubicBezTo>
                          <a:pt x="1114" y="502"/>
                          <a:pt x="1096" y="486"/>
                          <a:pt x="1095" y="465"/>
                        </a:cubicBezTo>
                        <a:cubicBezTo>
                          <a:pt x="1094" y="444"/>
                          <a:pt x="1110" y="425"/>
                          <a:pt x="1132" y="424"/>
                        </a:cubicBezTo>
                        <a:cubicBezTo>
                          <a:pt x="1320" y="412"/>
                          <a:pt x="1453" y="391"/>
                          <a:pt x="1538" y="358"/>
                        </a:cubicBezTo>
                        <a:cubicBezTo>
                          <a:pt x="1558" y="350"/>
                          <a:pt x="1581" y="360"/>
                          <a:pt x="1589" y="380"/>
                        </a:cubicBezTo>
                        <a:cubicBezTo>
                          <a:pt x="1597" y="400"/>
                          <a:pt x="1587" y="423"/>
                          <a:pt x="1567" y="431"/>
                        </a:cubicBezTo>
                        <a:moveTo>
                          <a:pt x="1620" y="196"/>
                        </a:moveTo>
                        <a:cubicBezTo>
                          <a:pt x="1591" y="240"/>
                          <a:pt x="1318" y="313"/>
                          <a:pt x="850" y="313"/>
                        </a:cubicBezTo>
                        <a:cubicBezTo>
                          <a:pt x="382" y="313"/>
                          <a:pt x="109" y="240"/>
                          <a:pt x="80" y="197"/>
                        </a:cubicBezTo>
                        <a:cubicBezTo>
                          <a:pt x="79" y="196"/>
                          <a:pt x="79" y="196"/>
                          <a:pt x="79" y="196"/>
                        </a:cubicBezTo>
                        <a:cubicBezTo>
                          <a:pt x="107" y="152"/>
                          <a:pt x="380" y="78"/>
                          <a:pt x="850" y="78"/>
                        </a:cubicBezTo>
                        <a:cubicBezTo>
                          <a:pt x="1320" y="78"/>
                          <a:pt x="1593" y="152"/>
                          <a:pt x="1621" y="196"/>
                        </a:cubicBezTo>
                        <a:cubicBezTo>
                          <a:pt x="1620" y="196"/>
                          <a:pt x="1620" y="196"/>
                          <a:pt x="1620" y="196"/>
                        </a:cubicBezTo>
                      </a:path>
                    </a:pathLst>
                  </a:custGeom>
                  <a:solidFill>
                    <a:srgbClr val="46575E"/>
                  </a:solidFill>
                  <a:ln>
                    <a:noFill/>
                  </a:ln>
                </p:spPr>
                <p:txBody>
                  <a:bodyPr vert="horz" wrap="square" lIns="91440" tIns="45720" rIns="91440" bIns="45720" numCol="1" anchor="t" anchorCtr="0" compatLnSpc="1">
                    <a:prstTxWarp prst="textNoShape">
                      <a:avLst/>
                    </a:prstTxWarp>
                  </a:bodyPr>
                  <a:lstStyle/>
                  <a:p>
                    <a:endParaRPr lang="en-US" sz="700">
                      <a:solidFill>
                        <a:srgbClr val="5F5F5F"/>
                      </a:solidFill>
                    </a:endParaRPr>
                  </a:p>
                </p:txBody>
              </p:sp>
            </p:grpSp>
            <p:cxnSp>
              <p:nvCxnSpPr>
                <p:cNvPr id="196" name="Straight Connector 195"/>
                <p:cNvCxnSpPr/>
                <p:nvPr/>
              </p:nvCxnSpPr>
              <p:spPr>
                <a:xfrm>
                  <a:off x="2683414" y="2994175"/>
                  <a:ext cx="0" cy="1243276"/>
                </a:xfrm>
                <a:prstGeom prst="line">
                  <a:avLst/>
                </a:prstGeom>
                <a:ln w="28575" cmpd="sng">
                  <a:solidFill>
                    <a:schemeClr val="accent4"/>
                  </a:solidFill>
                  <a:miter lim="800000"/>
                </a:ln>
              </p:spPr>
              <p:style>
                <a:lnRef idx="1">
                  <a:schemeClr val="accent1"/>
                </a:lnRef>
                <a:fillRef idx="0">
                  <a:schemeClr val="accent1"/>
                </a:fillRef>
                <a:effectRef idx="0">
                  <a:schemeClr val="accent1"/>
                </a:effectRef>
                <a:fontRef idx="minor">
                  <a:schemeClr val="tx1"/>
                </a:fontRef>
              </p:style>
            </p:cxnSp>
            <p:pic>
              <p:nvPicPr>
                <p:cNvPr id="36" name="Picture 35" descr="ic-Building_Factory-red.png"/>
                <p:cNvPicPr>
                  <a:picLocks noChangeAspect="1"/>
                </p:cNvPicPr>
                <p:nvPr/>
              </p:nvPicPr>
              <p:blipFill>
                <a:blip r:embed="rId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790386" y="3339677"/>
                  <a:ext cx="1065073" cy="1065073"/>
                </a:xfrm>
                <a:prstGeom prst="rect">
                  <a:avLst/>
                </a:prstGeom>
              </p:spPr>
            </p:pic>
          </p:grpSp>
        </p:grpSp>
      </p:grpSp>
      <p:sp>
        <p:nvSpPr>
          <p:cNvPr id="7" name="Slide Number Placeholder 6"/>
          <p:cNvSpPr>
            <a:spLocks noGrp="1"/>
          </p:cNvSpPr>
          <p:nvPr>
            <p:ph type="sldNum" sz="quarter" idx="12"/>
          </p:nvPr>
        </p:nvSpPr>
        <p:spPr>
          <a:xfrm>
            <a:off x="11276012" y="6903720"/>
            <a:ext cx="381661" cy="182880"/>
          </a:xfrm>
        </p:spPr>
        <p:txBody>
          <a:bodyPr/>
          <a:lstStyle/>
          <a:p>
            <a:fld id="{C51EAA63-D034-42AE-91FA-B13B9518C7BE}" type="slidenum">
              <a:rPr lang="en-US" smtClean="0">
                <a:solidFill>
                  <a:srgbClr val="5F5F5F">
                    <a:lumMod val="60000"/>
                    <a:lumOff val="40000"/>
                  </a:srgbClr>
                </a:solidFill>
                <a:latin typeface="Calibri"/>
              </a:rPr>
              <a:pPr/>
              <a:t>34</a:t>
            </a:fld>
            <a:endParaRPr lang="en-US" dirty="0">
              <a:solidFill>
                <a:srgbClr val="5F5F5F">
                  <a:lumMod val="60000"/>
                  <a:lumOff val="40000"/>
                </a:srgbClr>
              </a:solidFill>
              <a:latin typeface="Calibri"/>
            </a:endParaRPr>
          </a:p>
        </p:txBody>
      </p:sp>
      <p:sp>
        <p:nvSpPr>
          <p:cNvPr id="84" name="Title 1"/>
          <p:cNvSpPr>
            <a:spLocks noGrp="1"/>
          </p:cNvSpPr>
          <p:nvPr>
            <p:ph type="title"/>
          </p:nvPr>
        </p:nvSpPr>
        <p:spPr>
          <a:xfrm>
            <a:off x="531813" y="406400"/>
            <a:ext cx="11125199" cy="889000"/>
          </a:xfrm>
        </p:spPr>
        <p:txBody>
          <a:bodyPr/>
          <a:lstStyle/>
          <a:p>
            <a:r>
              <a:rPr lang="en-US" sz="3500" dirty="0">
                <a:solidFill>
                  <a:srgbClr val="5F5F5F"/>
                </a:solidFill>
              </a:rPr>
              <a:t>Oracle’s </a:t>
            </a:r>
            <a:r>
              <a:rPr lang="en-US" sz="3500" dirty="0">
                <a:solidFill>
                  <a:srgbClr val="FF0000"/>
                </a:solidFill>
              </a:rPr>
              <a:t>Unified Big Data Management </a:t>
            </a:r>
            <a:r>
              <a:rPr lang="en-US" sz="3500" dirty="0"/>
              <a:t>and </a:t>
            </a:r>
            <a:r>
              <a:rPr lang="en-US" sz="3500" dirty="0">
                <a:solidFill>
                  <a:srgbClr val="FF0000"/>
                </a:solidFill>
              </a:rPr>
              <a:t>Analytics Strategy</a:t>
            </a:r>
          </a:p>
        </p:txBody>
      </p:sp>
      <p:graphicFrame>
        <p:nvGraphicFramePr>
          <p:cNvPr id="121" name="Table 120"/>
          <p:cNvGraphicFramePr>
            <a:graphicFrameLocks noGrp="1"/>
          </p:cNvGraphicFramePr>
          <p:nvPr>
            <p:extLst/>
          </p:nvPr>
        </p:nvGraphicFramePr>
        <p:xfrm>
          <a:off x="7161211" y="4996332"/>
          <a:ext cx="756580" cy="478776"/>
        </p:xfrm>
        <a:graphic>
          <a:graphicData uri="http://schemas.openxmlformats.org/drawingml/2006/table">
            <a:tbl>
              <a:tblPr firstRow="1" bandRow="1">
                <a:tableStyleId>{3C2FFA5D-87B4-456A-9821-1D502468CF0F}</a:tableStyleId>
              </a:tblPr>
              <a:tblGrid>
                <a:gridCol w="189145"/>
                <a:gridCol w="189145"/>
                <a:gridCol w="189145"/>
                <a:gridCol w="189145"/>
              </a:tblGrid>
              <a:tr h="159592">
                <a:tc>
                  <a:txBody>
                    <a:bodyPr/>
                    <a:lstStyle/>
                    <a:p>
                      <a:endParaRPr lang="en-US" sz="700" dirty="0"/>
                    </a:p>
                  </a:txBody>
                  <a:tcPr marL="28988" marR="28988" marT="14495" marB="14495"/>
                </a:tc>
                <a:tc>
                  <a:txBody>
                    <a:bodyPr/>
                    <a:lstStyle/>
                    <a:p>
                      <a:endParaRPr lang="en-US" sz="700"/>
                    </a:p>
                  </a:txBody>
                  <a:tcPr marL="28988" marR="28988" marT="14495" marB="14495"/>
                </a:tc>
                <a:tc>
                  <a:txBody>
                    <a:bodyPr/>
                    <a:lstStyle/>
                    <a:p>
                      <a:endParaRPr lang="en-US" sz="700"/>
                    </a:p>
                  </a:txBody>
                  <a:tcPr marL="28988" marR="28988" marT="14495" marB="14495"/>
                </a:tc>
                <a:tc>
                  <a:txBody>
                    <a:bodyPr/>
                    <a:lstStyle/>
                    <a:p>
                      <a:endParaRPr lang="en-US" sz="700"/>
                    </a:p>
                  </a:txBody>
                  <a:tcPr marL="28988" marR="28988" marT="14495" marB="14495"/>
                </a:tc>
              </a:tr>
              <a:tr h="159592">
                <a:tc>
                  <a:txBody>
                    <a:bodyPr/>
                    <a:lstStyle/>
                    <a:p>
                      <a:endParaRPr lang="en-US" sz="700" dirty="0"/>
                    </a:p>
                  </a:txBody>
                  <a:tcPr marL="28988" marR="28988" marT="14495" marB="14495">
                    <a:solidFill>
                      <a:srgbClr val="FFFFFF"/>
                    </a:solidFill>
                  </a:tcPr>
                </a:tc>
                <a:tc>
                  <a:txBody>
                    <a:bodyPr/>
                    <a:lstStyle/>
                    <a:p>
                      <a:endParaRPr lang="en-US" sz="700" dirty="0"/>
                    </a:p>
                  </a:txBody>
                  <a:tcPr marL="28988" marR="28988" marT="14495" marB="14495">
                    <a:solidFill>
                      <a:srgbClr val="FFFFFF"/>
                    </a:solidFill>
                  </a:tcPr>
                </a:tc>
                <a:tc>
                  <a:txBody>
                    <a:bodyPr/>
                    <a:lstStyle/>
                    <a:p>
                      <a:endParaRPr lang="en-US" sz="700" dirty="0"/>
                    </a:p>
                  </a:txBody>
                  <a:tcPr marL="28988" marR="28988" marT="14495" marB="14495">
                    <a:solidFill>
                      <a:srgbClr val="FFFFFF"/>
                    </a:solidFill>
                  </a:tcPr>
                </a:tc>
                <a:tc>
                  <a:txBody>
                    <a:bodyPr/>
                    <a:lstStyle/>
                    <a:p>
                      <a:endParaRPr lang="en-US" sz="700"/>
                    </a:p>
                  </a:txBody>
                  <a:tcPr marL="28988" marR="28988" marT="14495" marB="14495">
                    <a:solidFill>
                      <a:srgbClr val="FFFFFF"/>
                    </a:solidFill>
                  </a:tcPr>
                </a:tc>
              </a:tr>
              <a:tr h="159592">
                <a:tc>
                  <a:txBody>
                    <a:bodyPr/>
                    <a:lstStyle/>
                    <a:p>
                      <a:endParaRPr lang="en-US" sz="700"/>
                    </a:p>
                  </a:txBody>
                  <a:tcPr marL="28988" marR="28988" marT="14495" marB="14495">
                    <a:solidFill>
                      <a:srgbClr val="FFFFFF"/>
                    </a:solidFill>
                  </a:tcPr>
                </a:tc>
                <a:tc>
                  <a:txBody>
                    <a:bodyPr/>
                    <a:lstStyle/>
                    <a:p>
                      <a:endParaRPr lang="en-US" sz="700"/>
                    </a:p>
                  </a:txBody>
                  <a:tcPr marL="28988" marR="28988" marT="14495" marB="14495">
                    <a:solidFill>
                      <a:srgbClr val="FFFFFF"/>
                    </a:solidFill>
                  </a:tcPr>
                </a:tc>
                <a:tc>
                  <a:txBody>
                    <a:bodyPr/>
                    <a:lstStyle/>
                    <a:p>
                      <a:endParaRPr lang="en-US" sz="700" dirty="0"/>
                    </a:p>
                  </a:txBody>
                  <a:tcPr marL="28988" marR="28988" marT="14495" marB="14495">
                    <a:solidFill>
                      <a:srgbClr val="FFFFFF"/>
                    </a:solidFill>
                  </a:tcPr>
                </a:tc>
                <a:tc>
                  <a:txBody>
                    <a:bodyPr/>
                    <a:lstStyle/>
                    <a:p>
                      <a:endParaRPr lang="en-US" sz="700" dirty="0"/>
                    </a:p>
                  </a:txBody>
                  <a:tcPr marL="28988" marR="28988" marT="14495" marB="14495">
                    <a:solidFill>
                      <a:srgbClr val="FFFFFF"/>
                    </a:solidFill>
                  </a:tcPr>
                </a:tc>
              </a:tr>
            </a:tbl>
          </a:graphicData>
        </a:graphic>
      </p:graphicFrame>
      <p:graphicFrame>
        <p:nvGraphicFramePr>
          <p:cNvPr id="122" name="Table 121"/>
          <p:cNvGraphicFramePr>
            <a:graphicFrameLocks noGrp="1"/>
          </p:cNvGraphicFramePr>
          <p:nvPr>
            <p:extLst/>
          </p:nvPr>
        </p:nvGraphicFramePr>
        <p:xfrm>
          <a:off x="7161211" y="3591515"/>
          <a:ext cx="756580" cy="478776"/>
        </p:xfrm>
        <a:graphic>
          <a:graphicData uri="http://schemas.openxmlformats.org/drawingml/2006/table">
            <a:tbl>
              <a:tblPr firstRow="1" bandRow="1">
                <a:tableStyleId>{775DCB02-9BB8-47FD-8907-85C794F793BA}</a:tableStyleId>
              </a:tblPr>
              <a:tblGrid>
                <a:gridCol w="189145"/>
                <a:gridCol w="189145"/>
                <a:gridCol w="189145"/>
                <a:gridCol w="189145"/>
              </a:tblGrid>
              <a:tr h="159592">
                <a:tc>
                  <a:txBody>
                    <a:bodyPr/>
                    <a:lstStyle/>
                    <a:p>
                      <a:endParaRPr lang="en-US" sz="700" dirty="0"/>
                    </a:p>
                  </a:txBody>
                  <a:tcPr marL="28988" marR="28988" marT="14495" marB="14495"/>
                </a:tc>
                <a:tc>
                  <a:txBody>
                    <a:bodyPr/>
                    <a:lstStyle/>
                    <a:p>
                      <a:endParaRPr lang="en-US" sz="700" dirty="0"/>
                    </a:p>
                  </a:txBody>
                  <a:tcPr marL="28988" marR="28988" marT="14495" marB="14495"/>
                </a:tc>
                <a:tc>
                  <a:txBody>
                    <a:bodyPr/>
                    <a:lstStyle/>
                    <a:p>
                      <a:endParaRPr lang="en-US" sz="700" dirty="0"/>
                    </a:p>
                  </a:txBody>
                  <a:tcPr marL="28988" marR="28988" marT="14495" marB="14495"/>
                </a:tc>
                <a:tc>
                  <a:txBody>
                    <a:bodyPr/>
                    <a:lstStyle/>
                    <a:p>
                      <a:endParaRPr lang="en-US" sz="700" dirty="0"/>
                    </a:p>
                  </a:txBody>
                  <a:tcPr marL="28988" marR="28988" marT="14495" marB="14495"/>
                </a:tc>
              </a:tr>
              <a:tr h="159592">
                <a:tc>
                  <a:txBody>
                    <a:bodyPr/>
                    <a:lstStyle/>
                    <a:p>
                      <a:endParaRPr lang="en-US" sz="700" dirty="0"/>
                    </a:p>
                  </a:txBody>
                  <a:tcPr marL="28988" marR="28988" marT="14495" marB="14495">
                    <a:solidFill>
                      <a:schemeClr val="bg1"/>
                    </a:solidFill>
                  </a:tcPr>
                </a:tc>
                <a:tc>
                  <a:txBody>
                    <a:bodyPr/>
                    <a:lstStyle/>
                    <a:p>
                      <a:endParaRPr lang="en-US" sz="700" dirty="0"/>
                    </a:p>
                  </a:txBody>
                  <a:tcPr marL="28988" marR="28988" marT="14495" marB="14495">
                    <a:solidFill>
                      <a:schemeClr val="bg1"/>
                    </a:solidFill>
                  </a:tcPr>
                </a:tc>
                <a:tc>
                  <a:txBody>
                    <a:bodyPr/>
                    <a:lstStyle/>
                    <a:p>
                      <a:endParaRPr lang="en-US" sz="700" dirty="0"/>
                    </a:p>
                  </a:txBody>
                  <a:tcPr marL="28988" marR="28988" marT="14495" marB="14495">
                    <a:solidFill>
                      <a:schemeClr val="bg1"/>
                    </a:solidFill>
                  </a:tcPr>
                </a:tc>
                <a:tc>
                  <a:txBody>
                    <a:bodyPr/>
                    <a:lstStyle/>
                    <a:p>
                      <a:endParaRPr lang="en-US" sz="700" dirty="0"/>
                    </a:p>
                  </a:txBody>
                  <a:tcPr marL="28988" marR="28988" marT="14495" marB="14495">
                    <a:solidFill>
                      <a:schemeClr val="bg1"/>
                    </a:solidFill>
                  </a:tcPr>
                </a:tc>
              </a:tr>
              <a:tr h="159592">
                <a:tc>
                  <a:txBody>
                    <a:bodyPr/>
                    <a:lstStyle/>
                    <a:p>
                      <a:endParaRPr lang="en-US" sz="700"/>
                    </a:p>
                  </a:txBody>
                  <a:tcPr marL="28988" marR="28988" marT="14495" marB="14495">
                    <a:solidFill>
                      <a:schemeClr val="bg1"/>
                    </a:solidFill>
                  </a:tcPr>
                </a:tc>
                <a:tc>
                  <a:txBody>
                    <a:bodyPr/>
                    <a:lstStyle/>
                    <a:p>
                      <a:endParaRPr lang="en-US" sz="700"/>
                    </a:p>
                  </a:txBody>
                  <a:tcPr marL="28988" marR="28988" marT="14495" marB="14495">
                    <a:solidFill>
                      <a:schemeClr val="bg1"/>
                    </a:solidFill>
                  </a:tcPr>
                </a:tc>
                <a:tc>
                  <a:txBody>
                    <a:bodyPr/>
                    <a:lstStyle/>
                    <a:p>
                      <a:endParaRPr lang="en-US" sz="700"/>
                    </a:p>
                  </a:txBody>
                  <a:tcPr marL="28988" marR="28988" marT="14495" marB="14495">
                    <a:solidFill>
                      <a:schemeClr val="bg1"/>
                    </a:solidFill>
                  </a:tcPr>
                </a:tc>
                <a:tc>
                  <a:txBody>
                    <a:bodyPr/>
                    <a:lstStyle/>
                    <a:p>
                      <a:endParaRPr lang="en-US" sz="700" dirty="0"/>
                    </a:p>
                  </a:txBody>
                  <a:tcPr marL="28988" marR="28988" marT="14495" marB="14495">
                    <a:solidFill>
                      <a:schemeClr val="bg1"/>
                    </a:solidFill>
                  </a:tcPr>
                </a:tc>
              </a:tr>
            </a:tbl>
          </a:graphicData>
        </a:graphic>
      </p:graphicFrame>
      <p:sp>
        <p:nvSpPr>
          <p:cNvPr id="70" name="Text Placeholder 2"/>
          <p:cNvSpPr txBox="1">
            <a:spLocks/>
          </p:cNvSpPr>
          <p:nvPr/>
        </p:nvSpPr>
        <p:spPr>
          <a:xfrm>
            <a:off x="8380413" y="1752600"/>
            <a:ext cx="3505200" cy="1905000"/>
          </a:xfrm>
          <a:prstGeom prst="rect">
            <a:avLst/>
          </a:prstGeom>
        </p:spPr>
        <p:txBody>
          <a:bodyPr lIns="91436" tIns="45719" rIns="91436" bIns="45719"/>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a:buClr>
                <a:srgbClr val="5F5F5F">
                  <a:lumMod val="60000"/>
                  <a:lumOff val="40000"/>
                </a:srgbClr>
              </a:buClr>
            </a:pPr>
            <a:r>
              <a:rPr lang="en-US" sz="1900" dirty="0">
                <a:solidFill>
                  <a:srgbClr val="5F5F5F"/>
                </a:solidFill>
                <a:latin typeface="Calibri"/>
              </a:rPr>
              <a:t>Experiment, Prototype, Collaborate</a:t>
            </a:r>
          </a:p>
          <a:p>
            <a:pPr lvl="1">
              <a:buClr>
                <a:srgbClr val="5F5F5F">
                  <a:lumMod val="60000"/>
                  <a:lumOff val="40000"/>
                </a:srgbClr>
              </a:buClr>
            </a:pPr>
            <a:r>
              <a:rPr lang="en-US" sz="1500" dirty="0">
                <a:solidFill>
                  <a:srgbClr val="5F5F5F"/>
                </a:solidFill>
                <a:latin typeface="Calibri"/>
              </a:rPr>
              <a:t>Quickly find, explore, transform, discover and share in BDD</a:t>
            </a:r>
          </a:p>
          <a:p>
            <a:pPr lvl="1">
              <a:buClr>
                <a:srgbClr val="5F5F5F">
                  <a:lumMod val="60000"/>
                  <a:lumOff val="40000"/>
                </a:srgbClr>
              </a:buClr>
            </a:pPr>
            <a:r>
              <a:rPr lang="en-US" sz="1500" dirty="0">
                <a:solidFill>
                  <a:srgbClr val="5F5F5F"/>
                </a:solidFill>
                <a:latin typeface="Calibri"/>
              </a:rPr>
              <a:t>Publish results to HDFS</a:t>
            </a:r>
          </a:p>
          <a:p>
            <a:pPr lvl="1">
              <a:buClr>
                <a:srgbClr val="5F5F5F">
                  <a:lumMod val="60000"/>
                  <a:lumOff val="40000"/>
                </a:srgbClr>
              </a:buClr>
            </a:pPr>
            <a:r>
              <a:rPr lang="en-US" sz="1500" dirty="0">
                <a:solidFill>
                  <a:srgbClr val="5F5F5F"/>
                </a:solidFill>
                <a:latin typeface="Calibri"/>
              </a:rPr>
              <a:t>Use to build predictive models with Oracle R for </a:t>
            </a:r>
            <a:r>
              <a:rPr lang="en-US" sz="1500" dirty="0" err="1">
                <a:solidFill>
                  <a:srgbClr val="5F5F5F"/>
                </a:solidFill>
                <a:latin typeface="Calibri"/>
              </a:rPr>
              <a:t>Hadoop</a:t>
            </a:r>
            <a:endParaRPr lang="en-US" sz="1500" dirty="0">
              <a:solidFill>
                <a:srgbClr val="5F5F5F"/>
              </a:solidFill>
              <a:latin typeface="Calibri"/>
            </a:endParaRPr>
          </a:p>
        </p:txBody>
      </p:sp>
      <p:sp>
        <p:nvSpPr>
          <p:cNvPr id="77" name="Text Placeholder 2"/>
          <p:cNvSpPr txBox="1">
            <a:spLocks/>
          </p:cNvSpPr>
          <p:nvPr/>
        </p:nvSpPr>
        <p:spPr>
          <a:xfrm>
            <a:off x="8380413" y="3657600"/>
            <a:ext cx="3505200" cy="1981200"/>
          </a:xfrm>
          <a:prstGeom prst="rect">
            <a:avLst/>
          </a:prstGeom>
        </p:spPr>
        <p:txBody>
          <a:bodyPr lIns="91436" tIns="45719" rIns="91436" bIns="45719"/>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a:buClr>
                <a:srgbClr val="5F5F5F">
                  <a:lumMod val="60000"/>
                  <a:lumOff val="40000"/>
                </a:srgbClr>
              </a:buClr>
            </a:pPr>
            <a:r>
              <a:rPr lang="en-US" sz="1900" dirty="0">
                <a:solidFill>
                  <a:srgbClr val="5F5F5F"/>
                </a:solidFill>
                <a:latin typeface="Calibri"/>
              </a:rPr>
              <a:t>Productize, Secure, Govern</a:t>
            </a:r>
            <a:endParaRPr lang="en-US" sz="1500" dirty="0">
              <a:solidFill>
                <a:srgbClr val="5F5F5F"/>
              </a:solidFill>
              <a:latin typeface="Calibri"/>
            </a:endParaRPr>
          </a:p>
          <a:p>
            <a:pPr lvl="1">
              <a:buClr>
                <a:srgbClr val="5F5F5F">
                  <a:lumMod val="60000"/>
                  <a:lumOff val="40000"/>
                </a:srgbClr>
              </a:buClr>
            </a:pPr>
            <a:r>
              <a:rPr lang="en-US" sz="1500" dirty="0">
                <a:solidFill>
                  <a:srgbClr val="5F5F5F"/>
                </a:solidFill>
                <a:latin typeface="Calibri"/>
              </a:rPr>
              <a:t>Connect published HDFS files to secure Oracle DB using Oracle Big Data SQL</a:t>
            </a:r>
          </a:p>
          <a:p>
            <a:pPr lvl="1">
              <a:buClr>
                <a:srgbClr val="5F5F5F">
                  <a:lumMod val="60000"/>
                  <a:lumOff val="40000"/>
                </a:srgbClr>
              </a:buClr>
            </a:pPr>
            <a:r>
              <a:rPr lang="en-US" sz="1500" dirty="0">
                <a:solidFill>
                  <a:srgbClr val="5F5F5F"/>
                </a:solidFill>
                <a:latin typeface="Calibri"/>
              </a:rPr>
              <a:t>No data movement required</a:t>
            </a:r>
          </a:p>
          <a:p>
            <a:pPr lvl="1">
              <a:buClr>
                <a:srgbClr val="5F5F5F">
                  <a:lumMod val="60000"/>
                  <a:lumOff val="40000"/>
                </a:srgbClr>
              </a:buClr>
            </a:pPr>
            <a:r>
              <a:rPr lang="en-US" sz="1500" dirty="0">
                <a:solidFill>
                  <a:srgbClr val="5F5F5F"/>
                </a:solidFill>
                <a:latin typeface="Calibri"/>
              </a:rPr>
              <a:t>Seamlessly extends existing DWH and BI investments with non-traditional data in </a:t>
            </a:r>
            <a:r>
              <a:rPr lang="en-US" sz="1500" dirty="0" err="1">
                <a:solidFill>
                  <a:srgbClr val="5F5F5F"/>
                </a:solidFill>
                <a:latin typeface="Calibri"/>
              </a:rPr>
              <a:t>Hadoop</a:t>
            </a:r>
            <a:endParaRPr lang="en-US" sz="1500" dirty="0">
              <a:solidFill>
                <a:srgbClr val="5F5F5F"/>
              </a:solidFill>
              <a:latin typeface="Calibri"/>
            </a:endParaRPr>
          </a:p>
        </p:txBody>
      </p:sp>
      <p:sp>
        <p:nvSpPr>
          <p:cNvPr id="78" name="Text Placeholder 2"/>
          <p:cNvSpPr txBox="1">
            <a:spLocks/>
          </p:cNvSpPr>
          <p:nvPr/>
        </p:nvSpPr>
        <p:spPr>
          <a:xfrm>
            <a:off x="8380413" y="5772150"/>
            <a:ext cx="3505200" cy="533400"/>
          </a:xfrm>
          <a:prstGeom prst="rect">
            <a:avLst/>
          </a:prstGeom>
        </p:spPr>
        <p:txBody>
          <a:bodyPr lIns="91436" tIns="45719" rIns="91436" bIns="45719"/>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a:buClr>
                <a:srgbClr val="5F5F5F">
                  <a:lumMod val="60000"/>
                  <a:lumOff val="40000"/>
                </a:srgbClr>
              </a:buClr>
            </a:pPr>
            <a:r>
              <a:rPr lang="en-US" sz="1900" dirty="0">
                <a:solidFill>
                  <a:srgbClr val="5F5F5F"/>
                </a:solidFill>
                <a:latin typeface="Calibri"/>
              </a:rPr>
              <a:t>Available as Engineered Systems </a:t>
            </a:r>
          </a:p>
        </p:txBody>
      </p:sp>
      <p:grpSp>
        <p:nvGrpSpPr>
          <p:cNvPr id="57" name="Group 56"/>
          <p:cNvGrpSpPr/>
          <p:nvPr/>
        </p:nvGrpSpPr>
        <p:grpSpPr>
          <a:xfrm>
            <a:off x="565913" y="4231198"/>
            <a:ext cx="6243506" cy="1994063"/>
            <a:chOff x="565913" y="4231197"/>
            <a:chExt cx="6243506" cy="1994062"/>
          </a:xfrm>
        </p:grpSpPr>
        <p:sp>
          <p:nvSpPr>
            <p:cNvPr id="62" name="TextBox 61"/>
            <p:cNvSpPr txBox="1"/>
            <p:nvPr/>
          </p:nvSpPr>
          <p:spPr>
            <a:xfrm>
              <a:off x="565913" y="4451330"/>
              <a:ext cx="1535860" cy="430887"/>
            </a:xfrm>
            <a:prstGeom prst="rect">
              <a:avLst/>
            </a:prstGeom>
            <a:noFill/>
          </p:spPr>
          <p:txBody>
            <a:bodyPr wrap="square" rtlCol="0">
              <a:spAutoFit/>
            </a:bodyPr>
            <a:lstStyle/>
            <a:p>
              <a:pPr algn="ctr"/>
              <a:r>
                <a:rPr lang="en-US" sz="1100" dirty="0">
                  <a:solidFill>
                    <a:srgbClr val="5F5F5F"/>
                  </a:solidFill>
                  <a:latin typeface="Calibri"/>
                </a:rPr>
                <a:t>Experiment, Prototype &amp; Collaborate</a:t>
              </a:r>
            </a:p>
          </p:txBody>
        </p:sp>
        <p:sp>
          <p:nvSpPr>
            <p:cNvPr id="88" name="Rectangle 87"/>
            <p:cNvSpPr/>
            <p:nvPr/>
          </p:nvSpPr>
          <p:spPr>
            <a:xfrm>
              <a:off x="3546654" y="4464906"/>
              <a:ext cx="3262765" cy="1478694"/>
            </a:xfrm>
            <a:prstGeom prst="rect">
              <a:avLst/>
            </a:prstGeom>
            <a:solidFill>
              <a:schemeClr val="accent1"/>
            </a:solidFill>
            <a:ln>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lnSpc>
                  <a:spcPct val="90000"/>
                </a:lnSpc>
              </a:pPr>
              <a:r>
                <a:rPr lang="en-US" sz="1500" dirty="0">
                  <a:solidFill>
                    <a:srgbClr val="FFFFFF"/>
                  </a:solidFill>
                  <a:latin typeface="Calibri"/>
                </a:rPr>
                <a:t>Data Reservoir</a:t>
              </a:r>
            </a:p>
          </p:txBody>
        </p:sp>
        <p:sp>
          <p:nvSpPr>
            <p:cNvPr id="104" name="Rectangle 103"/>
            <p:cNvSpPr/>
            <p:nvPr/>
          </p:nvSpPr>
          <p:spPr>
            <a:xfrm>
              <a:off x="4468739" y="4542918"/>
              <a:ext cx="1357031" cy="567437"/>
            </a:xfrm>
            <a:prstGeom prst="rect">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500" dirty="0">
                  <a:solidFill>
                    <a:srgbClr val="5F5F5F"/>
                  </a:solidFill>
                  <a:latin typeface="Calibri"/>
                </a:rPr>
                <a:t>Oracle Big Data Discovery</a:t>
              </a:r>
            </a:p>
          </p:txBody>
        </p:sp>
        <p:sp>
          <p:nvSpPr>
            <p:cNvPr id="108" name="Rectangle 107"/>
            <p:cNvSpPr/>
            <p:nvPr/>
          </p:nvSpPr>
          <p:spPr>
            <a:xfrm>
              <a:off x="4468738" y="5166739"/>
              <a:ext cx="2159073" cy="511054"/>
            </a:xfrm>
            <a:prstGeom prst="rect">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500" dirty="0" err="1">
                  <a:solidFill>
                    <a:srgbClr val="5F5F5F"/>
                  </a:solidFill>
                  <a:latin typeface="Calibri"/>
                </a:rPr>
                <a:t>Hadoop</a:t>
              </a:r>
              <a:r>
                <a:rPr lang="en-US" sz="1500" dirty="0">
                  <a:solidFill>
                    <a:srgbClr val="5F5F5F"/>
                  </a:solidFill>
                  <a:latin typeface="Calibri"/>
                </a:rPr>
                <a:t> (HDFS)</a:t>
              </a:r>
            </a:p>
          </p:txBody>
        </p:sp>
        <p:sp>
          <p:nvSpPr>
            <p:cNvPr id="117" name="Rectangle 116"/>
            <p:cNvSpPr/>
            <p:nvPr/>
          </p:nvSpPr>
          <p:spPr>
            <a:xfrm>
              <a:off x="5879054" y="4542918"/>
              <a:ext cx="748758" cy="567437"/>
            </a:xfrm>
            <a:prstGeom prst="rect">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500" dirty="0">
                  <a:solidFill>
                    <a:srgbClr val="5F5F5F"/>
                  </a:solidFill>
                  <a:latin typeface="Calibri"/>
                </a:rPr>
                <a:t>ORAAH</a:t>
              </a:r>
            </a:p>
          </p:txBody>
        </p:sp>
        <p:grpSp>
          <p:nvGrpSpPr>
            <p:cNvPr id="105" name="Group 52"/>
            <p:cNvGrpSpPr>
              <a:grpSpLocks noChangeAspect="1"/>
            </p:cNvGrpSpPr>
            <p:nvPr/>
          </p:nvGrpSpPr>
          <p:grpSpPr bwMode="auto">
            <a:xfrm>
              <a:off x="2780446" y="4625467"/>
              <a:ext cx="291082" cy="298001"/>
              <a:chOff x="3313" y="1619"/>
              <a:chExt cx="1052" cy="1077"/>
            </a:xfrm>
            <a:solidFill>
              <a:schemeClr val="accent1"/>
            </a:solidFill>
          </p:grpSpPr>
          <p:sp>
            <p:nvSpPr>
              <p:cNvPr id="139" name="Freeform 53"/>
              <p:cNvSpPr>
                <a:spLocks/>
              </p:cNvSpPr>
              <p:nvPr/>
            </p:nvSpPr>
            <p:spPr bwMode="auto">
              <a:xfrm>
                <a:off x="3897" y="2240"/>
                <a:ext cx="165" cy="245"/>
              </a:xfrm>
              <a:custGeom>
                <a:avLst/>
                <a:gdLst>
                  <a:gd name="T0" fmla="*/ 40 w 70"/>
                  <a:gd name="T1" fmla="*/ 7 h 104"/>
                  <a:gd name="T2" fmla="*/ 38 w 70"/>
                  <a:gd name="T3" fmla="*/ 4 h 104"/>
                  <a:gd name="T4" fmla="*/ 38 w 70"/>
                  <a:gd name="T5" fmla="*/ 0 h 104"/>
                  <a:gd name="T6" fmla="*/ 0 w 70"/>
                  <a:gd name="T7" fmla="*/ 32 h 104"/>
                  <a:gd name="T8" fmla="*/ 0 w 70"/>
                  <a:gd name="T9" fmla="*/ 62 h 104"/>
                  <a:gd name="T10" fmla="*/ 8 w 70"/>
                  <a:gd name="T11" fmla="*/ 69 h 104"/>
                  <a:gd name="T12" fmla="*/ 8 w 70"/>
                  <a:gd name="T13" fmla="*/ 75 h 104"/>
                  <a:gd name="T14" fmla="*/ 35 w 70"/>
                  <a:gd name="T15" fmla="*/ 103 h 104"/>
                  <a:gd name="T16" fmla="*/ 63 w 70"/>
                  <a:gd name="T17" fmla="*/ 74 h 104"/>
                  <a:gd name="T18" fmla="*/ 63 w 70"/>
                  <a:gd name="T19" fmla="*/ 74 h 104"/>
                  <a:gd name="T20" fmla="*/ 63 w 70"/>
                  <a:gd name="T21" fmla="*/ 69 h 104"/>
                  <a:gd name="T22" fmla="*/ 70 w 70"/>
                  <a:gd name="T23" fmla="*/ 63 h 104"/>
                  <a:gd name="T24" fmla="*/ 70 w 70"/>
                  <a:gd name="T25" fmla="*/ 35 h 104"/>
                  <a:gd name="T26" fmla="*/ 40 w 70"/>
                  <a:gd name="T27" fmla="*/ 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04">
                    <a:moveTo>
                      <a:pt x="40" y="7"/>
                    </a:moveTo>
                    <a:cubicBezTo>
                      <a:pt x="38" y="7"/>
                      <a:pt x="37" y="6"/>
                      <a:pt x="38" y="4"/>
                    </a:cubicBezTo>
                    <a:cubicBezTo>
                      <a:pt x="38" y="0"/>
                      <a:pt x="38" y="0"/>
                      <a:pt x="38" y="0"/>
                    </a:cubicBezTo>
                    <a:cubicBezTo>
                      <a:pt x="0" y="2"/>
                      <a:pt x="0" y="32"/>
                      <a:pt x="0" y="32"/>
                    </a:cubicBezTo>
                    <a:cubicBezTo>
                      <a:pt x="0" y="62"/>
                      <a:pt x="0" y="62"/>
                      <a:pt x="0" y="62"/>
                    </a:cubicBezTo>
                    <a:cubicBezTo>
                      <a:pt x="8" y="69"/>
                      <a:pt x="8" y="69"/>
                      <a:pt x="8" y="69"/>
                    </a:cubicBezTo>
                    <a:cubicBezTo>
                      <a:pt x="8" y="75"/>
                      <a:pt x="8" y="75"/>
                      <a:pt x="8" y="75"/>
                    </a:cubicBezTo>
                    <a:cubicBezTo>
                      <a:pt x="12" y="104"/>
                      <a:pt x="35" y="103"/>
                      <a:pt x="35" y="103"/>
                    </a:cubicBezTo>
                    <a:cubicBezTo>
                      <a:pt x="35" y="103"/>
                      <a:pt x="59" y="104"/>
                      <a:pt x="63" y="74"/>
                    </a:cubicBezTo>
                    <a:cubicBezTo>
                      <a:pt x="63" y="74"/>
                      <a:pt x="63" y="74"/>
                      <a:pt x="63" y="74"/>
                    </a:cubicBezTo>
                    <a:cubicBezTo>
                      <a:pt x="63" y="69"/>
                      <a:pt x="63" y="69"/>
                      <a:pt x="63" y="69"/>
                    </a:cubicBezTo>
                    <a:cubicBezTo>
                      <a:pt x="70" y="63"/>
                      <a:pt x="70" y="63"/>
                      <a:pt x="70" y="63"/>
                    </a:cubicBezTo>
                    <a:cubicBezTo>
                      <a:pt x="70" y="35"/>
                      <a:pt x="70" y="35"/>
                      <a:pt x="70" y="35"/>
                    </a:cubicBezTo>
                    <a:cubicBezTo>
                      <a:pt x="70" y="21"/>
                      <a:pt x="57" y="7"/>
                      <a:pt x="40"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40" name="Freeform 54"/>
              <p:cNvSpPr>
                <a:spLocks noEditPoints="1"/>
              </p:cNvSpPr>
              <p:nvPr/>
            </p:nvSpPr>
            <p:spPr bwMode="auto">
              <a:xfrm>
                <a:off x="3597" y="2152"/>
                <a:ext cx="768" cy="544"/>
              </a:xfrm>
              <a:custGeom>
                <a:avLst/>
                <a:gdLst>
                  <a:gd name="T0" fmla="*/ 0 w 325"/>
                  <a:gd name="T1" fmla="*/ 230 h 230"/>
                  <a:gd name="T2" fmla="*/ 325 w 325"/>
                  <a:gd name="T3" fmla="*/ 230 h 230"/>
                  <a:gd name="T4" fmla="*/ 325 w 325"/>
                  <a:gd name="T5" fmla="*/ 0 h 230"/>
                  <a:gd name="T6" fmla="*/ 0 w 325"/>
                  <a:gd name="T7" fmla="*/ 0 h 230"/>
                  <a:gd name="T8" fmla="*/ 0 w 325"/>
                  <a:gd name="T9" fmla="*/ 230 h 230"/>
                  <a:gd name="T10" fmla="*/ 298 w 325"/>
                  <a:gd name="T11" fmla="*/ 203 h 230"/>
                  <a:gd name="T12" fmla="*/ 250 w 325"/>
                  <a:gd name="T13" fmla="*/ 203 h 230"/>
                  <a:gd name="T14" fmla="*/ 246 w 325"/>
                  <a:gd name="T15" fmla="*/ 178 h 230"/>
                  <a:gd name="T16" fmla="*/ 241 w 325"/>
                  <a:gd name="T17" fmla="*/ 168 h 230"/>
                  <a:gd name="T18" fmla="*/ 190 w 325"/>
                  <a:gd name="T19" fmla="*/ 145 h 230"/>
                  <a:gd name="T20" fmla="*/ 163 w 325"/>
                  <a:gd name="T21" fmla="*/ 203 h 230"/>
                  <a:gd name="T22" fmla="*/ 162 w 325"/>
                  <a:gd name="T23" fmla="*/ 203 h 230"/>
                  <a:gd name="T24" fmla="*/ 134 w 325"/>
                  <a:gd name="T25" fmla="*/ 145 h 230"/>
                  <a:gd name="T26" fmla="*/ 91 w 325"/>
                  <a:gd name="T27" fmla="*/ 164 h 230"/>
                  <a:gd name="T28" fmla="*/ 78 w 325"/>
                  <a:gd name="T29" fmla="*/ 177 h 230"/>
                  <a:gd name="T30" fmla="*/ 74 w 325"/>
                  <a:gd name="T31" fmla="*/ 203 h 230"/>
                  <a:gd name="T32" fmla="*/ 27 w 325"/>
                  <a:gd name="T33" fmla="*/ 203 h 230"/>
                  <a:gd name="T34" fmla="*/ 27 w 325"/>
                  <a:gd name="T35" fmla="*/ 27 h 230"/>
                  <a:gd name="T36" fmla="*/ 298 w 325"/>
                  <a:gd name="T37" fmla="*/ 27 h 230"/>
                  <a:gd name="T38" fmla="*/ 298 w 325"/>
                  <a:gd name="T39" fmla="*/ 20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5" h="230">
                    <a:moveTo>
                      <a:pt x="0" y="230"/>
                    </a:moveTo>
                    <a:cubicBezTo>
                      <a:pt x="325" y="230"/>
                      <a:pt x="325" y="230"/>
                      <a:pt x="325" y="230"/>
                    </a:cubicBezTo>
                    <a:cubicBezTo>
                      <a:pt x="325" y="0"/>
                      <a:pt x="325" y="0"/>
                      <a:pt x="325" y="0"/>
                    </a:cubicBezTo>
                    <a:cubicBezTo>
                      <a:pt x="0" y="0"/>
                      <a:pt x="0" y="0"/>
                      <a:pt x="0" y="0"/>
                    </a:cubicBezTo>
                    <a:lnTo>
                      <a:pt x="0" y="230"/>
                    </a:lnTo>
                    <a:close/>
                    <a:moveTo>
                      <a:pt x="298" y="203"/>
                    </a:moveTo>
                    <a:cubicBezTo>
                      <a:pt x="250" y="203"/>
                      <a:pt x="250" y="203"/>
                      <a:pt x="250" y="203"/>
                    </a:cubicBezTo>
                    <a:cubicBezTo>
                      <a:pt x="246" y="178"/>
                      <a:pt x="246" y="178"/>
                      <a:pt x="246" y="178"/>
                    </a:cubicBezTo>
                    <a:cubicBezTo>
                      <a:pt x="245" y="174"/>
                      <a:pt x="244" y="171"/>
                      <a:pt x="241" y="168"/>
                    </a:cubicBezTo>
                    <a:cubicBezTo>
                      <a:pt x="238" y="166"/>
                      <a:pt x="190" y="145"/>
                      <a:pt x="190" y="145"/>
                    </a:cubicBezTo>
                    <a:cubicBezTo>
                      <a:pt x="163" y="203"/>
                      <a:pt x="163" y="203"/>
                      <a:pt x="163" y="203"/>
                    </a:cubicBezTo>
                    <a:cubicBezTo>
                      <a:pt x="162" y="203"/>
                      <a:pt x="162" y="203"/>
                      <a:pt x="162" y="203"/>
                    </a:cubicBezTo>
                    <a:cubicBezTo>
                      <a:pt x="134" y="145"/>
                      <a:pt x="134" y="145"/>
                      <a:pt x="134" y="145"/>
                    </a:cubicBezTo>
                    <a:cubicBezTo>
                      <a:pt x="91" y="164"/>
                      <a:pt x="91" y="164"/>
                      <a:pt x="91" y="164"/>
                    </a:cubicBezTo>
                    <a:cubicBezTo>
                      <a:pt x="83" y="166"/>
                      <a:pt x="79" y="171"/>
                      <a:pt x="78" y="177"/>
                    </a:cubicBezTo>
                    <a:cubicBezTo>
                      <a:pt x="74" y="203"/>
                      <a:pt x="74" y="203"/>
                      <a:pt x="74" y="203"/>
                    </a:cubicBezTo>
                    <a:cubicBezTo>
                      <a:pt x="27" y="203"/>
                      <a:pt x="27" y="203"/>
                      <a:pt x="27" y="203"/>
                    </a:cubicBezTo>
                    <a:cubicBezTo>
                      <a:pt x="27" y="27"/>
                      <a:pt x="27" y="27"/>
                      <a:pt x="27" y="27"/>
                    </a:cubicBezTo>
                    <a:cubicBezTo>
                      <a:pt x="298" y="27"/>
                      <a:pt x="298" y="27"/>
                      <a:pt x="298" y="27"/>
                    </a:cubicBezTo>
                    <a:lnTo>
                      <a:pt x="298"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41" name="Freeform 55"/>
              <p:cNvSpPr>
                <a:spLocks noEditPoints="1"/>
              </p:cNvSpPr>
              <p:nvPr/>
            </p:nvSpPr>
            <p:spPr bwMode="auto">
              <a:xfrm>
                <a:off x="3313" y="1713"/>
                <a:ext cx="584" cy="513"/>
              </a:xfrm>
              <a:custGeom>
                <a:avLst/>
                <a:gdLst>
                  <a:gd name="T0" fmla="*/ 214 w 247"/>
                  <a:gd name="T1" fmla="*/ 77 h 217"/>
                  <a:gd name="T2" fmla="*/ 214 w 247"/>
                  <a:gd name="T3" fmla="*/ 0 h 217"/>
                  <a:gd name="T4" fmla="*/ 19 w 247"/>
                  <a:gd name="T5" fmla="*/ 0 h 217"/>
                  <a:gd name="T6" fmla="*/ 0 w 247"/>
                  <a:gd name="T7" fmla="*/ 19 h 217"/>
                  <a:gd name="T8" fmla="*/ 0 w 247"/>
                  <a:gd name="T9" fmla="*/ 146 h 217"/>
                  <a:gd name="T10" fmla="*/ 19 w 247"/>
                  <a:gd name="T11" fmla="*/ 165 h 217"/>
                  <a:gd name="T12" fmla="*/ 34 w 247"/>
                  <a:gd name="T13" fmla="*/ 165 h 217"/>
                  <a:gd name="T14" fmla="*/ 34 w 247"/>
                  <a:gd name="T15" fmla="*/ 165 h 217"/>
                  <a:gd name="T16" fmla="*/ 98 w 247"/>
                  <a:gd name="T17" fmla="*/ 216 h 217"/>
                  <a:gd name="T18" fmla="*/ 99 w 247"/>
                  <a:gd name="T19" fmla="*/ 215 h 217"/>
                  <a:gd name="T20" fmla="*/ 85 w 247"/>
                  <a:gd name="T21" fmla="*/ 175 h 217"/>
                  <a:gd name="T22" fmla="*/ 92 w 247"/>
                  <a:gd name="T23" fmla="*/ 165 h 217"/>
                  <a:gd name="T24" fmla="*/ 92 w 247"/>
                  <a:gd name="T25" fmla="*/ 165 h 217"/>
                  <a:gd name="T26" fmla="*/ 228 w 247"/>
                  <a:gd name="T27" fmla="*/ 165 h 217"/>
                  <a:gd name="T28" fmla="*/ 247 w 247"/>
                  <a:gd name="T29" fmla="*/ 146 h 217"/>
                  <a:gd name="T30" fmla="*/ 247 w 247"/>
                  <a:gd name="T31" fmla="*/ 111 h 217"/>
                  <a:gd name="T32" fmla="*/ 214 w 247"/>
                  <a:gd name="T33" fmla="*/ 77 h 217"/>
                  <a:gd name="T34" fmla="*/ 101 w 247"/>
                  <a:gd name="T35" fmla="*/ 39 h 217"/>
                  <a:gd name="T36" fmla="*/ 123 w 247"/>
                  <a:gd name="T37" fmla="*/ 20 h 217"/>
                  <a:gd name="T38" fmla="*/ 123 w 247"/>
                  <a:gd name="T39" fmla="*/ 23 h 217"/>
                  <a:gd name="T40" fmla="*/ 125 w 247"/>
                  <a:gd name="T41" fmla="*/ 24 h 217"/>
                  <a:gd name="T42" fmla="*/ 142 w 247"/>
                  <a:gd name="T43" fmla="*/ 40 h 217"/>
                  <a:gd name="T44" fmla="*/ 142 w 247"/>
                  <a:gd name="T45" fmla="*/ 57 h 217"/>
                  <a:gd name="T46" fmla="*/ 138 w 247"/>
                  <a:gd name="T47" fmla="*/ 60 h 217"/>
                  <a:gd name="T48" fmla="*/ 138 w 247"/>
                  <a:gd name="T49" fmla="*/ 63 h 217"/>
                  <a:gd name="T50" fmla="*/ 138 w 247"/>
                  <a:gd name="T51" fmla="*/ 63 h 217"/>
                  <a:gd name="T52" fmla="*/ 122 w 247"/>
                  <a:gd name="T53" fmla="*/ 80 h 217"/>
                  <a:gd name="T54" fmla="*/ 106 w 247"/>
                  <a:gd name="T55" fmla="*/ 64 h 217"/>
                  <a:gd name="T56" fmla="*/ 106 w 247"/>
                  <a:gd name="T57" fmla="*/ 60 h 217"/>
                  <a:gd name="T58" fmla="*/ 101 w 247"/>
                  <a:gd name="T59" fmla="*/ 56 h 217"/>
                  <a:gd name="T60" fmla="*/ 101 w 247"/>
                  <a:gd name="T61" fmla="*/ 39 h 217"/>
                  <a:gd name="T62" fmla="*/ 69 w 247"/>
                  <a:gd name="T63" fmla="*/ 149 h 217"/>
                  <a:gd name="T64" fmla="*/ 73 w 247"/>
                  <a:gd name="T65" fmla="*/ 101 h 217"/>
                  <a:gd name="T66" fmla="*/ 81 w 247"/>
                  <a:gd name="T67" fmla="*/ 94 h 217"/>
                  <a:gd name="T68" fmla="*/ 105 w 247"/>
                  <a:gd name="T69" fmla="*/ 83 h 217"/>
                  <a:gd name="T70" fmla="*/ 122 w 247"/>
                  <a:gd name="T71" fmla="*/ 124 h 217"/>
                  <a:gd name="T72" fmla="*/ 138 w 247"/>
                  <a:gd name="T73" fmla="*/ 83 h 217"/>
                  <a:gd name="T74" fmla="*/ 168 w 247"/>
                  <a:gd name="T75" fmla="*/ 96 h 217"/>
                  <a:gd name="T76" fmla="*/ 171 w 247"/>
                  <a:gd name="T77" fmla="*/ 102 h 217"/>
                  <a:gd name="T78" fmla="*/ 174 w 247"/>
                  <a:gd name="T79" fmla="*/ 149 h 217"/>
                  <a:gd name="T80" fmla="*/ 69 w 247"/>
                  <a:gd name="T81" fmla="*/ 14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7" h="217">
                    <a:moveTo>
                      <a:pt x="214" y="77"/>
                    </a:moveTo>
                    <a:cubicBezTo>
                      <a:pt x="214" y="0"/>
                      <a:pt x="214" y="0"/>
                      <a:pt x="214" y="0"/>
                    </a:cubicBezTo>
                    <a:cubicBezTo>
                      <a:pt x="19" y="0"/>
                      <a:pt x="19" y="0"/>
                      <a:pt x="19" y="0"/>
                    </a:cubicBezTo>
                    <a:cubicBezTo>
                      <a:pt x="8" y="0"/>
                      <a:pt x="0" y="8"/>
                      <a:pt x="0" y="19"/>
                    </a:cubicBezTo>
                    <a:cubicBezTo>
                      <a:pt x="0" y="146"/>
                      <a:pt x="0" y="146"/>
                      <a:pt x="0" y="146"/>
                    </a:cubicBezTo>
                    <a:cubicBezTo>
                      <a:pt x="0" y="156"/>
                      <a:pt x="8" y="165"/>
                      <a:pt x="19" y="165"/>
                    </a:cubicBezTo>
                    <a:cubicBezTo>
                      <a:pt x="34" y="165"/>
                      <a:pt x="34" y="165"/>
                      <a:pt x="34" y="165"/>
                    </a:cubicBezTo>
                    <a:cubicBezTo>
                      <a:pt x="34" y="165"/>
                      <a:pt x="34" y="165"/>
                      <a:pt x="34" y="165"/>
                    </a:cubicBezTo>
                    <a:cubicBezTo>
                      <a:pt x="33" y="165"/>
                      <a:pt x="97" y="216"/>
                      <a:pt x="98" y="216"/>
                    </a:cubicBezTo>
                    <a:cubicBezTo>
                      <a:pt x="99" y="217"/>
                      <a:pt x="100" y="216"/>
                      <a:pt x="99" y="215"/>
                    </a:cubicBezTo>
                    <a:cubicBezTo>
                      <a:pt x="85" y="175"/>
                      <a:pt x="85" y="175"/>
                      <a:pt x="85" y="175"/>
                    </a:cubicBezTo>
                    <a:cubicBezTo>
                      <a:pt x="83" y="168"/>
                      <a:pt x="86" y="165"/>
                      <a:pt x="92" y="165"/>
                    </a:cubicBezTo>
                    <a:cubicBezTo>
                      <a:pt x="92" y="165"/>
                      <a:pt x="92" y="165"/>
                      <a:pt x="92" y="165"/>
                    </a:cubicBezTo>
                    <a:cubicBezTo>
                      <a:pt x="228" y="165"/>
                      <a:pt x="228" y="165"/>
                      <a:pt x="228" y="165"/>
                    </a:cubicBezTo>
                    <a:cubicBezTo>
                      <a:pt x="239" y="165"/>
                      <a:pt x="247" y="156"/>
                      <a:pt x="247" y="146"/>
                    </a:cubicBezTo>
                    <a:cubicBezTo>
                      <a:pt x="247" y="111"/>
                      <a:pt x="247" y="111"/>
                      <a:pt x="247" y="111"/>
                    </a:cubicBezTo>
                    <a:cubicBezTo>
                      <a:pt x="229" y="110"/>
                      <a:pt x="214" y="95"/>
                      <a:pt x="214" y="77"/>
                    </a:cubicBezTo>
                    <a:moveTo>
                      <a:pt x="101" y="39"/>
                    </a:moveTo>
                    <a:cubicBezTo>
                      <a:pt x="101" y="39"/>
                      <a:pt x="101" y="21"/>
                      <a:pt x="123" y="20"/>
                    </a:cubicBezTo>
                    <a:cubicBezTo>
                      <a:pt x="123" y="23"/>
                      <a:pt x="123" y="23"/>
                      <a:pt x="123" y="23"/>
                    </a:cubicBezTo>
                    <a:cubicBezTo>
                      <a:pt x="123" y="23"/>
                      <a:pt x="124" y="24"/>
                      <a:pt x="125" y="24"/>
                    </a:cubicBezTo>
                    <a:cubicBezTo>
                      <a:pt x="134" y="24"/>
                      <a:pt x="142" y="32"/>
                      <a:pt x="142" y="40"/>
                    </a:cubicBezTo>
                    <a:cubicBezTo>
                      <a:pt x="142" y="57"/>
                      <a:pt x="142" y="57"/>
                      <a:pt x="142" y="57"/>
                    </a:cubicBezTo>
                    <a:cubicBezTo>
                      <a:pt x="138" y="60"/>
                      <a:pt x="138" y="60"/>
                      <a:pt x="138" y="60"/>
                    </a:cubicBezTo>
                    <a:cubicBezTo>
                      <a:pt x="138" y="63"/>
                      <a:pt x="138" y="63"/>
                      <a:pt x="138" y="63"/>
                    </a:cubicBezTo>
                    <a:cubicBezTo>
                      <a:pt x="138" y="63"/>
                      <a:pt x="138" y="63"/>
                      <a:pt x="138" y="63"/>
                    </a:cubicBezTo>
                    <a:cubicBezTo>
                      <a:pt x="136" y="81"/>
                      <a:pt x="122" y="80"/>
                      <a:pt x="122" y="80"/>
                    </a:cubicBezTo>
                    <a:cubicBezTo>
                      <a:pt x="122" y="80"/>
                      <a:pt x="108" y="81"/>
                      <a:pt x="106" y="64"/>
                    </a:cubicBezTo>
                    <a:cubicBezTo>
                      <a:pt x="106" y="60"/>
                      <a:pt x="106" y="60"/>
                      <a:pt x="106" y="60"/>
                    </a:cubicBezTo>
                    <a:cubicBezTo>
                      <a:pt x="101" y="56"/>
                      <a:pt x="101" y="56"/>
                      <a:pt x="101" y="56"/>
                    </a:cubicBezTo>
                    <a:lnTo>
                      <a:pt x="101" y="39"/>
                    </a:lnTo>
                    <a:close/>
                    <a:moveTo>
                      <a:pt x="69" y="149"/>
                    </a:moveTo>
                    <a:cubicBezTo>
                      <a:pt x="73" y="101"/>
                      <a:pt x="73" y="101"/>
                      <a:pt x="73" y="101"/>
                    </a:cubicBezTo>
                    <a:cubicBezTo>
                      <a:pt x="73" y="98"/>
                      <a:pt x="76" y="95"/>
                      <a:pt x="81" y="94"/>
                    </a:cubicBezTo>
                    <a:cubicBezTo>
                      <a:pt x="105" y="83"/>
                      <a:pt x="105" y="83"/>
                      <a:pt x="105" y="83"/>
                    </a:cubicBezTo>
                    <a:cubicBezTo>
                      <a:pt x="122" y="124"/>
                      <a:pt x="122" y="124"/>
                      <a:pt x="122" y="124"/>
                    </a:cubicBezTo>
                    <a:cubicBezTo>
                      <a:pt x="138" y="83"/>
                      <a:pt x="138" y="83"/>
                      <a:pt x="138" y="83"/>
                    </a:cubicBezTo>
                    <a:cubicBezTo>
                      <a:pt x="138" y="83"/>
                      <a:pt x="166" y="95"/>
                      <a:pt x="168" y="96"/>
                    </a:cubicBezTo>
                    <a:cubicBezTo>
                      <a:pt x="170" y="98"/>
                      <a:pt x="170" y="100"/>
                      <a:pt x="171" y="102"/>
                    </a:cubicBezTo>
                    <a:cubicBezTo>
                      <a:pt x="174" y="149"/>
                      <a:pt x="174" y="149"/>
                      <a:pt x="174" y="149"/>
                    </a:cubicBezTo>
                    <a:lnTo>
                      <a:pt x="69"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42" name="Freeform 56"/>
              <p:cNvSpPr>
                <a:spLocks noEditPoints="1"/>
              </p:cNvSpPr>
              <p:nvPr/>
            </p:nvSpPr>
            <p:spPr bwMode="auto">
              <a:xfrm>
                <a:off x="3850" y="1619"/>
                <a:ext cx="451" cy="489"/>
              </a:xfrm>
              <a:custGeom>
                <a:avLst/>
                <a:gdLst>
                  <a:gd name="T0" fmla="*/ 170 w 191"/>
                  <a:gd name="T1" fmla="*/ 0 h 207"/>
                  <a:gd name="T2" fmla="*/ 21 w 191"/>
                  <a:gd name="T3" fmla="*/ 0 h 207"/>
                  <a:gd name="T4" fmla="*/ 0 w 191"/>
                  <a:gd name="T5" fmla="*/ 21 h 207"/>
                  <a:gd name="T6" fmla="*/ 0 w 191"/>
                  <a:gd name="T7" fmla="*/ 117 h 207"/>
                  <a:gd name="T8" fmla="*/ 21 w 191"/>
                  <a:gd name="T9" fmla="*/ 138 h 207"/>
                  <a:gd name="T10" fmla="*/ 90 w 191"/>
                  <a:gd name="T11" fmla="*/ 138 h 207"/>
                  <a:gd name="T12" fmla="*/ 90 w 191"/>
                  <a:gd name="T13" fmla="*/ 138 h 207"/>
                  <a:gd name="T14" fmla="*/ 97 w 191"/>
                  <a:gd name="T15" fmla="*/ 148 h 207"/>
                  <a:gd name="T16" fmla="*/ 71 w 191"/>
                  <a:gd name="T17" fmla="*/ 204 h 207"/>
                  <a:gd name="T18" fmla="*/ 72 w 191"/>
                  <a:gd name="T19" fmla="*/ 206 h 207"/>
                  <a:gd name="T20" fmla="*/ 153 w 191"/>
                  <a:gd name="T21" fmla="*/ 138 h 207"/>
                  <a:gd name="T22" fmla="*/ 153 w 191"/>
                  <a:gd name="T23" fmla="*/ 138 h 207"/>
                  <a:gd name="T24" fmla="*/ 170 w 191"/>
                  <a:gd name="T25" fmla="*/ 138 h 207"/>
                  <a:gd name="T26" fmla="*/ 191 w 191"/>
                  <a:gd name="T27" fmla="*/ 117 h 207"/>
                  <a:gd name="T28" fmla="*/ 191 w 191"/>
                  <a:gd name="T29" fmla="*/ 21 h 207"/>
                  <a:gd name="T30" fmla="*/ 170 w 191"/>
                  <a:gd name="T31" fmla="*/ 0 h 207"/>
                  <a:gd name="T32" fmla="*/ 79 w 191"/>
                  <a:gd name="T33" fmla="*/ 32 h 207"/>
                  <a:gd name="T34" fmla="*/ 97 w 191"/>
                  <a:gd name="T35" fmla="*/ 17 h 207"/>
                  <a:gd name="T36" fmla="*/ 97 w 191"/>
                  <a:gd name="T37" fmla="*/ 19 h 207"/>
                  <a:gd name="T38" fmla="*/ 98 w 191"/>
                  <a:gd name="T39" fmla="*/ 20 h 207"/>
                  <a:gd name="T40" fmla="*/ 112 w 191"/>
                  <a:gd name="T41" fmla="*/ 33 h 207"/>
                  <a:gd name="T42" fmla="*/ 112 w 191"/>
                  <a:gd name="T43" fmla="*/ 46 h 207"/>
                  <a:gd name="T44" fmla="*/ 108 w 191"/>
                  <a:gd name="T45" fmla="*/ 49 h 207"/>
                  <a:gd name="T46" fmla="*/ 108 w 191"/>
                  <a:gd name="T47" fmla="*/ 51 h 207"/>
                  <a:gd name="T48" fmla="*/ 108 w 191"/>
                  <a:gd name="T49" fmla="*/ 51 h 207"/>
                  <a:gd name="T50" fmla="*/ 96 w 191"/>
                  <a:gd name="T51" fmla="*/ 65 h 207"/>
                  <a:gd name="T52" fmla="*/ 83 w 191"/>
                  <a:gd name="T53" fmla="*/ 52 h 207"/>
                  <a:gd name="T54" fmla="*/ 83 w 191"/>
                  <a:gd name="T55" fmla="*/ 49 h 207"/>
                  <a:gd name="T56" fmla="*/ 79 w 191"/>
                  <a:gd name="T57" fmla="*/ 46 h 207"/>
                  <a:gd name="T58" fmla="*/ 79 w 191"/>
                  <a:gd name="T59" fmla="*/ 32 h 207"/>
                  <a:gd name="T60" fmla="*/ 54 w 191"/>
                  <a:gd name="T61" fmla="*/ 120 h 207"/>
                  <a:gd name="T62" fmla="*/ 57 w 191"/>
                  <a:gd name="T63" fmla="*/ 82 h 207"/>
                  <a:gd name="T64" fmla="*/ 63 w 191"/>
                  <a:gd name="T65" fmla="*/ 76 h 207"/>
                  <a:gd name="T66" fmla="*/ 83 w 191"/>
                  <a:gd name="T67" fmla="*/ 67 h 207"/>
                  <a:gd name="T68" fmla="*/ 96 w 191"/>
                  <a:gd name="T69" fmla="*/ 100 h 207"/>
                  <a:gd name="T70" fmla="*/ 109 w 191"/>
                  <a:gd name="T71" fmla="*/ 67 h 207"/>
                  <a:gd name="T72" fmla="*/ 132 w 191"/>
                  <a:gd name="T73" fmla="*/ 78 h 207"/>
                  <a:gd name="T74" fmla="*/ 135 w 191"/>
                  <a:gd name="T75" fmla="*/ 82 h 207"/>
                  <a:gd name="T76" fmla="*/ 138 w 191"/>
                  <a:gd name="T77" fmla="*/ 120 h 207"/>
                  <a:gd name="T78" fmla="*/ 54 w 191"/>
                  <a:gd name="T79" fmla="*/ 12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1" h="207">
                    <a:moveTo>
                      <a:pt x="170" y="0"/>
                    </a:moveTo>
                    <a:cubicBezTo>
                      <a:pt x="21" y="0"/>
                      <a:pt x="21" y="0"/>
                      <a:pt x="21" y="0"/>
                    </a:cubicBezTo>
                    <a:cubicBezTo>
                      <a:pt x="10" y="0"/>
                      <a:pt x="0" y="9"/>
                      <a:pt x="0" y="21"/>
                    </a:cubicBezTo>
                    <a:cubicBezTo>
                      <a:pt x="0" y="117"/>
                      <a:pt x="0" y="117"/>
                      <a:pt x="0" y="117"/>
                    </a:cubicBezTo>
                    <a:cubicBezTo>
                      <a:pt x="0" y="128"/>
                      <a:pt x="10" y="138"/>
                      <a:pt x="21" y="138"/>
                    </a:cubicBezTo>
                    <a:cubicBezTo>
                      <a:pt x="90" y="138"/>
                      <a:pt x="90" y="138"/>
                      <a:pt x="90" y="138"/>
                    </a:cubicBezTo>
                    <a:cubicBezTo>
                      <a:pt x="90" y="138"/>
                      <a:pt x="90" y="138"/>
                      <a:pt x="90" y="138"/>
                    </a:cubicBezTo>
                    <a:cubicBezTo>
                      <a:pt x="96" y="138"/>
                      <a:pt x="99" y="141"/>
                      <a:pt x="97" y="148"/>
                    </a:cubicBezTo>
                    <a:cubicBezTo>
                      <a:pt x="71" y="204"/>
                      <a:pt x="71" y="204"/>
                      <a:pt x="71" y="204"/>
                    </a:cubicBezTo>
                    <a:cubicBezTo>
                      <a:pt x="70" y="206"/>
                      <a:pt x="71" y="207"/>
                      <a:pt x="72" y="206"/>
                    </a:cubicBezTo>
                    <a:cubicBezTo>
                      <a:pt x="73" y="206"/>
                      <a:pt x="154" y="138"/>
                      <a:pt x="153" y="138"/>
                    </a:cubicBezTo>
                    <a:cubicBezTo>
                      <a:pt x="153" y="138"/>
                      <a:pt x="153" y="138"/>
                      <a:pt x="153" y="138"/>
                    </a:cubicBezTo>
                    <a:cubicBezTo>
                      <a:pt x="170" y="138"/>
                      <a:pt x="170" y="138"/>
                      <a:pt x="170" y="138"/>
                    </a:cubicBezTo>
                    <a:cubicBezTo>
                      <a:pt x="181" y="138"/>
                      <a:pt x="191" y="128"/>
                      <a:pt x="191" y="117"/>
                    </a:cubicBezTo>
                    <a:cubicBezTo>
                      <a:pt x="191" y="21"/>
                      <a:pt x="191" y="21"/>
                      <a:pt x="191" y="21"/>
                    </a:cubicBezTo>
                    <a:cubicBezTo>
                      <a:pt x="191" y="9"/>
                      <a:pt x="181" y="0"/>
                      <a:pt x="170" y="0"/>
                    </a:cubicBezTo>
                    <a:moveTo>
                      <a:pt x="79" y="32"/>
                    </a:moveTo>
                    <a:cubicBezTo>
                      <a:pt x="79" y="32"/>
                      <a:pt x="79" y="18"/>
                      <a:pt x="97" y="17"/>
                    </a:cubicBezTo>
                    <a:cubicBezTo>
                      <a:pt x="97" y="19"/>
                      <a:pt x="97" y="19"/>
                      <a:pt x="97" y="19"/>
                    </a:cubicBezTo>
                    <a:cubicBezTo>
                      <a:pt x="97" y="20"/>
                      <a:pt x="97" y="20"/>
                      <a:pt x="98" y="20"/>
                    </a:cubicBezTo>
                    <a:cubicBezTo>
                      <a:pt x="106" y="20"/>
                      <a:pt x="112" y="27"/>
                      <a:pt x="112" y="33"/>
                    </a:cubicBezTo>
                    <a:cubicBezTo>
                      <a:pt x="112" y="46"/>
                      <a:pt x="112" y="46"/>
                      <a:pt x="112" y="46"/>
                    </a:cubicBezTo>
                    <a:cubicBezTo>
                      <a:pt x="108" y="49"/>
                      <a:pt x="108" y="49"/>
                      <a:pt x="108" y="49"/>
                    </a:cubicBezTo>
                    <a:cubicBezTo>
                      <a:pt x="108" y="51"/>
                      <a:pt x="108" y="51"/>
                      <a:pt x="108" y="51"/>
                    </a:cubicBezTo>
                    <a:cubicBezTo>
                      <a:pt x="108" y="51"/>
                      <a:pt x="108" y="51"/>
                      <a:pt x="108" y="51"/>
                    </a:cubicBezTo>
                    <a:cubicBezTo>
                      <a:pt x="107" y="65"/>
                      <a:pt x="96" y="65"/>
                      <a:pt x="96" y="65"/>
                    </a:cubicBezTo>
                    <a:cubicBezTo>
                      <a:pt x="96" y="65"/>
                      <a:pt x="85" y="65"/>
                      <a:pt x="83" y="52"/>
                    </a:cubicBezTo>
                    <a:cubicBezTo>
                      <a:pt x="83" y="49"/>
                      <a:pt x="83" y="49"/>
                      <a:pt x="83" y="49"/>
                    </a:cubicBezTo>
                    <a:cubicBezTo>
                      <a:pt x="79" y="46"/>
                      <a:pt x="79" y="46"/>
                      <a:pt x="79" y="46"/>
                    </a:cubicBezTo>
                    <a:lnTo>
                      <a:pt x="79" y="32"/>
                    </a:lnTo>
                    <a:close/>
                    <a:moveTo>
                      <a:pt x="54" y="120"/>
                    </a:moveTo>
                    <a:cubicBezTo>
                      <a:pt x="57" y="82"/>
                      <a:pt x="57" y="82"/>
                      <a:pt x="57" y="82"/>
                    </a:cubicBezTo>
                    <a:cubicBezTo>
                      <a:pt x="57" y="79"/>
                      <a:pt x="59" y="77"/>
                      <a:pt x="63" y="76"/>
                    </a:cubicBezTo>
                    <a:cubicBezTo>
                      <a:pt x="83" y="67"/>
                      <a:pt x="83" y="67"/>
                      <a:pt x="83" y="67"/>
                    </a:cubicBezTo>
                    <a:cubicBezTo>
                      <a:pt x="96" y="100"/>
                      <a:pt x="96" y="100"/>
                      <a:pt x="96" y="100"/>
                    </a:cubicBezTo>
                    <a:cubicBezTo>
                      <a:pt x="109" y="67"/>
                      <a:pt x="109" y="67"/>
                      <a:pt x="109" y="67"/>
                    </a:cubicBezTo>
                    <a:cubicBezTo>
                      <a:pt x="109" y="67"/>
                      <a:pt x="131" y="77"/>
                      <a:pt x="132" y="78"/>
                    </a:cubicBezTo>
                    <a:cubicBezTo>
                      <a:pt x="134" y="79"/>
                      <a:pt x="134" y="81"/>
                      <a:pt x="135" y="82"/>
                    </a:cubicBezTo>
                    <a:cubicBezTo>
                      <a:pt x="138" y="120"/>
                      <a:pt x="138" y="120"/>
                      <a:pt x="138" y="120"/>
                    </a:cubicBezTo>
                    <a:lnTo>
                      <a:pt x="5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sp>
          <p:nvSpPr>
            <p:cNvPr id="107" name="Freeform 61"/>
            <p:cNvSpPr>
              <a:spLocks noEditPoints="1"/>
            </p:cNvSpPr>
            <p:nvPr/>
          </p:nvSpPr>
          <p:spPr bwMode="auto">
            <a:xfrm>
              <a:off x="2843157" y="5466621"/>
              <a:ext cx="217171" cy="282662"/>
            </a:xfrm>
            <a:custGeom>
              <a:avLst/>
              <a:gdLst>
                <a:gd name="T0" fmla="*/ 351 w 351"/>
                <a:gd name="T1" fmla="*/ 90 h 457"/>
                <a:gd name="T2" fmla="*/ 351 w 351"/>
                <a:gd name="T3" fmla="*/ 457 h 457"/>
                <a:gd name="T4" fmla="*/ 0 w 351"/>
                <a:gd name="T5" fmla="*/ 457 h 457"/>
                <a:gd name="T6" fmla="*/ 0 w 351"/>
                <a:gd name="T7" fmla="*/ 0 h 457"/>
                <a:gd name="T8" fmla="*/ 254 w 351"/>
                <a:gd name="T9" fmla="*/ 0 h 457"/>
                <a:gd name="T10" fmla="*/ 254 w 351"/>
                <a:gd name="T11" fmla="*/ 1 h 457"/>
                <a:gd name="T12" fmla="*/ 262 w 351"/>
                <a:gd name="T13" fmla="*/ 1 h 457"/>
                <a:gd name="T14" fmla="*/ 351 w 351"/>
                <a:gd name="T15" fmla="*/ 90 h 457"/>
                <a:gd name="T16" fmla="*/ 280 w 351"/>
                <a:gd name="T17" fmla="*/ 99 h 457"/>
                <a:gd name="T18" fmla="*/ 72 w 351"/>
                <a:gd name="T19" fmla="*/ 99 h 457"/>
                <a:gd name="T20" fmla="*/ 72 w 351"/>
                <a:gd name="T21" fmla="*/ 118 h 457"/>
                <a:gd name="T22" fmla="*/ 280 w 351"/>
                <a:gd name="T23" fmla="*/ 118 h 457"/>
                <a:gd name="T24" fmla="*/ 280 w 351"/>
                <a:gd name="T25" fmla="*/ 99 h 457"/>
                <a:gd name="T26" fmla="*/ 280 w 351"/>
                <a:gd name="T27" fmla="*/ 261 h 457"/>
                <a:gd name="T28" fmla="*/ 72 w 351"/>
                <a:gd name="T29" fmla="*/ 261 h 457"/>
                <a:gd name="T30" fmla="*/ 72 w 351"/>
                <a:gd name="T31" fmla="*/ 280 h 457"/>
                <a:gd name="T32" fmla="*/ 280 w 351"/>
                <a:gd name="T33" fmla="*/ 280 h 457"/>
                <a:gd name="T34" fmla="*/ 280 w 351"/>
                <a:gd name="T35" fmla="*/ 261 h 457"/>
                <a:gd name="T36" fmla="*/ 280 w 351"/>
                <a:gd name="T37" fmla="*/ 180 h 457"/>
                <a:gd name="T38" fmla="*/ 72 w 351"/>
                <a:gd name="T39" fmla="*/ 180 h 457"/>
                <a:gd name="T40" fmla="*/ 72 w 351"/>
                <a:gd name="T41" fmla="*/ 199 h 457"/>
                <a:gd name="T42" fmla="*/ 280 w 351"/>
                <a:gd name="T43" fmla="*/ 199 h 457"/>
                <a:gd name="T44" fmla="*/ 280 w 351"/>
                <a:gd name="T45" fmla="*/ 180 h 457"/>
                <a:gd name="T46" fmla="*/ 280 w 351"/>
                <a:gd name="T47" fmla="*/ 341 h 457"/>
                <a:gd name="T48" fmla="*/ 72 w 351"/>
                <a:gd name="T49" fmla="*/ 341 h 457"/>
                <a:gd name="T50" fmla="*/ 72 w 351"/>
                <a:gd name="T51" fmla="*/ 360 h 457"/>
                <a:gd name="T52" fmla="*/ 280 w 351"/>
                <a:gd name="T53" fmla="*/ 360 h 457"/>
                <a:gd name="T54" fmla="*/ 280 w 351"/>
                <a:gd name="T55" fmla="*/ 341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1" h="457">
                  <a:moveTo>
                    <a:pt x="351" y="90"/>
                  </a:moveTo>
                  <a:cubicBezTo>
                    <a:pt x="351" y="457"/>
                    <a:pt x="351" y="457"/>
                    <a:pt x="351" y="457"/>
                  </a:cubicBezTo>
                  <a:cubicBezTo>
                    <a:pt x="0" y="457"/>
                    <a:pt x="0" y="457"/>
                    <a:pt x="0" y="457"/>
                  </a:cubicBezTo>
                  <a:cubicBezTo>
                    <a:pt x="0" y="0"/>
                    <a:pt x="0" y="0"/>
                    <a:pt x="0" y="0"/>
                  </a:cubicBezTo>
                  <a:cubicBezTo>
                    <a:pt x="254" y="0"/>
                    <a:pt x="254" y="0"/>
                    <a:pt x="254" y="0"/>
                  </a:cubicBezTo>
                  <a:cubicBezTo>
                    <a:pt x="254" y="1"/>
                    <a:pt x="254" y="1"/>
                    <a:pt x="254" y="1"/>
                  </a:cubicBezTo>
                  <a:cubicBezTo>
                    <a:pt x="262" y="1"/>
                    <a:pt x="262" y="1"/>
                    <a:pt x="262" y="1"/>
                  </a:cubicBezTo>
                  <a:cubicBezTo>
                    <a:pt x="311" y="1"/>
                    <a:pt x="351" y="41"/>
                    <a:pt x="351" y="90"/>
                  </a:cubicBezTo>
                  <a:moveTo>
                    <a:pt x="280" y="99"/>
                  </a:moveTo>
                  <a:cubicBezTo>
                    <a:pt x="72" y="99"/>
                    <a:pt x="72" y="99"/>
                    <a:pt x="72" y="99"/>
                  </a:cubicBezTo>
                  <a:cubicBezTo>
                    <a:pt x="72" y="118"/>
                    <a:pt x="72" y="118"/>
                    <a:pt x="72" y="118"/>
                  </a:cubicBezTo>
                  <a:cubicBezTo>
                    <a:pt x="280" y="118"/>
                    <a:pt x="280" y="118"/>
                    <a:pt x="280" y="118"/>
                  </a:cubicBezTo>
                  <a:lnTo>
                    <a:pt x="280" y="99"/>
                  </a:lnTo>
                  <a:close/>
                  <a:moveTo>
                    <a:pt x="280" y="261"/>
                  </a:moveTo>
                  <a:cubicBezTo>
                    <a:pt x="72" y="261"/>
                    <a:pt x="72" y="261"/>
                    <a:pt x="72" y="261"/>
                  </a:cubicBezTo>
                  <a:cubicBezTo>
                    <a:pt x="72" y="280"/>
                    <a:pt x="72" y="280"/>
                    <a:pt x="72" y="280"/>
                  </a:cubicBezTo>
                  <a:cubicBezTo>
                    <a:pt x="280" y="280"/>
                    <a:pt x="280" y="280"/>
                    <a:pt x="280" y="280"/>
                  </a:cubicBezTo>
                  <a:lnTo>
                    <a:pt x="280" y="261"/>
                  </a:lnTo>
                  <a:close/>
                  <a:moveTo>
                    <a:pt x="280" y="180"/>
                  </a:moveTo>
                  <a:cubicBezTo>
                    <a:pt x="72" y="180"/>
                    <a:pt x="72" y="180"/>
                    <a:pt x="72" y="180"/>
                  </a:cubicBezTo>
                  <a:cubicBezTo>
                    <a:pt x="72" y="199"/>
                    <a:pt x="72" y="199"/>
                    <a:pt x="72" y="199"/>
                  </a:cubicBezTo>
                  <a:cubicBezTo>
                    <a:pt x="280" y="199"/>
                    <a:pt x="280" y="199"/>
                    <a:pt x="280" y="199"/>
                  </a:cubicBezTo>
                  <a:lnTo>
                    <a:pt x="280" y="180"/>
                  </a:lnTo>
                  <a:close/>
                  <a:moveTo>
                    <a:pt x="280" y="341"/>
                  </a:moveTo>
                  <a:cubicBezTo>
                    <a:pt x="72" y="341"/>
                    <a:pt x="72" y="341"/>
                    <a:pt x="72" y="341"/>
                  </a:cubicBezTo>
                  <a:cubicBezTo>
                    <a:pt x="72" y="360"/>
                    <a:pt x="72" y="360"/>
                    <a:pt x="72" y="360"/>
                  </a:cubicBezTo>
                  <a:cubicBezTo>
                    <a:pt x="280" y="360"/>
                    <a:pt x="280" y="360"/>
                    <a:pt x="280" y="360"/>
                  </a:cubicBezTo>
                  <a:lnTo>
                    <a:pt x="280" y="3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nvGrpSpPr>
            <p:cNvPr id="109" name="Group 65"/>
            <p:cNvGrpSpPr>
              <a:grpSpLocks noChangeAspect="1"/>
            </p:cNvGrpSpPr>
            <p:nvPr/>
          </p:nvGrpSpPr>
          <p:grpSpPr bwMode="auto">
            <a:xfrm>
              <a:off x="3134346" y="5109255"/>
              <a:ext cx="282105" cy="189029"/>
              <a:chOff x="719" y="3440"/>
              <a:chExt cx="1079" cy="723"/>
            </a:xfrm>
            <a:solidFill>
              <a:schemeClr val="accent1"/>
            </a:solidFill>
          </p:grpSpPr>
          <p:sp>
            <p:nvSpPr>
              <p:cNvPr id="137" name="Freeform 66"/>
              <p:cNvSpPr>
                <a:spLocks noEditPoints="1"/>
              </p:cNvSpPr>
              <p:nvPr/>
            </p:nvSpPr>
            <p:spPr bwMode="auto">
              <a:xfrm>
                <a:off x="1106" y="3553"/>
                <a:ext cx="281" cy="284"/>
              </a:xfrm>
              <a:custGeom>
                <a:avLst/>
                <a:gdLst>
                  <a:gd name="T0" fmla="*/ 62 w 119"/>
                  <a:gd name="T1" fmla="*/ 120 h 120"/>
                  <a:gd name="T2" fmla="*/ 111 w 119"/>
                  <a:gd name="T3" fmla="*/ 102 h 120"/>
                  <a:gd name="T4" fmla="*/ 112 w 119"/>
                  <a:gd name="T5" fmla="*/ 101 h 120"/>
                  <a:gd name="T6" fmla="*/ 104 w 119"/>
                  <a:gd name="T7" fmla="*/ 91 h 120"/>
                  <a:gd name="T8" fmla="*/ 103 w 119"/>
                  <a:gd name="T9" fmla="*/ 92 h 120"/>
                  <a:gd name="T10" fmla="*/ 63 w 119"/>
                  <a:gd name="T11" fmla="*/ 107 h 120"/>
                  <a:gd name="T12" fmla="*/ 14 w 119"/>
                  <a:gd name="T13" fmla="*/ 62 h 120"/>
                  <a:gd name="T14" fmla="*/ 64 w 119"/>
                  <a:gd name="T15" fmla="*/ 13 h 120"/>
                  <a:gd name="T16" fmla="*/ 104 w 119"/>
                  <a:gd name="T17" fmla="*/ 48 h 120"/>
                  <a:gd name="T18" fmla="*/ 89 w 119"/>
                  <a:gd name="T19" fmla="*/ 76 h 120"/>
                  <a:gd name="T20" fmla="*/ 85 w 119"/>
                  <a:gd name="T21" fmla="*/ 72 h 120"/>
                  <a:gd name="T22" fmla="*/ 87 w 119"/>
                  <a:gd name="T23" fmla="*/ 64 h 120"/>
                  <a:gd name="T24" fmla="*/ 97 w 119"/>
                  <a:gd name="T25" fmla="*/ 29 h 120"/>
                  <a:gd name="T26" fmla="*/ 76 w 119"/>
                  <a:gd name="T27" fmla="*/ 29 h 120"/>
                  <a:gd name="T28" fmla="*/ 75 w 119"/>
                  <a:gd name="T29" fmla="*/ 33 h 120"/>
                  <a:gd name="T30" fmla="*/ 60 w 119"/>
                  <a:gd name="T31" fmla="*/ 26 h 120"/>
                  <a:gd name="T32" fmla="*/ 26 w 119"/>
                  <a:gd name="T33" fmla="*/ 65 h 120"/>
                  <a:gd name="T34" fmla="*/ 50 w 119"/>
                  <a:gd name="T35" fmla="*/ 91 h 120"/>
                  <a:gd name="T36" fmla="*/ 69 w 119"/>
                  <a:gd name="T37" fmla="*/ 81 h 120"/>
                  <a:gd name="T38" fmla="*/ 84 w 119"/>
                  <a:gd name="T39" fmla="*/ 90 h 120"/>
                  <a:gd name="T40" fmla="*/ 119 w 119"/>
                  <a:gd name="T41" fmla="*/ 48 h 120"/>
                  <a:gd name="T42" fmla="*/ 64 w 119"/>
                  <a:gd name="T43" fmla="*/ 0 h 120"/>
                  <a:gd name="T44" fmla="*/ 0 w 119"/>
                  <a:gd name="T45" fmla="*/ 61 h 120"/>
                  <a:gd name="T46" fmla="*/ 62 w 119"/>
                  <a:gd name="T47" fmla="*/ 120 h 120"/>
                  <a:gd name="T48" fmla="*/ 63 w 119"/>
                  <a:gd name="T49" fmla="*/ 69 h 120"/>
                  <a:gd name="T50" fmla="*/ 55 w 119"/>
                  <a:gd name="T51" fmla="*/ 76 h 120"/>
                  <a:gd name="T52" fmla="*/ 50 w 119"/>
                  <a:gd name="T53" fmla="*/ 67 h 120"/>
                  <a:gd name="T54" fmla="*/ 64 w 119"/>
                  <a:gd name="T55" fmla="*/ 42 h 120"/>
                  <a:gd name="T56" fmla="*/ 69 w 119"/>
                  <a:gd name="T57" fmla="*/ 47 h 120"/>
                  <a:gd name="T58" fmla="*/ 63 w 119"/>
                  <a:gd name="T59" fmla="*/ 6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9" h="120">
                    <a:moveTo>
                      <a:pt x="62" y="120"/>
                    </a:moveTo>
                    <a:cubicBezTo>
                      <a:pt x="79" y="120"/>
                      <a:pt x="94" y="115"/>
                      <a:pt x="111" y="102"/>
                    </a:cubicBezTo>
                    <a:cubicBezTo>
                      <a:pt x="112" y="101"/>
                      <a:pt x="112" y="101"/>
                      <a:pt x="112" y="101"/>
                    </a:cubicBezTo>
                    <a:cubicBezTo>
                      <a:pt x="104" y="91"/>
                      <a:pt x="104" y="91"/>
                      <a:pt x="104" y="91"/>
                    </a:cubicBezTo>
                    <a:cubicBezTo>
                      <a:pt x="103" y="92"/>
                      <a:pt x="103" y="92"/>
                      <a:pt x="103" y="92"/>
                    </a:cubicBezTo>
                    <a:cubicBezTo>
                      <a:pt x="91" y="101"/>
                      <a:pt x="76" y="107"/>
                      <a:pt x="63" y="107"/>
                    </a:cubicBezTo>
                    <a:cubicBezTo>
                      <a:pt x="29" y="107"/>
                      <a:pt x="14" y="83"/>
                      <a:pt x="14" y="62"/>
                    </a:cubicBezTo>
                    <a:cubicBezTo>
                      <a:pt x="14" y="34"/>
                      <a:pt x="35" y="13"/>
                      <a:pt x="64" y="13"/>
                    </a:cubicBezTo>
                    <a:cubicBezTo>
                      <a:pt x="84" y="13"/>
                      <a:pt x="104" y="24"/>
                      <a:pt x="104" y="48"/>
                    </a:cubicBezTo>
                    <a:cubicBezTo>
                      <a:pt x="104" y="65"/>
                      <a:pt x="94" y="76"/>
                      <a:pt x="89" y="76"/>
                    </a:cubicBezTo>
                    <a:cubicBezTo>
                      <a:pt x="87" y="76"/>
                      <a:pt x="85" y="75"/>
                      <a:pt x="85" y="72"/>
                    </a:cubicBezTo>
                    <a:cubicBezTo>
                      <a:pt x="85" y="71"/>
                      <a:pt x="86" y="67"/>
                      <a:pt x="87" y="64"/>
                    </a:cubicBezTo>
                    <a:cubicBezTo>
                      <a:pt x="97" y="29"/>
                      <a:pt x="97" y="29"/>
                      <a:pt x="97" y="29"/>
                    </a:cubicBezTo>
                    <a:cubicBezTo>
                      <a:pt x="76" y="29"/>
                      <a:pt x="76" y="29"/>
                      <a:pt x="76" y="29"/>
                    </a:cubicBezTo>
                    <a:cubicBezTo>
                      <a:pt x="75" y="33"/>
                      <a:pt x="75" y="33"/>
                      <a:pt x="75" y="33"/>
                    </a:cubicBezTo>
                    <a:cubicBezTo>
                      <a:pt x="72" y="29"/>
                      <a:pt x="66" y="26"/>
                      <a:pt x="60" y="26"/>
                    </a:cubicBezTo>
                    <a:cubicBezTo>
                      <a:pt x="40" y="26"/>
                      <a:pt x="26" y="47"/>
                      <a:pt x="26" y="65"/>
                    </a:cubicBezTo>
                    <a:cubicBezTo>
                      <a:pt x="26" y="81"/>
                      <a:pt x="36" y="91"/>
                      <a:pt x="50" y="91"/>
                    </a:cubicBezTo>
                    <a:cubicBezTo>
                      <a:pt x="54" y="91"/>
                      <a:pt x="63" y="90"/>
                      <a:pt x="69" y="81"/>
                    </a:cubicBezTo>
                    <a:cubicBezTo>
                      <a:pt x="72" y="88"/>
                      <a:pt x="78" y="90"/>
                      <a:pt x="84" y="90"/>
                    </a:cubicBezTo>
                    <a:cubicBezTo>
                      <a:pt x="103" y="90"/>
                      <a:pt x="119" y="72"/>
                      <a:pt x="119" y="48"/>
                    </a:cubicBezTo>
                    <a:cubicBezTo>
                      <a:pt x="119" y="20"/>
                      <a:pt x="96" y="0"/>
                      <a:pt x="64" y="0"/>
                    </a:cubicBezTo>
                    <a:cubicBezTo>
                      <a:pt x="28" y="0"/>
                      <a:pt x="0" y="27"/>
                      <a:pt x="0" y="61"/>
                    </a:cubicBezTo>
                    <a:cubicBezTo>
                      <a:pt x="0" y="89"/>
                      <a:pt x="21" y="120"/>
                      <a:pt x="62" y="120"/>
                    </a:cubicBezTo>
                    <a:moveTo>
                      <a:pt x="63" y="69"/>
                    </a:moveTo>
                    <a:cubicBezTo>
                      <a:pt x="60" y="75"/>
                      <a:pt x="57" y="76"/>
                      <a:pt x="55" y="76"/>
                    </a:cubicBezTo>
                    <a:cubicBezTo>
                      <a:pt x="52" y="76"/>
                      <a:pt x="50" y="73"/>
                      <a:pt x="50" y="67"/>
                    </a:cubicBezTo>
                    <a:cubicBezTo>
                      <a:pt x="50" y="58"/>
                      <a:pt x="56" y="42"/>
                      <a:pt x="64" y="42"/>
                    </a:cubicBezTo>
                    <a:cubicBezTo>
                      <a:pt x="66" y="42"/>
                      <a:pt x="69" y="43"/>
                      <a:pt x="69" y="47"/>
                    </a:cubicBezTo>
                    <a:cubicBezTo>
                      <a:pt x="69" y="52"/>
                      <a:pt x="64" y="66"/>
                      <a:pt x="63"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38" name="Freeform 67"/>
              <p:cNvSpPr>
                <a:spLocks noEditPoints="1"/>
              </p:cNvSpPr>
              <p:nvPr/>
            </p:nvSpPr>
            <p:spPr bwMode="auto">
              <a:xfrm>
                <a:off x="719" y="3440"/>
                <a:ext cx="1079" cy="723"/>
              </a:xfrm>
              <a:custGeom>
                <a:avLst/>
                <a:gdLst>
                  <a:gd name="T0" fmla="*/ 0 w 457"/>
                  <a:gd name="T1" fmla="*/ 306 h 306"/>
                  <a:gd name="T2" fmla="*/ 457 w 457"/>
                  <a:gd name="T3" fmla="*/ 306 h 306"/>
                  <a:gd name="T4" fmla="*/ 457 w 457"/>
                  <a:gd name="T5" fmla="*/ 0 h 306"/>
                  <a:gd name="T6" fmla="*/ 0 w 457"/>
                  <a:gd name="T7" fmla="*/ 0 h 306"/>
                  <a:gd name="T8" fmla="*/ 0 w 457"/>
                  <a:gd name="T9" fmla="*/ 306 h 306"/>
                  <a:gd name="T10" fmla="*/ 356 w 457"/>
                  <a:gd name="T11" fmla="*/ 164 h 306"/>
                  <a:gd name="T12" fmla="*/ 338 w 457"/>
                  <a:gd name="T13" fmla="*/ 182 h 306"/>
                  <a:gd name="T14" fmla="*/ 406 w 457"/>
                  <a:gd name="T15" fmla="*/ 278 h 306"/>
                  <a:gd name="T16" fmla="*/ 50 w 457"/>
                  <a:gd name="T17" fmla="*/ 278 h 306"/>
                  <a:gd name="T18" fmla="*/ 117 w 457"/>
                  <a:gd name="T19" fmla="*/ 182 h 306"/>
                  <a:gd name="T20" fmla="*/ 100 w 457"/>
                  <a:gd name="T21" fmla="*/ 165 h 306"/>
                  <a:gd name="T22" fmla="*/ 29 w 457"/>
                  <a:gd name="T23" fmla="*/ 267 h 306"/>
                  <a:gd name="T24" fmla="*/ 29 w 457"/>
                  <a:gd name="T25" fmla="*/ 64 h 306"/>
                  <a:gd name="T26" fmla="*/ 191 w 457"/>
                  <a:gd name="T27" fmla="*/ 226 h 306"/>
                  <a:gd name="T28" fmla="*/ 227 w 457"/>
                  <a:gd name="T29" fmla="*/ 241 h 306"/>
                  <a:gd name="T30" fmla="*/ 264 w 457"/>
                  <a:gd name="T31" fmla="*/ 226 h 306"/>
                  <a:gd name="T32" fmla="*/ 429 w 457"/>
                  <a:gd name="T33" fmla="*/ 61 h 306"/>
                  <a:gd name="T34" fmla="*/ 429 w 457"/>
                  <a:gd name="T35" fmla="*/ 269 h 306"/>
                  <a:gd name="T36" fmla="*/ 356 w 457"/>
                  <a:gd name="T37" fmla="*/ 164 h 306"/>
                  <a:gd name="T38" fmla="*/ 427 w 457"/>
                  <a:gd name="T39" fmla="*/ 29 h 306"/>
                  <a:gd name="T40" fmla="*/ 247 w 457"/>
                  <a:gd name="T41" fmla="*/ 209 h 306"/>
                  <a:gd name="T42" fmla="*/ 227 w 457"/>
                  <a:gd name="T43" fmla="*/ 217 h 306"/>
                  <a:gd name="T44" fmla="*/ 207 w 457"/>
                  <a:gd name="T45" fmla="*/ 209 h 306"/>
                  <a:gd name="T46" fmla="*/ 29 w 457"/>
                  <a:gd name="T47" fmla="*/ 31 h 306"/>
                  <a:gd name="T48" fmla="*/ 29 w 457"/>
                  <a:gd name="T49" fmla="*/ 29 h 306"/>
                  <a:gd name="T50" fmla="*/ 427 w 457"/>
                  <a:gd name="T51" fmla="*/ 2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7" h="306">
                    <a:moveTo>
                      <a:pt x="0" y="306"/>
                    </a:moveTo>
                    <a:cubicBezTo>
                      <a:pt x="457" y="306"/>
                      <a:pt x="457" y="306"/>
                      <a:pt x="457" y="306"/>
                    </a:cubicBezTo>
                    <a:cubicBezTo>
                      <a:pt x="457" y="0"/>
                      <a:pt x="457" y="0"/>
                      <a:pt x="457" y="0"/>
                    </a:cubicBezTo>
                    <a:cubicBezTo>
                      <a:pt x="0" y="0"/>
                      <a:pt x="0" y="0"/>
                      <a:pt x="0" y="0"/>
                    </a:cubicBezTo>
                    <a:lnTo>
                      <a:pt x="0" y="306"/>
                    </a:lnTo>
                    <a:close/>
                    <a:moveTo>
                      <a:pt x="356" y="164"/>
                    </a:moveTo>
                    <a:cubicBezTo>
                      <a:pt x="338" y="182"/>
                      <a:pt x="338" y="182"/>
                      <a:pt x="338" y="182"/>
                    </a:cubicBezTo>
                    <a:cubicBezTo>
                      <a:pt x="406" y="278"/>
                      <a:pt x="406" y="278"/>
                      <a:pt x="406" y="278"/>
                    </a:cubicBezTo>
                    <a:cubicBezTo>
                      <a:pt x="50" y="278"/>
                      <a:pt x="50" y="278"/>
                      <a:pt x="50" y="278"/>
                    </a:cubicBezTo>
                    <a:cubicBezTo>
                      <a:pt x="117" y="182"/>
                      <a:pt x="117" y="182"/>
                      <a:pt x="117" y="182"/>
                    </a:cubicBezTo>
                    <a:cubicBezTo>
                      <a:pt x="100" y="165"/>
                      <a:pt x="100" y="165"/>
                      <a:pt x="100" y="165"/>
                    </a:cubicBezTo>
                    <a:cubicBezTo>
                      <a:pt x="29" y="267"/>
                      <a:pt x="29" y="267"/>
                      <a:pt x="29" y="267"/>
                    </a:cubicBezTo>
                    <a:cubicBezTo>
                      <a:pt x="29" y="64"/>
                      <a:pt x="29" y="64"/>
                      <a:pt x="29" y="64"/>
                    </a:cubicBezTo>
                    <a:cubicBezTo>
                      <a:pt x="191" y="226"/>
                      <a:pt x="191" y="226"/>
                      <a:pt x="191" y="226"/>
                    </a:cubicBezTo>
                    <a:cubicBezTo>
                      <a:pt x="200" y="236"/>
                      <a:pt x="213" y="241"/>
                      <a:pt x="227" y="241"/>
                    </a:cubicBezTo>
                    <a:cubicBezTo>
                      <a:pt x="241" y="241"/>
                      <a:pt x="254" y="236"/>
                      <a:pt x="264" y="226"/>
                    </a:cubicBezTo>
                    <a:cubicBezTo>
                      <a:pt x="429" y="61"/>
                      <a:pt x="429" y="61"/>
                      <a:pt x="429" y="61"/>
                    </a:cubicBezTo>
                    <a:cubicBezTo>
                      <a:pt x="429" y="269"/>
                      <a:pt x="429" y="269"/>
                      <a:pt x="429" y="269"/>
                    </a:cubicBezTo>
                    <a:lnTo>
                      <a:pt x="356" y="164"/>
                    </a:lnTo>
                    <a:close/>
                    <a:moveTo>
                      <a:pt x="427" y="29"/>
                    </a:moveTo>
                    <a:cubicBezTo>
                      <a:pt x="247" y="209"/>
                      <a:pt x="247" y="209"/>
                      <a:pt x="247" y="209"/>
                    </a:cubicBezTo>
                    <a:cubicBezTo>
                      <a:pt x="242" y="214"/>
                      <a:pt x="235" y="217"/>
                      <a:pt x="227" y="217"/>
                    </a:cubicBezTo>
                    <a:cubicBezTo>
                      <a:pt x="220" y="217"/>
                      <a:pt x="213" y="214"/>
                      <a:pt x="207" y="209"/>
                    </a:cubicBezTo>
                    <a:cubicBezTo>
                      <a:pt x="29" y="31"/>
                      <a:pt x="29" y="31"/>
                      <a:pt x="29" y="31"/>
                    </a:cubicBezTo>
                    <a:cubicBezTo>
                      <a:pt x="29" y="29"/>
                      <a:pt x="29" y="29"/>
                      <a:pt x="29" y="29"/>
                    </a:cubicBezTo>
                    <a:lnTo>
                      <a:pt x="427"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sp>
          <p:nvSpPr>
            <p:cNvPr id="110" name="Freeform 72"/>
            <p:cNvSpPr>
              <a:spLocks/>
            </p:cNvSpPr>
            <p:nvPr/>
          </p:nvSpPr>
          <p:spPr bwMode="auto">
            <a:xfrm>
              <a:off x="3172598" y="4701455"/>
              <a:ext cx="230791" cy="230791"/>
            </a:xfrm>
            <a:custGeom>
              <a:avLst/>
              <a:gdLst>
                <a:gd name="T0" fmla="*/ 295 w 456"/>
                <a:gd name="T1" fmla="*/ 104 h 456"/>
                <a:gd name="T2" fmla="*/ 283 w 456"/>
                <a:gd name="T3" fmla="*/ 107 h 456"/>
                <a:gd name="T4" fmla="*/ 278 w 456"/>
                <a:gd name="T5" fmla="*/ 73 h 456"/>
                <a:gd name="T6" fmla="*/ 261 w 456"/>
                <a:gd name="T7" fmla="*/ 68 h 456"/>
                <a:gd name="T8" fmla="*/ 256 w 456"/>
                <a:gd name="T9" fmla="*/ 2 h 456"/>
                <a:gd name="T10" fmla="*/ 43 w 456"/>
                <a:gd name="T11" fmla="*/ 95 h 456"/>
                <a:gd name="T12" fmla="*/ 65 w 456"/>
                <a:gd name="T13" fmla="*/ 87 h 456"/>
                <a:gd name="T14" fmla="*/ 158 w 456"/>
                <a:gd name="T15" fmla="*/ 42 h 456"/>
                <a:gd name="T16" fmla="*/ 231 w 456"/>
                <a:gd name="T17" fmla="*/ 47 h 456"/>
                <a:gd name="T18" fmla="*/ 226 w 456"/>
                <a:gd name="T19" fmla="*/ 63 h 456"/>
                <a:gd name="T20" fmla="*/ 184 w 456"/>
                <a:gd name="T21" fmla="*/ 66 h 456"/>
                <a:gd name="T22" fmla="*/ 169 w 456"/>
                <a:gd name="T23" fmla="*/ 85 h 456"/>
                <a:gd name="T24" fmla="*/ 194 w 456"/>
                <a:gd name="T25" fmla="*/ 90 h 456"/>
                <a:gd name="T26" fmla="*/ 204 w 456"/>
                <a:gd name="T27" fmla="*/ 84 h 456"/>
                <a:gd name="T28" fmla="*/ 254 w 456"/>
                <a:gd name="T29" fmla="*/ 89 h 456"/>
                <a:gd name="T30" fmla="*/ 251 w 456"/>
                <a:gd name="T31" fmla="*/ 123 h 456"/>
                <a:gd name="T32" fmla="*/ 190 w 456"/>
                <a:gd name="T33" fmla="*/ 186 h 456"/>
                <a:gd name="T34" fmla="*/ 185 w 456"/>
                <a:gd name="T35" fmla="*/ 220 h 456"/>
                <a:gd name="T36" fmla="*/ 172 w 456"/>
                <a:gd name="T37" fmla="*/ 215 h 456"/>
                <a:gd name="T38" fmla="*/ 167 w 456"/>
                <a:gd name="T39" fmla="*/ 198 h 456"/>
                <a:gd name="T40" fmla="*/ 144 w 456"/>
                <a:gd name="T41" fmla="*/ 203 h 456"/>
                <a:gd name="T42" fmla="*/ 148 w 456"/>
                <a:gd name="T43" fmla="*/ 229 h 456"/>
                <a:gd name="T44" fmla="*/ 186 w 456"/>
                <a:gd name="T45" fmla="*/ 251 h 456"/>
                <a:gd name="T46" fmla="*/ 246 w 456"/>
                <a:gd name="T47" fmla="*/ 253 h 456"/>
                <a:gd name="T48" fmla="*/ 313 w 456"/>
                <a:gd name="T49" fmla="*/ 294 h 456"/>
                <a:gd name="T50" fmla="*/ 286 w 456"/>
                <a:gd name="T51" fmla="*/ 358 h 456"/>
                <a:gd name="T52" fmla="*/ 227 w 456"/>
                <a:gd name="T53" fmla="*/ 414 h 456"/>
                <a:gd name="T54" fmla="*/ 228 w 456"/>
                <a:gd name="T55" fmla="*/ 441 h 456"/>
                <a:gd name="T56" fmla="*/ 214 w 456"/>
                <a:gd name="T57" fmla="*/ 437 h 456"/>
                <a:gd name="T58" fmla="*/ 197 w 456"/>
                <a:gd name="T59" fmla="*/ 416 h 456"/>
                <a:gd name="T60" fmla="*/ 192 w 456"/>
                <a:gd name="T61" fmla="*/ 266 h 456"/>
                <a:gd name="T62" fmla="*/ 168 w 456"/>
                <a:gd name="T63" fmla="*/ 263 h 456"/>
                <a:gd name="T64" fmla="*/ 123 w 456"/>
                <a:gd name="T65" fmla="*/ 232 h 456"/>
                <a:gd name="T66" fmla="*/ 90 w 456"/>
                <a:gd name="T67" fmla="*/ 196 h 456"/>
                <a:gd name="T68" fmla="*/ 77 w 456"/>
                <a:gd name="T69" fmla="*/ 191 h 456"/>
                <a:gd name="T70" fmla="*/ 53 w 456"/>
                <a:gd name="T71" fmla="*/ 142 h 456"/>
                <a:gd name="T72" fmla="*/ 48 w 456"/>
                <a:gd name="T73" fmla="*/ 113 h 456"/>
                <a:gd name="T74" fmla="*/ 0 w 456"/>
                <a:gd name="T75" fmla="*/ 228 h 456"/>
                <a:gd name="T76" fmla="*/ 456 w 456"/>
                <a:gd name="T77" fmla="*/ 228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6" h="456">
                  <a:moveTo>
                    <a:pt x="358" y="41"/>
                  </a:moveTo>
                  <a:cubicBezTo>
                    <a:pt x="295" y="104"/>
                    <a:pt x="295" y="104"/>
                    <a:pt x="295" y="104"/>
                  </a:cubicBezTo>
                  <a:cubicBezTo>
                    <a:pt x="293" y="105"/>
                    <a:pt x="289" y="107"/>
                    <a:pt x="287" y="107"/>
                  </a:cubicBezTo>
                  <a:cubicBezTo>
                    <a:pt x="283" y="107"/>
                    <a:pt x="283" y="107"/>
                    <a:pt x="283" y="107"/>
                  </a:cubicBezTo>
                  <a:cubicBezTo>
                    <a:pt x="280" y="107"/>
                    <a:pt x="278" y="105"/>
                    <a:pt x="278" y="102"/>
                  </a:cubicBezTo>
                  <a:cubicBezTo>
                    <a:pt x="278" y="73"/>
                    <a:pt x="278" y="73"/>
                    <a:pt x="278" y="73"/>
                  </a:cubicBezTo>
                  <a:cubicBezTo>
                    <a:pt x="278" y="71"/>
                    <a:pt x="276" y="68"/>
                    <a:pt x="273" y="68"/>
                  </a:cubicBezTo>
                  <a:cubicBezTo>
                    <a:pt x="261" y="68"/>
                    <a:pt x="261" y="68"/>
                    <a:pt x="261" y="68"/>
                  </a:cubicBezTo>
                  <a:cubicBezTo>
                    <a:pt x="258" y="68"/>
                    <a:pt x="256" y="66"/>
                    <a:pt x="256" y="63"/>
                  </a:cubicBezTo>
                  <a:cubicBezTo>
                    <a:pt x="256" y="2"/>
                    <a:pt x="256" y="2"/>
                    <a:pt x="256" y="2"/>
                  </a:cubicBezTo>
                  <a:cubicBezTo>
                    <a:pt x="247" y="1"/>
                    <a:pt x="237" y="0"/>
                    <a:pt x="228" y="0"/>
                  </a:cubicBezTo>
                  <a:cubicBezTo>
                    <a:pt x="152" y="0"/>
                    <a:pt x="84" y="37"/>
                    <a:pt x="43" y="95"/>
                  </a:cubicBezTo>
                  <a:cubicBezTo>
                    <a:pt x="56" y="90"/>
                    <a:pt x="56" y="90"/>
                    <a:pt x="56" y="90"/>
                  </a:cubicBezTo>
                  <a:cubicBezTo>
                    <a:pt x="59" y="90"/>
                    <a:pt x="63" y="88"/>
                    <a:pt x="65" y="87"/>
                  </a:cubicBezTo>
                  <a:cubicBezTo>
                    <a:pt x="148" y="44"/>
                    <a:pt x="148" y="44"/>
                    <a:pt x="148" y="44"/>
                  </a:cubicBezTo>
                  <a:cubicBezTo>
                    <a:pt x="151" y="43"/>
                    <a:pt x="155" y="42"/>
                    <a:pt x="158" y="42"/>
                  </a:cubicBezTo>
                  <a:cubicBezTo>
                    <a:pt x="226" y="42"/>
                    <a:pt x="226" y="42"/>
                    <a:pt x="226" y="42"/>
                  </a:cubicBezTo>
                  <a:cubicBezTo>
                    <a:pt x="229" y="42"/>
                    <a:pt x="231" y="44"/>
                    <a:pt x="231" y="47"/>
                  </a:cubicBezTo>
                  <a:cubicBezTo>
                    <a:pt x="231" y="58"/>
                    <a:pt x="231" y="58"/>
                    <a:pt x="231" y="58"/>
                  </a:cubicBezTo>
                  <a:cubicBezTo>
                    <a:pt x="231" y="61"/>
                    <a:pt x="229" y="63"/>
                    <a:pt x="226" y="63"/>
                  </a:cubicBezTo>
                  <a:cubicBezTo>
                    <a:pt x="193" y="63"/>
                    <a:pt x="193" y="63"/>
                    <a:pt x="193" y="63"/>
                  </a:cubicBezTo>
                  <a:cubicBezTo>
                    <a:pt x="191" y="63"/>
                    <a:pt x="187" y="64"/>
                    <a:pt x="184" y="66"/>
                  </a:cubicBezTo>
                  <a:cubicBezTo>
                    <a:pt x="168" y="80"/>
                    <a:pt x="168" y="80"/>
                    <a:pt x="168" y="80"/>
                  </a:cubicBezTo>
                  <a:cubicBezTo>
                    <a:pt x="166" y="81"/>
                    <a:pt x="166" y="84"/>
                    <a:pt x="169" y="85"/>
                  </a:cubicBezTo>
                  <a:cubicBezTo>
                    <a:pt x="185" y="91"/>
                    <a:pt x="185" y="91"/>
                    <a:pt x="185" y="91"/>
                  </a:cubicBezTo>
                  <a:cubicBezTo>
                    <a:pt x="188" y="92"/>
                    <a:pt x="192" y="92"/>
                    <a:pt x="194" y="90"/>
                  </a:cubicBezTo>
                  <a:cubicBezTo>
                    <a:pt x="196" y="88"/>
                    <a:pt x="196" y="88"/>
                    <a:pt x="196" y="88"/>
                  </a:cubicBezTo>
                  <a:cubicBezTo>
                    <a:pt x="198" y="86"/>
                    <a:pt x="202" y="84"/>
                    <a:pt x="204" y="84"/>
                  </a:cubicBezTo>
                  <a:cubicBezTo>
                    <a:pt x="249" y="84"/>
                    <a:pt x="249" y="84"/>
                    <a:pt x="249" y="84"/>
                  </a:cubicBezTo>
                  <a:cubicBezTo>
                    <a:pt x="252" y="84"/>
                    <a:pt x="254" y="86"/>
                    <a:pt x="254" y="89"/>
                  </a:cubicBezTo>
                  <a:cubicBezTo>
                    <a:pt x="254" y="115"/>
                    <a:pt x="254" y="115"/>
                    <a:pt x="254" y="115"/>
                  </a:cubicBezTo>
                  <a:cubicBezTo>
                    <a:pt x="254" y="118"/>
                    <a:pt x="253" y="121"/>
                    <a:pt x="251" y="123"/>
                  </a:cubicBezTo>
                  <a:cubicBezTo>
                    <a:pt x="194" y="178"/>
                    <a:pt x="194" y="178"/>
                    <a:pt x="194" y="178"/>
                  </a:cubicBezTo>
                  <a:cubicBezTo>
                    <a:pt x="192" y="179"/>
                    <a:pt x="190" y="183"/>
                    <a:pt x="190" y="186"/>
                  </a:cubicBezTo>
                  <a:cubicBezTo>
                    <a:pt x="190" y="215"/>
                    <a:pt x="190" y="215"/>
                    <a:pt x="190" y="215"/>
                  </a:cubicBezTo>
                  <a:cubicBezTo>
                    <a:pt x="190" y="218"/>
                    <a:pt x="188" y="220"/>
                    <a:pt x="185" y="220"/>
                  </a:cubicBezTo>
                  <a:cubicBezTo>
                    <a:pt x="177" y="220"/>
                    <a:pt x="177" y="220"/>
                    <a:pt x="177" y="220"/>
                  </a:cubicBezTo>
                  <a:cubicBezTo>
                    <a:pt x="175" y="220"/>
                    <a:pt x="172" y="218"/>
                    <a:pt x="172" y="215"/>
                  </a:cubicBezTo>
                  <a:cubicBezTo>
                    <a:pt x="172" y="203"/>
                    <a:pt x="172" y="203"/>
                    <a:pt x="172" y="203"/>
                  </a:cubicBezTo>
                  <a:cubicBezTo>
                    <a:pt x="172" y="200"/>
                    <a:pt x="170" y="198"/>
                    <a:pt x="167" y="198"/>
                  </a:cubicBezTo>
                  <a:cubicBezTo>
                    <a:pt x="149" y="198"/>
                    <a:pt x="149" y="198"/>
                    <a:pt x="149" y="198"/>
                  </a:cubicBezTo>
                  <a:cubicBezTo>
                    <a:pt x="147" y="198"/>
                    <a:pt x="144" y="200"/>
                    <a:pt x="144" y="203"/>
                  </a:cubicBezTo>
                  <a:cubicBezTo>
                    <a:pt x="144" y="221"/>
                    <a:pt x="144" y="221"/>
                    <a:pt x="144" y="221"/>
                  </a:cubicBezTo>
                  <a:cubicBezTo>
                    <a:pt x="144" y="224"/>
                    <a:pt x="146" y="228"/>
                    <a:pt x="148" y="229"/>
                  </a:cubicBezTo>
                  <a:cubicBezTo>
                    <a:pt x="176" y="248"/>
                    <a:pt x="176" y="248"/>
                    <a:pt x="176" y="248"/>
                  </a:cubicBezTo>
                  <a:cubicBezTo>
                    <a:pt x="179" y="249"/>
                    <a:pt x="183" y="251"/>
                    <a:pt x="186" y="251"/>
                  </a:cubicBezTo>
                  <a:cubicBezTo>
                    <a:pt x="237" y="251"/>
                    <a:pt x="237" y="251"/>
                    <a:pt x="237" y="251"/>
                  </a:cubicBezTo>
                  <a:cubicBezTo>
                    <a:pt x="240" y="251"/>
                    <a:pt x="244" y="252"/>
                    <a:pt x="246" y="253"/>
                  </a:cubicBezTo>
                  <a:cubicBezTo>
                    <a:pt x="310" y="287"/>
                    <a:pt x="310" y="287"/>
                    <a:pt x="310" y="287"/>
                  </a:cubicBezTo>
                  <a:cubicBezTo>
                    <a:pt x="312" y="289"/>
                    <a:pt x="314" y="292"/>
                    <a:pt x="313" y="294"/>
                  </a:cubicBezTo>
                  <a:cubicBezTo>
                    <a:pt x="291" y="350"/>
                    <a:pt x="291" y="350"/>
                    <a:pt x="291" y="350"/>
                  </a:cubicBezTo>
                  <a:cubicBezTo>
                    <a:pt x="290" y="353"/>
                    <a:pt x="288" y="356"/>
                    <a:pt x="286" y="358"/>
                  </a:cubicBezTo>
                  <a:cubicBezTo>
                    <a:pt x="230" y="406"/>
                    <a:pt x="230" y="406"/>
                    <a:pt x="230" y="406"/>
                  </a:cubicBezTo>
                  <a:cubicBezTo>
                    <a:pt x="228" y="408"/>
                    <a:pt x="227" y="411"/>
                    <a:pt x="227" y="414"/>
                  </a:cubicBezTo>
                  <a:cubicBezTo>
                    <a:pt x="232" y="436"/>
                    <a:pt x="232" y="436"/>
                    <a:pt x="232" y="436"/>
                  </a:cubicBezTo>
                  <a:cubicBezTo>
                    <a:pt x="232" y="438"/>
                    <a:pt x="230" y="441"/>
                    <a:pt x="228" y="441"/>
                  </a:cubicBezTo>
                  <a:cubicBezTo>
                    <a:pt x="222" y="441"/>
                    <a:pt x="222" y="441"/>
                    <a:pt x="222" y="441"/>
                  </a:cubicBezTo>
                  <a:cubicBezTo>
                    <a:pt x="220" y="441"/>
                    <a:pt x="216" y="439"/>
                    <a:pt x="214" y="437"/>
                  </a:cubicBezTo>
                  <a:cubicBezTo>
                    <a:pt x="201" y="424"/>
                    <a:pt x="201" y="424"/>
                    <a:pt x="201" y="424"/>
                  </a:cubicBezTo>
                  <a:cubicBezTo>
                    <a:pt x="199" y="422"/>
                    <a:pt x="197" y="419"/>
                    <a:pt x="197" y="416"/>
                  </a:cubicBezTo>
                  <a:cubicBezTo>
                    <a:pt x="197" y="271"/>
                    <a:pt x="197" y="271"/>
                    <a:pt x="197" y="271"/>
                  </a:cubicBezTo>
                  <a:cubicBezTo>
                    <a:pt x="197" y="268"/>
                    <a:pt x="195" y="266"/>
                    <a:pt x="192" y="266"/>
                  </a:cubicBezTo>
                  <a:cubicBezTo>
                    <a:pt x="177" y="266"/>
                    <a:pt x="177" y="266"/>
                    <a:pt x="177" y="266"/>
                  </a:cubicBezTo>
                  <a:cubicBezTo>
                    <a:pt x="175" y="266"/>
                    <a:pt x="170" y="265"/>
                    <a:pt x="168" y="263"/>
                  </a:cubicBezTo>
                  <a:cubicBezTo>
                    <a:pt x="130" y="239"/>
                    <a:pt x="130" y="239"/>
                    <a:pt x="130" y="239"/>
                  </a:cubicBezTo>
                  <a:cubicBezTo>
                    <a:pt x="128" y="237"/>
                    <a:pt x="124" y="234"/>
                    <a:pt x="123" y="232"/>
                  </a:cubicBezTo>
                  <a:cubicBezTo>
                    <a:pt x="98" y="200"/>
                    <a:pt x="98" y="200"/>
                    <a:pt x="98" y="200"/>
                  </a:cubicBezTo>
                  <a:cubicBezTo>
                    <a:pt x="97" y="198"/>
                    <a:pt x="93" y="196"/>
                    <a:pt x="90" y="196"/>
                  </a:cubicBezTo>
                  <a:cubicBezTo>
                    <a:pt x="84" y="196"/>
                    <a:pt x="84" y="196"/>
                    <a:pt x="84" y="196"/>
                  </a:cubicBezTo>
                  <a:cubicBezTo>
                    <a:pt x="81" y="196"/>
                    <a:pt x="78" y="194"/>
                    <a:pt x="77" y="191"/>
                  </a:cubicBezTo>
                  <a:cubicBezTo>
                    <a:pt x="55" y="152"/>
                    <a:pt x="55" y="152"/>
                    <a:pt x="55" y="152"/>
                  </a:cubicBezTo>
                  <a:cubicBezTo>
                    <a:pt x="54" y="149"/>
                    <a:pt x="53" y="145"/>
                    <a:pt x="53" y="142"/>
                  </a:cubicBezTo>
                  <a:cubicBezTo>
                    <a:pt x="53" y="118"/>
                    <a:pt x="53" y="118"/>
                    <a:pt x="53" y="118"/>
                  </a:cubicBezTo>
                  <a:cubicBezTo>
                    <a:pt x="53" y="115"/>
                    <a:pt x="51" y="113"/>
                    <a:pt x="48" y="113"/>
                  </a:cubicBezTo>
                  <a:cubicBezTo>
                    <a:pt x="31" y="113"/>
                    <a:pt x="31" y="113"/>
                    <a:pt x="31" y="113"/>
                  </a:cubicBezTo>
                  <a:cubicBezTo>
                    <a:pt x="11" y="147"/>
                    <a:pt x="0" y="186"/>
                    <a:pt x="0" y="228"/>
                  </a:cubicBezTo>
                  <a:cubicBezTo>
                    <a:pt x="0" y="354"/>
                    <a:pt x="102" y="456"/>
                    <a:pt x="228" y="456"/>
                  </a:cubicBezTo>
                  <a:cubicBezTo>
                    <a:pt x="354" y="456"/>
                    <a:pt x="456" y="354"/>
                    <a:pt x="456" y="228"/>
                  </a:cubicBezTo>
                  <a:cubicBezTo>
                    <a:pt x="456" y="150"/>
                    <a:pt x="417" y="82"/>
                    <a:pt x="358" y="41"/>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11" name="Freeform 77"/>
            <p:cNvSpPr>
              <a:spLocks noEditPoints="1"/>
            </p:cNvSpPr>
            <p:nvPr/>
          </p:nvSpPr>
          <p:spPr bwMode="auto">
            <a:xfrm>
              <a:off x="2863490" y="5044844"/>
              <a:ext cx="164846" cy="309372"/>
            </a:xfrm>
            <a:custGeom>
              <a:avLst/>
              <a:gdLst>
                <a:gd name="T0" fmla="*/ 244 w 244"/>
                <a:gd name="T1" fmla="*/ 424 h 458"/>
                <a:gd name="T2" fmla="*/ 209 w 244"/>
                <a:gd name="T3" fmla="*/ 458 h 458"/>
                <a:gd name="T4" fmla="*/ 35 w 244"/>
                <a:gd name="T5" fmla="*/ 458 h 458"/>
                <a:gd name="T6" fmla="*/ 0 w 244"/>
                <a:gd name="T7" fmla="*/ 424 h 458"/>
                <a:gd name="T8" fmla="*/ 0 w 244"/>
                <a:gd name="T9" fmla="*/ 35 h 458"/>
                <a:gd name="T10" fmla="*/ 35 w 244"/>
                <a:gd name="T11" fmla="*/ 0 h 458"/>
                <a:gd name="T12" fmla="*/ 209 w 244"/>
                <a:gd name="T13" fmla="*/ 0 h 458"/>
                <a:gd name="T14" fmla="*/ 244 w 244"/>
                <a:gd name="T15" fmla="*/ 35 h 458"/>
                <a:gd name="T16" fmla="*/ 244 w 244"/>
                <a:gd name="T17" fmla="*/ 424 h 458"/>
                <a:gd name="T18" fmla="*/ 226 w 244"/>
                <a:gd name="T19" fmla="*/ 45 h 458"/>
                <a:gd name="T20" fmla="*/ 223 w 244"/>
                <a:gd name="T21" fmla="*/ 41 h 458"/>
                <a:gd name="T22" fmla="*/ 21 w 244"/>
                <a:gd name="T23" fmla="*/ 41 h 458"/>
                <a:gd name="T24" fmla="*/ 18 w 244"/>
                <a:gd name="T25" fmla="*/ 45 h 458"/>
                <a:gd name="T26" fmla="*/ 18 w 244"/>
                <a:gd name="T27" fmla="*/ 407 h 458"/>
                <a:gd name="T28" fmla="*/ 21 w 244"/>
                <a:gd name="T29" fmla="*/ 411 h 458"/>
                <a:gd name="T30" fmla="*/ 223 w 244"/>
                <a:gd name="T31" fmla="*/ 411 h 458"/>
                <a:gd name="T32" fmla="*/ 226 w 244"/>
                <a:gd name="T33" fmla="*/ 407 h 458"/>
                <a:gd name="T34" fmla="*/ 226 w 244"/>
                <a:gd name="T35" fmla="*/ 45 h 458"/>
                <a:gd name="T36" fmla="*/ 145 w 244"/>
                <a:gd name="T37" fmla="*/ 432 h 458"/>
                <a:gd name="T38" fmla="*/ 138 w 244"/>
                <a:gd name="T39" fmla="*/ 425 h 458"/>
                <a:gd name="T40" fmla="*/ 106 w 244"/>
                <a:gd name="T41" fmla="*/ 425 h 458"/>
                <a:gd name="T42" fmla="*/ 99 w 244"/>
                <a:gd name="T43" fmla="*/ 432 h 458"/>
                <a:gd name="T44" fmla="*/ 99 w 244"/>
                <a:gd name="T45" fmla="*/ 435 h 458"/>
                <a:gd name="T46" fmla="*/ 106 w 244"/>
                <a:gd name="T47" fmla="*/ 442 h 458"/>
                <a:gd name="T48" fmla="*/ 138 w 244"/>
                <a:gd name="T49" fmla="*/ 442 h 458"/>
                <a:gd name="T50" fmla="*/ 145 w 244"/>
                <a:gd name="T51" fmla="*/ 435 h 458"/>
                <a:gd name="T52" fmla="*/ 145 w 244"/>
                <a:gd name="T53" fmla="*/ 432 h 458"/>
                <a:gd name="T54" fmla="*/ 146 w 244"/>
                <a:gd name="T55" fmla="*/ 20 h 458"/>
                <a:gd name="T56" fmla="*/ 144 w 244"/>
                <a:gd name="T57" fmla="*/ 18 h 458"/>
                <a:gd name="T58" fmla="*/ 100 w 244"/>
                <a:gd name="T59" fmla="*/ 18 h 458"/>
                <a:gd name="T60" fmla="*/ 98 w 244"/>
                <a:gd name="T61" fmla="*/ 20 h 458"/>
                <a:gd name="T62" fmla="*/ 100 w 244"/>
                <a:gd name="T63" fmla="*/ 23 h 458"/>
                <a:gd name="T64" fmla="*/ 144 w 244"/>
                <a:gd name="T65" fmla="*/ 23 h 458"/>
                <a:gd name="T66" fmla="*/ 146 w 244"/>
                <a:gd name="T67" fmla="*/ 2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458">
                  <a:moveTo>
                    <a:pt x="244" y="424"/>
                  </a:moveTo>
                  <a:cubicBezTo>
                    <a:pt x="244" y="443"/>
                    <a:pt x="228" y="458"/>
                    <a:pt x="209" y="458"/>
                  </a:cubicBezTo>
                  <a:cubicBezTo>
                    <a:pt x="35" y="458"/>
                    <a:pt x="35" y="458"/>
                    <a:pt x="35" y="458"/>
                  </a:cubicBezTo>
                  <a:cubicBezTo>
                    <a:pt x="16" y="458"/>
                    <a:pt x="0" y="443"/>
                    <a:pt x="0" y="424"/>
                  </a:cubicBezTo>
                  <a:cubicBezTo>
                    <a:pt x="0" y="35"/>
                    <a:pt x="0" y="35"/>
                    <a:pt x="0" y="35"/>
                  </a:cubicBezTo>
                  <a:cubicBezTo>
                    <a:pt x="0" y="16"/>
                    <a:pt x="16" y="0"/>
                    <a:pt x="35" y="0"/>
                  </a:cubicBezTo>
                  <a:cubicBezTo>
                    <a:pt x="209" y="0"/>
                    <a:pt x="209" y="0"/>
                    <a:pt x="209" y="0"/>
                  </a:cubicBezTo>
                  <a:cubicBezTo>
                    <a:pt x="228" y="0"/>
                    <a:pt x="244" y="16"/>
                    <a:pt x="244" y="35"/>
                  </a:cubicBezTo>
                  <a:lnTo>
                    <a:pt x="244" y="424"/>
                  </a:lnTo>
                  <a:close/>
                  <a:moveTo>
                    <a:pt x="226" y="45"/>
                  </a:moveTo>
                  <a:cubicBezTo>
                    <a:pt x="226" y="43"/>
                    <a:pt x="225" y="41"/>
                    <a:pt x="223" y="41"/>
                  </a:cubicBezTo>
                  <a:cubicBezTo>
                    <a:pt x="21" y="41"/>
                    <a:pt x="21" y="41"/>
                    <a:pt x="21" y="41"/>
                  </a:cubicBezTo>
                  <a:cubicBezTo>
                    <a:pt x="19" y="41"/>
                    <a:pt x="18" y="43"/>
                    <a:pt x="18" y="45"/>
                  </a:cubicBezTo>
                  <a:cubicBezTo>
                    <a:pt x="18" y="407"/>
                    <a:pt x="18" y="407"/>
                    <a:pt x="18" y="407"/>
                  </a:cubicBezTo>
                  <a:cubicBezTo>
                    <a:pt x="18" y="409"/>
                    <a:pt x="19" y="411"/>
                    <a:pt x="21" y="411"/>
                  </a:cubicBezTo>
                  <a:cubicBezTo>
                    <a:pt x="223" y="411"/>
                    <a:pt x="223" y="411"/>
                    <a:pt x="223" y="411"/>
                  </a:cubicBezTo>
                  <a:cubicBezTo>
                    <a:pt x="225" y="411"/>
                    <a:pt x="226" y="409"/>
                    <a:pt x="226" y="407"/>
                  </a:cubicBezTo>
                  <a:lnTo>
                    <a:pt x="226" y="45"/>
                  </a:lnTo>
                  <a:close/>
                  <a:moveTo>
                    <a:pt x="145" y="432"/>
                  </a:moveTo>
                  <a:cubicBezTo>
                    <a:pt x="145" y="428"/>
                    <a:pt x="142" y="425"/>
                    <a:pt x="138" y="425"/>
                  </a:cubicBezTo>
                  <a:cubicBezTo>
                    <a:pt x="106" y="425"/>
                    <a:pt x="106" y="425"/>
                    <a:pt x="106" y="425"/>
                  </a:cubicBezTo>
                  <a:cubicBezTo>
                    <a:pt x="102" y="425"/>
                    <a:pt x="99" y="428"/>
                    <a:pt x="99" y="432"/>
                  </a:cubicBezTo>
                  <a:cubicBezTo>
                    <a:pt x="99" y="435"/>
                    <a:pt x="99" y="435"/>
                    <a:pt x="99" y="435"/>
                  </a:cubicBezTo>
                  <a:cubicBezTo>
                    <a:pt x="99" y="439"/>
                    <a:pt x="102" y="442"/>
                    <a:pt x="106" y="442"/>
                  </a:cubicBezTo>
                  <a:cubicBezTo>
                    <a:pt x="138" y="442"/>
                    <a:pt x="138" y="442"/>
                    <a:pt x="138" y="442"/>
                  </a:cubicBezTo>
                  <a:cubicBezTo>
                    <a:pt x="142" y="442"/>
                    <a:pt x="145" y="439"/>
                    <a:pt x="145" y="435"/>
                  </a:cubicBezTo>
                  <a:lnTo>
                    <a:pt x="145" y="432"/>
                  </a:lnTo>
                  <a:close/>
                  <a:moveTo>
                    <a:pt x="146" y="20"/>
                  </a:moveTo>
                  <a:cubicBezTo>
                    <a:pt x="146" y="19"/>
                    <a:pt x="145" y="18"/>
                    <a:pt x="144" y="18"/>
                  </a:cubicBezTo>
                  <a:cubicBezTo>
                    <a:pt x="100" y="18"/>
                    <a:pt x="100" y="18"/>
                    <a:pt x="100" y="18"/>
                  </a:cubicBezTo>
                  <a:cubicBezTo>
                    <a:pt x="99" y="18"/>
                    <a:pt x="98" y="19"/>
                    <a:pt x="98" y="20"/>
                  </a:cubicBezTo>
                  <a:cubicBezTo>
                    <a:pt x="98" y="22"/>
                    <a:pt x="99" y="23"/>
                    <a:pt x="100" y="23"/>
                  </a:cubicBezTo>
                  <a:cubicBezTo>
                    <a:pt x="144" y="23"/>
                    <a:pt x="144" y="23"/>
                    <a:pt x="144" y="23"/>
                  </a:cubicBezTo>
                  <a:cubicBezTo>
                    <a:pt x="145" y="23"/>
                    <a:pt x="146" y="22"/>
                    <a:pt x="146"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nvGrpSpPr>
            <p:cNvPr id="112" name="Group 87"/>
            <p:cNvGrpSpPr>
              <a:grpSpLocks noChangeAspect="1"/>
            </p:cNvGrpSpPr>
            <p:nvPr/>
          </p:nvGrpSpPr>
          <p:grpSpPr bwMode="auto">
            <a:xfrm>
              <a:off x="3144193" y="5462573"/>
              <a:ext cx="299427" cy="234143"/>
              <a:chOff x="-1578" y="4627"/>
              <a:chExt cx="1087" cy="850"/>
            </a:xfrm>
            <a:solidFill>
              <a:schemeClr val="accent1"/>
            </a:solidFill>
          </p:grpSpPr>
          <p:sp>
            <p:nvSpPr>
              <p:cNvPr id="134" name="Freeform 88"/>
              <p:cNvSpPr>
                <a:spLocks/>
              </p:cNvSpPr>
              <p:nvPr/>
            </p:nvSpPr>
            <p:spPr bwMode="auto">
              <a:xfrm>
                <a:off x="-1164" y="5217"/>
                <a:ext cx="260" cy="260"/>
              </a:xfrm>
              <a:custGeom>
                <a:avLst/>
                <a:gdLst>
                  <a:gd name="T0" fmla="*/ 20 w 110"/>
                  <a:gd name="T1" fmla="*/ 19 h 110"/>
                  <a:gd name="T2" fmla="*/ 20 w 110"/>
                  <a:gd name="T3" fmla="*/ 91 h 110"/>
                  <a:gd name="T4" fmla="*/ 91 w 110"/>
                  <a:gd name="T5" fmla="*/ 90 h 110"/>
                  <a:gd name="T6" fmla="*/ 91 w 110"/>
                  <a:gd name="T7" fmla="*/ 19 h 110"/>
                  <a:gd name="T8" fmla="*/ 20 w 110"/>
                  <a:gd name="T9" fmla="*/ 19 h 110"/>
                </a:gdLst>
                <a:ahLst/>
                <a:cxnLst>
                  <a:cxn ang="0">
                    <a:pos x="T0" y="T1"/>
                  </a:cxn>
                  <a:cxn ang="0">
                    <a:pos x="T2" y="T3"/>
                  </a:cxn>
                  <a:cxn ang="0">
                    <a:pos x="T4" y="T5"/>
                  </a:cxn>
                  <a:cxn ang="0">
                    <a:pos x="T6" y="T7"/>
                  </a:cxn>
                  <a:cxn ang="0">
                    <a:pos x="T8" y="T9"/>
                  </a:cxn>
                </a:cxnLst>
                <a:rect l="0" t="0" r="r" b="b"/>
                <a:pathLst>
                  <a:path w="110" h="110">
                    <a:moveTo>
                      <a:pt x="20" y="19"/>
                    </a:moveTo>
                    <a:cubicBezTo>
                      <a:pt x="0" y="39"/>
                      <a:pt x="0" y="71"/>
                      <a:pt x="20" y="91"/>
                    </a:cubicBezTo>
                    <a:cubicBezTo>
                      <a:pt x="39" y="110"/>
                      <a:pt x="71" y="110"/>
                      <a:pt x="91" y="90"/>
                    </a:cubicBezTo>
                    <a:cubicBezTo>
                      <a:pt x="110" y="71"/>
                      <a:pt x="110" y="39"/>
                      <a:pt x="91" y="19"/>
                    </a:cubicBezTo>
                    <a:cubicBezTo>
                      <a:pt x="71" y="0"/>
                      <a:pt x="39" y="0"/>
                      <a:pt x="20"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35" name="Freeform 89"/>
              <p:cNvSpPr>
                <a:spLocks/>
              </p:cNvSpPr>
              <p:nvPr/>
            </p:nvSpPr>
            <p:spPr bwMode="auto">
              <a:xfrm>
                <a:off x="-1396" y="4910"/>
                <a:ext cx="723" cy="309"/>
              </a:xfrm>
              <a:custGeom>
                <a:avLst/>
                <a:gdLst>
                  <a:gd name="T0" fmla="*/ 273 w 306"/>
                  <a:gd name="T1" fmla="*/ 129 h 131"/>
                  <a:gd name="T2" fmla="*/ 252 w 306"/>
                  <a:gd name="T3" fmla="*/ 120 h 131"/>
                  <a:gd name="T4" fmla="*/ 54 w 306"/>
                  <a:gd name="T5" fmla="*/ 120 h 131"/>
                  <a:gd name="T6" fmla="*/ 12 w 306"/>
                  <a:gd name="T7" fmla="*/ 120 h 131"/>
                  <a:gd name="T8" fmla="*/ 12 w 306"/>
                  <a:gd name="T9" fmla="*/ 78 h 131"/>
                  <a:gd name="T10" fmla="*/ 295 w 306"/>
                  <a:gd name="T11" fmla="*/ 78 h 131"/>
                  <a:gd name="T12" fmla="*/ 295 w 306"/>
                  <a:gd name="T13" fmla="*/ 120 h 131"/>
                  <a:gd name="T14" fmla="*/ 273 w 306"/>
                  <a:gd name="T15" fmla="*/ 129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6" h="131">
                    <a:moveTo>
                      <a:pt x="273" y="129"/>
                    </a:moveTo>
                    <a:cubicBezTo>
                      <a:pt x="266" y="129"/>
                      <a:pt x="258" y="126"/>
                      <a:pt x="252" y="120"/>
                    </a:cubicBezTo>
                    <a:cubicBezTo>
                      <a:pt x="198" y="65"/>
                      <a:pt x="109" y="65"/>
                      <a:pt x="54" y="120"/>
                    </a:cubicBezTo>
                    <a:cubicBezTo>
                      <a:pt x="42" y="131"/>
                      <a:pt x="23" y="131"/>
                      <a:pt x="12" y="120"/>
                    </a:cubicBezTo>
                    <a:cubicBezTo>
                      <a:pt x="0" y="108"/>
                      <a:pt x="0" y="89"/>
                      <a:pt x="12" y="78"/>
                    </a:cubicBezTo>
                    <a:cubicBezTo>
                      <a:pt x="90" y="0"/>
                      <a:pt x="217" y="0"/>
                      <a:pt x="295" y="78"/>
                    </a:cubicBezTo>
                    <a:cubicBezTo>
                      <a:pt x="306" y="89"/>
                      <a:pt x="306" y="108"/>
                      <a:pt x="295" y="120"/>
                    </a:cubicBezTo>
                    <a:cubicBezTo>
                      <a:pt x="289" y="126"/>
                      <a:pt x="281" y="129"/>
                      <a:pt x="273" y="1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sp>
            <p:nvSpPr>
              <p:cNvPr id="136" name="Freeform 90"/>
              <p:cNvSpPr>
                <a:spLocks/>
              </p:cNvSpPr>
              <p:nvPr/>
            </p:nvSpPr>
            <p:spPr bwMode="auto">
              <a:xfrm>
                <a:off x="-1578" y="4627"/>
                <a:ext cx="1087" cy="413"/>
              </a:xfrm>
              <a:custGeom>
                <a:avLst/>
                <a:gdLst>
                  <a:gd name="T0" fmla="*/ 427 w 460"/>
                  <a:gd name="T1" fmla="*/ 172 h 175"/>
                  <a:gd name="T2" fmla="*/ 406 w 460"/>
                  <a:gd name="T3" fmla="*/ 163 h 175"/>
                  <a:gd name="T4" fmla="*/ 54 w 460"/>
                  <a:gd name="T5" fmla="*/ 163 h 175"/>
                  <a:gd name="T6" fmla="*/ 12 w 460"/>
                  <a:gd name="T7" fmla="*/ 163 h 175"/>
                  <a:gd name="T8" fmla="*/ 12 w 460"/>
                  <a:gd name="T9" fmla="*/ 121 h 175"/>
                  <a:gd name="T10" fmla="*/ 448 w 460"/>
                  <a:gd name="T11" fmla="*/ 121 h 175"/>
                  <a:gd name="T12" fmla="*/ 448 w 460"/>
                  <a:gd name="T13" fmla="*/ 163 h 175"/>
                  <a:gd name="T14" fmla="*/ 427 w 460"/>
                  <a:gd name="T15" fmla="*/ 172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0" h="175">
                    <a:moveTo>
                      <a:pt x="427" y="172"/>
                    </a:moveTo>
                    <a:cubicBezTo>
                      <a:pt x="420" y="172"/>
                      <a:pt x="412" y="169"/>
                      <a:pt x="406" y="163"/>
                    </a:cubicBezTo>
                    <a:cubicBezTo>
                      <a:pt x="309" y="66"/>
                      <a:pt x="151" y="66"/>
                      <a:pt x="54" y="163"/>
                    </a:cubicBezTo>
                    <a:cubicBezTo>
                      <a:pt x="42" y="175"/>
                      <a:pt x="23" y="175"/>
                      <a:pt x="12" y="163"/>
                    </a:cubicBezTo>
                    <a:cubicBezTo>
                      <a:pt x="0" y="151"/>
                      <a:pt x="0" y="132"/>
                      <a:pt x="12" y="121"/>
                    </a:cubicBezTo>
                    <a:cubicBezTo>
                      <a:pt x="132" y="0"/>
                      <a:pt x="328" y="0"/>
                      <a:pt x="448" y="121"/>
                    </a:cubicBezTo>
                    <a:cubicBezTo>
                      <a:pt x="460" y="132"/>
                      <a:pt x="460" y="151"/>
                      <a:pt x="448" y="163"/>
                    </a:cubicBezTo>
                    <a:cubicBezTo>
                      <a:pt x="443" y="169"/>
                      <a:pt x="435" y="172"/>
                      <a:pt x="427"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F5F5F"/>
                  </a:solidFill>
                </a:endParaRPr>
              </a:p>
            </p:txBody>
          </p:sp>
        </p:grpSp>
        <p:cxnSp>
          <p:nvCxnSpPr>
            <p:cNvPr id="31" name="Straight Connector 30"/>
            <p:cNvCxnSpPr/>
            <p:nvPr/>
          </p:nvCxnSpPr>
          <p:spPr>
            <a:xfrm>
              <a:off x="2681986" y="4591241"/>
              <a:ext cx="0" cy="1243276"/>
            </a:xfrm>
            <a:prstGeom prst="line">
              <a:avLst/>
            </a:prstGeom>
            <a:ln w="28575" cmpd="sng">
              <a:solidFill>
                <a:srgbClr val="F80000"/>
              </a:solidFill>
              <a:miter lim="800000"/>
            </a:ln>
          </p:spPr>
          <p:style>
            <a:lnRef idx="1">
              <a:schemeClr val="accent1"/>
            </a:lnRef>
            <a:fillRef idx="0">
              <a:schemeClr val="accent1"/>
            </a:fillRef>
            <a:effectRef idx="0">
              <a:schemeClr val="accent1"/>
            </a:effectRef>
            <a:fontRef idx="minor">
              <a:schemeClr val="tx1"/>
            </a:fontRef>
          </p:style>
        </p:cxnSp>
        <p:pic>
          <p:nvPicPr>
            <p:cNvPr id="37" name="Picture 36" descr="ic-Research-red.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3817" y="4727855"/>
              <a:ext cx="1186587" cy="1186587"/>
            </a:xfrm>
            <a:prstGeom prst="rect">
              <a:avLst/>
            </a:prstGeom>
          </p:spPr>
        </p:pic>
        <p:sp>
          <p:nvSpPr>
            <p:cNvPr id="116" name="TextBox 115"/>
            <p:cNvSpPr txBox="1"/>
            <p:nvPr/>
          </p:nvSpPr>
          <p:spPr>
            <a:xfrm rot="16200000">
              <a:off x="1504944" y="5088947"/>
              <a:ext cx="1994062" cy="278561"/>
            </a:xfrm>
            <a:prstGeom prst="rect">
              <a:avLst/>
            </a:prstGeom>
            <a:noFill/>
          </p:spPr>
          <p:txBody>
            <a:bodyPr wrap="square" lIns="0" tIns="0" rIns="0" bIns="0" rtlCol="0" anchor="ctr">
              <a:noAutofit/>
            </a:bodyPr>
            <a:lstStyle/>
            <a:p>
              <a:pPr algn="ctr">
                <a:lnSpc>
                  <a:spcPct val="90000"/>
                </a:lnSpc>
              </a:pPr>
              <a:r>
                <a:rPr lang="en-US" sz="1500" b="1" dirty="0">
                  <a:solidFill>
                    <a:srgbClr val="FF0000"/>
                  </a:solidFill>
                </a:rPr>
                <a:t>Emerging Sources</a:t>
              </a:r>
            </a:p>
          </p:txBody>
        </p:sp>
      </p:grpSp>
      <p:grpSp>
        <p:nvGrpSpPr>
          <p:cNvPr id="200" name="Group 199"/>
          <p:cNvGrpSpPr/>
          <p:nvPr/>
        </p:nvGrpSpPr>
        <p:grpSpPr>
          <a:xfrm>
            <a:off x="3606216" y="1847743"/>
            <a:ext cx="753186" cy="3483564"/>
            <a:chOff x="3606215" y="1847742"/>
            <a:chExt cx="753187" cy="3483564"/>
          </a:xfrm>
        </p:grpSpPr>
        <p:pic>
          <p:nvPicPr>
            <p:cNvPr id="201" name="Picture 200" descr="ic-OracleExadata12cCampaign-wh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15097" y="2957813"/>
              <a:ext cx="665446" cy="665446"/>
            </a:xfrm>
            <a:prstGeom prst="rect">
              <a:avLst/>
            </a:prstGeom>
          </p:spPr>
        </p:pic>
        <p:pic>
          <p:nvPicPr>
            <p:cNvPr id="202" name="Picture 201" descr="ic-OracleExalytics-wht.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6215" y="1847742"/>
              <a:ext cx="709826" cy="709826"/>
            </a:xfrm>
            <a:prstGeom prst="rect">
              <a:avLst/>
            </a:prstGeom>
          </p:spPr>
        </p:pic>
        <p:sp>
          <p:nvSpPr>
            <p:cNvPr id="203" name="TextBox 202"/>
            <p:cNvSpPr txBox="1"/>
            <p:nvPr/>
          </p:nvSpPr>
          <p:spPr>
            <a:xfrm>
              <a:off x="3642652" y="3583609"/>
              <a:ext cx="709297" cy="212789"/>
            </a:xfrm>
            <a:prstGeom prst="rect">
              <a:avLst/>
            </a:prstGeom>
            <a:noFill/>
          </p:spPr>
          <p:txBody>
            <a:bodyPr wrap="none" lIns="0" tIns="0" rIns="0" bIns="0" rtlCol="0">
              <a:noAutofit/>
            </a:bodyPr>
            <a:lstStyle/>
            <a:p>
              <a:pPr algn="ctr">
                <a:lnSpc>
                  <a:spcPct val="90000"/>
                </a:lnSpc>
              </a:pPr>
              <a:r>
                <a:rPr lang="en-US" sz="1200" dirty="0" err="1">
                  <a:solidFill>
                    <a:schemeClr val="bg1"/>
                  </a:solidFill>
                  <a:latin typeface="Calibri"/>
                </a:rPr>
                <a:t>Exadata</a:t>
              </a:r>
              <a:endParaRPr lang="en-US" sz="1200" dirty="0">
                <a:solidFill>
                  <a:schemeClr val="bg1"/>
                </a:solidFill>
                <a:latin typeface="Calibri"/>
              </a:endParaRPr>
            </a:p>
          </p:txBody>
        </p:sp>
        <p:sp>
          <p:nvSpPr>
            <p:cNvPr id="204" name="TextBox 203"/>
            <p:cNvSpPr txBox="1"/>
            <p:nvPr/>
          </p:nvSpPr>
          <p:spPr>
            <a:xfrm>
              <a:off x="3617436" y="2350641"/>
              <a:ext cx="709297" cy="212789"/>
            </a:xfrm>
            <a:prstGeom prst="rect">
              <a:avLst/>
            </a:prstGeom>
            <a:noFill/>
          </p:spPr>
          <p:txBody>
            <a:bodyPr wrap="none" lIns="0" tIns="0" rIns="0" bIns="0" rtlCol="0">
              <a:noAutofit/>
            </a:bodyPr>
            <a:lstStyle/>
            <a:p>
              <a:pPr algn="ctr">
                <a:lnSpc>
                  <a:spcPct val="90000"/>
                </a:lnSpc>
              </a:pPr>
              <a:r>
                <a:rPr lang="en-US" sz="1200" dirty="0" err="1">
                  <a:solidFill>
                    <a:schemeClr val="bg1"/>
                  </a:solidFill>
                  <a:latin typeface="Calibri"/>
                </a:rPr>
                <a:t>Exalytics</a:t>
              </a:r>
              <a:endParaRPr lang="en-US" sz="1200" dirty="0">
                <a:solidFill>
                  <a:schemeClr val="bg1"/>
                </a:solidFill>
                <a:latin typeface="Calibri"/>
              </a:endParaRPr>
            </a:p>
          </p:txBody>
        </p:sp>
        <p:sp>
          <p:nvSpPr>
            <p:cNvPr id="205" name="TextBox 204"/>
            <p:cNvSpPr txBox="1"/>
            <p:nvPr/>
          </p:nvSpPr>
          <p:spPr>
            <a:xfrm>
              <a:off x="3650105" y="5118517"/>
              <a:ext cx="709297" cy="212789"/>
            </a:xfrm>
            <a:prstGeom prst="rect">
              <a:avLst/>
            </a:prstGeom>
            <a:noFill/>
          </p:spPr>
          <p:txBody>
            <a:bodyPr wrap="none" lIns="0" tIns="0" rIns="0" bIns="0" rtlCol="0">
              <a:noAutofit/>
            </a:bodyPr>
            <a:lstStyle/>
            <a:p>
              <a:pPr algn="ctr">
                <a:lnSpc>
                  <a:spcPct val="90000"/>
                </a:lnSpc>
              </a:pPr>
              <a:r>
                <a:rPr lang="en-US" sz="1200" dirty="0">
                  <a:solidFill>
                    <a:schemeClr val="bg1"/>
                  </a:solidFill>
                  <a:latin typeface="Calibri"/>
                </a:rPr>
                <a:t>BDA</a:t>
              </a:r>
            </a:p>
          </p:txBody>
        </p:sp>
        <p:pic>
          <p:nvPicPr>
            <p:cNvPr id="206" name="Picture 205" descr="ic-BigServer-wht.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95027" y="4574079"/>
              <a:ext cx="585494" cy="585494"/>
            </a:xfrm>
            <a:prstGeom prst="rect">
              <a:avLst/>
            </a:prstGeom>
          </p:spPr>
        </p:pic>
      </p:grpSp>
      <p:sp>
        <p:nvSpPr>
          <p:cNvPr id="120" name="Rectangle 119"/>
          <p:cNvSpPr/>
          <p:nvPr/>
        </p:nvSpPr>
        <p:spPr>
          <a:xfrm>
            <a:off x="4468739" y="2062054"/>
            <a:ext cx="2159073" cy="501377"/>
          </a:xfrm>
          <a:prstGeom prst="rect">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500" dirty="0">
                <a:solidFill>
                  <a:srgbClr val="5F5F5F"/>
                </a:solidFill>
                <a:latin typeface="Calibri"/>
              </a:rPr>
              <a:t>Oracle </a:t>
            </a:r>
            <a:r>
              <a:rPr lang="en-US" sz="1500" dirty="0" smtClean="0">
                <a:solidFill>
                  <a:srgbClr val="5F5F5F"/>
                </a:solidFill>
                <a:latin typeface="Calibri"/>
              </a:rPr>
              <a:t>Real-Time Decisions</a:t>
            </a:r>
            <a:endParaRPr lang="en-US" sz="1500" dirty="0">
              <a:solidFill>
                <a:srgbClr val="5F5F5F"/>
              </a:solidFill>
              <a:latin typeface="Calibri"/>
            </a:endParaRPr>
          </a:p>
        </p:txBody>
      </p:sp>
    </p:spTree>
    <p:extLst>
      <p:ext uri="{BB962C8B-B14F-4D97-AF65-F5344CB8AC3E}">
        <p14:creationId xmlns:p14="http://schemas.microsoft.com/office/powerpoint/2010/main" val="119036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2118" y="2118"/>
          <a:ext cx="2115" cy="2116"/>
        </p:xfrm>
        <a:graphic>
          <a:graphicData uri="http://schemas.openxmlformats.org/presentationml/2006/ole">
            <mc:AlternateContent xmlns:mc="http://schemas.openxmlformats.org/markup-compatibility/2006">
              <mc:Choice xmlns:v="urn:schemas-microsoft-com:vml" Requires="v">
                <p:oleObj spid="_x0000_s10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5"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5781" y="1340768"/>
            <a:ext cx="11447772" cy="5026584"/>
          </a:xfrm>
          <a:prstGeom prst="rect">
            <a:avLst/>
          </a:prstGeom>
        </p:spPr>
      </p:pic>
      <p:sp>
        <p:nvSpPr>
          <p:cNvPr id="9" name="Text Placeholder 5"/>
          <p:cNvSpPr txBox="1">
            <a:spLocks/>
          </p:cNvSpPr>
          <p:nvPr/>
        </p:nvSpPr>
        <p:spPr>
          <a:xfrm>
            <a:off x="5408612" y="2971800"/>
            <a:ext cx="2971801" cy="2286000"/>
          </a:xfrm>
          <a:prstGeom prst="rect">
            <a:avLst/>
          </a:prstGeom>
        </p:spPr>
        <p:txBody>
          <a:bodyPr vert="horz" lIns="0" tIns="0" rIns="0" bIns="0" rtlCol="0" anchor="t">
            <a:normAutofit/>
          </a:bodyPr>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marL="0" indent="0">
              <a:buClr>
                <a:srgbClr val="5F5F5F">
                  <a:lumMod val="60000"/>
                  <a:lumOff val="40000"/>
                </a:srgbClr>
              </a:buClr>
              <a:buFont typeface="Arial" panose="020B0604020202020204" pitchFamily="34" charset="0"/>
              <a:buNone/>
            </a:pPr>
            <a:endParaRPr lang="en-US" sz="1900" i="1" dirty="0">
              <a:solidFill>
                <a:srgbClr val="5F5F5F"/>
              </a:solidFill>
            </a:endParaRPr>
          </a:p>
        </p:txBody>
      </p:sp>
      <p:sp>
        <p:nvSpPr>
          <p:cNvPr id="10" name="Text Placeholder 5"/>
          <p:cNvSpPr txBox="1">
            <a:spLocks/>
          </p:cNvSpPr>
          <p:nvPr/>
        </p:nvSpPr>
        <p:spPr>
          <a:xfrm>
            <a:off x="4570412" y="5181600"/>
            <a:ext cx="3124200" cy="1295400"/>
          </a:xfrm>
          <a:prstGeom prst="rect">
            <a:avLst/>
          </a:prstGeom>
        </p:spPr>
        <p:txBody>
          <a:bodyPr vert="horz" lIns="0" tIns="0" rIns="0" bIns="0" rtlCol="0" anchor="t">
            <a:normAutofit/>
          </a:bodyPr>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marL="0" indent="0">
              <a:buClr>
                <a:srgbClr val="5F5F5F">
                  <a:lumMod val="60000"/>
                  <a:lumOff val="40000"/>
                </a:srgbClr>
              </a:buClr>
              <a:buFont typeface="Arial" panose="020B0604020202020204" pitchFamily="34" charset="0"/>
              <a:buNone/>
            </a:pPr>
            <a:r>
              <a:rPr lang="en-US" sz="1600" b="1" dirty="0">
                <a:solidFill>
                  <a:srgbClr val="5F5F5F"/>
                </a:solidFill>
              </a:rPr>
              <a:t>78% </a:t>
            </a:r>
            <a:r>
              <a:rPr lang="en-US" sz="1600" dirty="0">
                <a:solidFill>
                  <a:srgbClr val="5F5F5F"/>
                </a:solidFill>
              </a:rPr>
              <a:t>of customers don’t receive consistent experience across channels.                                                  — </a:t>
            </a:r>
            <a:r>
              <a:rPr lang="en-US" sz="1600" i="1" dirty="0">
                <a:solidFill>
                  <a:srgbClr val="5F5F5F"/>
                </a:solidFill>
              </a:rPr>
              <a:t>Accenture</a:t>
            </a:r>
          </a:p>
        </p:txBody>
      </p:sp>
      <p:sp>
        <p:nvSpPr>
          <p:cNvPr id="13" name="Text Placeholder 5"/>
          <p:cNvSpPr txBox="1">
            <a:spLocks/>
          </p:cNvSpPr>
          <p:nvPr/>
        </p:nvSpPr>
        <p:spPr>
          <a:xfrm>
            <a:off x="9904413" y="3581400"/>
            <a:ext cx="2971801" cy="1981200"/>
          </a:xfrm>
          <a:prstGeom prst="rect">
            <a:avLst/>
          </a:prstGeom>
        </p:spPr>
        <p:txBody>
          <a:bodyPr vert="horz" lIns="0" tIns="0" rIns="0" bIns="0" rtlCol="0" anchor="t">
            <a:normAutofit/>
          </a:bodyPr>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marL="0" indent="0">
              <a:buClr>
                <a:srgbClr val="5F5F5F">
                  <a:lumMod val="60000"/>
                  <a:lumOff val="40000"/>
                </a:srgbClr>
              </a:buClr>
              <a:buFont typeface="Arial" panose="020B0604020202020204" pitchFamily="34" charset="0"/>
              <a:buNone/>
            </a:pPr>
            <a:endParaRPr lang="en-US" sz="1900" i="1" dirty="0">
              <a:solidFill>
                <a:srgbClr val="5F5F5F"/>
              </a:solidFill>
            </a:endParaRPr>
          </a:p>
        </p:txBody>
      </p:sp>
      <p:sp>
        <p:nvSpPr>
          <p:cNvPr id="23" name="Text Placeholder 5"/>
          <p:cNvSpPr txBox="1">
            <a:spLocks/>
          </p:cNvSpPr>
          <p:nvPr/>
        </p:nvSpPr>
        <p:spPr>
          <a:xfrm>
            <a:off x="8380412" y="5181600"/>
            <a:ext cx="3352800" cy="1143000"/>
          </a:xfrm>
          <a:prstGeom prst="rect">
            <a:avLst/>
          </a:prstGeom>
        </p:spPr>
        <p:txBody>
          <a:bodyPr vert="horz" lIns="0" tIns="0" rIns="0" bIns="0" rtlCol="0" anchor="t">
            <a:normAutofit/>
          </a:bodyPr>
          <a:lstStyle>
            <a:lvl1pPr marL="228600" indent="-22860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8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marL="0" indent="0">
              <a:buClr>
                <a:srgbClr val="5F5F5F">
                  <a:lumMod val="60000"/>
                  <a:lumOff val="40000"/>
                </a:srgbClr>
              </a:buClr>
              <a:buFont typeface="Arial" panose="020B0604020202020204" pitchFamily="34" charset="0"/>
              <a:buNone/>
            </a:pPr>
            <a:r>
              <a:rPr lang="en-US" sz="1600" b="1" dirty="0">
                <a:solidFill>
                  <a:srgbClr val="5F5F5F"/>
                </a:solidFill>
              </a:rPr>
              <a:t>94% </a:t>
            </a:r>
            <a:r>
              <a:rPr lang="en-US" sz="1600" dirty="0">
                <a:solidFill>
                  <a:srgbClr val="5F5F5F"/>
                </a:solidFill>
              </a:rPr>
              <a:t>of customers have discontinued communication with a company because of irrelevant messages.                             — </a:t>
            </a:r>
            <a:r>
              <a:rPr lang="en-US" sz="1600" i="1" dirty="0">
                <a:solidFill>
                  <a:srgbClr val="5F5F5F"/>
                </a:solidFill>
              </a:rPr>
              <a:t>Blue Research</a:t>
            </a:r>
          </a:p>
        </p:txBody>
      </p:sp>
      <p:pic>
        <p:nvPicPr>
          <p:cNvPr id="24" name="Picture 23" descr="1.5X red tab for PPT.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ltGray">
          <a:xfrm>
            <a:off x="531812" y="6268258"/>
            <a:ext cx="1610255" cy="589743"/>
          </a:xfrm>
          <a:prstGeom prst="rect">
            <a:avLst/>
          </a:prstGeom>
        </p:spPr>
      </p:pic>
      <p:sp>
        <p:nvSpPr>
          <p:cNvPr id="4" name="Pentagon 3"/>
          <p:cNvSpPr/>
          <p:nvPr/>
        </p:nvSpPr>
        <p:spPr>
          <a:xfrm>
            <a:off x="531813" y="4343400"/>
            <a:ext cx="3505200" cy="685800"/>
          </a:xfrm>
          <a:prstGeom prst="homePlate">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ctr" anchorCtr="0" forceAA="0" compatLnSpc="1">
            <a:prstTxWarp prst="textNoShape">
              <a:avLst/>
            </a:prstTxWarp>
            <a:noAutofit/>
          </a:bodyPr>
          <a:lstStyle/>
          <a:p>
            <a:pPr algn="ctr" defTabSz="914400">
              <a:lnSpc>
                <a:spcPct val="90000"/>
              </a:lnSpc>
            </a:pPr>
            <a:r>
              <a:rPr lang="en-US" sz="1800" b="1" dirty="0">
                <a:solidFill>
                  <a:srgbClr val="FFFFFF"/>
                </a:solidFill>
              </a:rPr>
              <a:t>Marketers Lean Heavily </a:t>
            </a:r>
            <a:endParaRPr lang="en-US" sz="1800" b="1" dirty="0" smtClean="0">
              <a:solidFill>
                <a:srgbClr val="FFFFFF"/>
              </a:solidFill>
            </a:endParaRPr>
          </a:p>
          <a:p>
            <a:pPr algn="ctr" defTabSz="914400">
              <a:lnSpc>
                <a:spcPct val="90000"/>
              </a:lnSpc>
            </a:pPr>
            <a:r>
              <a:rPr lang="en-US" sz="1800" b="1" dirty="0" smtClean="0">
                <a:solidFill>
                  <a:srgbClr val="FFFFFF"/>
                </a:solidFill>
              </a:rPr>
              <a:t>on Fragmented </a:t>
            </a:r>
            <a:r>
              <a:rPr lang="en-US" sz="1800" b="1" dirty="0">
                <a:solidFill>
                  <a:srgbClr val="FFFFFF"/>
                </a:solidFill>
              </a:rPr>
              <a:t>Tools</a:t>
            </a:r>
          </a:p>
        </p:txBody>
      </p:sp>
      <p:sp>
        <p:nvSpPr>
          <p:cNvPr id="27" name="Pentagon 26"/>
          <p:cNvSpPr/>
          <p:nvPr/>
        </p:nvSpPr>
        <p:spPr>
          <a:xfrm>
            <a:off x="4418013" y="4343400"/>
            <a:ext cx="3505200" cy="685800"/>
          </a:xfrm>
          <a:prstGeom prst="homePlate">
            <a:avLst/>
          </a:pr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ctr" anchorCtr="0" forceAA="0" compatLnSpc="1">
            <a:prstTxWarp prst="textNoShape">
              <a:avLst/>
            </a:prstTxWarp>
            <a:noAutofit/>
          </a:bodyPr>
          <a:lstStyle/>
          <a:p>
            <a:pPr algn="ctr" defTabSz="914400">
              <a:lnSpc>
                <a:spcPct val="90000"/>
              </a:lnSpc>
            </a:pPr>
            <a:r>
              <a:rPr lang="en-US" sz="1800" b="1" dirty="0" smtClean="0">
                <a:solidFill>
                  <a:srgbClr val="FFFFFF"/>
                </a:solidFill>
              </a:rPr>
              <a:t>Pass Fragmentation </a:t>
            </a:r>
          </a:p>
          <a:p>
            <a:pPr algn="ctr" defTabSz="914400">
              <a:lnSpc>
                <a:spcPct val="90000"/>
              </a:lnSpc>
            </a:pPr>
            <a:r>
              <a:rPr lang="en-US" sz="1800" b="1" dirty="0" smtClean="0">
                <a:solidFill>
                  <a:srgbClr val="FFFFFF"/>
                </a:solidFill>
              </a:rPr>
              <a:t>Onto Customer</a:t>
            </a:r>
            <a:endParaRPr lang="en-US" sz="1800" b="1" dirty="0">
              <a:solidFill>
                <a:srgbClr val="FFFFFF"/>
              </a:solidFill>
            </a:endParaRPr>
          </a:p>
        </p:txBody>
      </p:sp>
      <p:sp>
        <p:nvSpPr>
          <p:cNvPr id="5" name="TextBox 4"/>
          <p:cNvSpPr txBox="1"/>
          <p:nvPr/>
        </p:nvSpPr>
        <p:spPr>
          <a:xfrm>
            <a:off x="4990582" y="-104588"/>
            <a:ext cx="914400" cy="914400"/>
          </a:xfrm>
          <a:prstGeom prst="rect">
            <a:avLst/>
          </a:prstGeom>
          <a:noFill/>
        </p:spPr>
        <p:txBody>
          <a:bodyPr wrap="none" lIns="0" tIns="0" rIns="0" bIns="0" rtlCol="0">
            <a:noAutofit/>
          </a:bodyPr>
          <a:lstStyle/>
          <a:p>
            <a:pPr defTabSz="914400">
              <a:lnSpc>
                <a:spcPct val="90000"/>
              </a:lnSpc>
            </a:pPr>
            <a:endParaRPr lang="en-US" sz="1800" dirty="0">
              <a:solidFill>
                <a:srgbClr val="5F5F5F"/>
              </a:solidFill>
            </a:endParaRPr>
          </a:p>
        </p:txBody>
      </p:sp>
      <p:sp>
        <p:nvSpPr>
          <p:cNvPr id="6" name="Rectangle 5"/>
          <p:cNvSpPr/>
          <p:nvPr/>
        </p:nvSpPr>
        <p:spPr>
          <a:xfrm>
            <a:off x="8380412" y="4343400"/>
            <a:ext cx="3352800" cy="685800"/>
          </a:xfrm>
          <a:prstGeom prst="rect">
            <a:avLst/>
          </a:pr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ctr" anchorCtr="0" forceAA="0" compatLnSpc="1">
            <a:prstTxWarp prst="textNoShape">
              <a:avLst/>
            </a:prstTxWarp>
            <a:noAutofit/>
          </a:bodyPr>
          <a:lstStyle/>
          <a:p>
            <a:pPr algn="ctr" defTabSz="914400">
              <a:lnSpc>
                <a:spcPct val="90000"/>
              </a:lnSpc>
            </a:pPr>
            <a:r>
              <a:rPr lang="en-US" sz="1800" b="1" dirty="0" smtClean="0">
                <a:solidFill>
                  <a:srgbClr val="FFFFFF"/>
                </a:solidFill>
              </a:rPr>
              <a:t>Bombarded, Customers Don’t Convert </a:t>
            </a:r>
            <a:r>
              <a:rPr lang="en-US" sz="1800" b="1" dirty="0">
                <a:solidFill>
                  <a:srgbClr val="FFFFFF"/>
                </a:solidFill>
              </a:rPr>
              <a:t>o</a:t>
            </a:r>
            <a:r>
              <a:rPr lang="en-US" sz="1800" b="1" dirty="0" smtClean="0">
                <a:solidFill>
                  <a:srgbClr val="FFFFFF"/>
                </a:solidFill>
              </a:rPr>
              <a:t>r They Leave</a:t>
            </a:r>
            <a:endParaRPr lang="en-US" sz="1800" b="1" dirty="0">
              <a:solidFill>
                <a:srgbClr val="FFFFFF"/>
              </a:solidFill>
            </a:endParaRPr>
          </a:p>
        </p:txBody>
      </p:sp>
      <p:sp>
        <p:nvSpPr>
          <p:cNvPr id="15" name="Oval 14"/>
          <p:cNvSpPr/>
          <p:nvPr/>
        </p:nvSpPr>
        <p:spPr>
          <a:xfrm>
            <a:off x="11657012" y="-24132"/>
            <a:ext cx="551282" cy="537336"/>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anchor="ctr"/>
          <a:lstStyle/>
          <a:p>
            <a:pPr algn="ctr" defTabSz="914400">
              <a:defRPr/>
            </a:pPr>
            <a:r>
              <a:rPr lang="en-US" sz="3200" b="1" dirty="0">
                <a:solidFill>
                  <a:srgbClr val="7F7F7F"/>
                </a:solidFill>
              </a:rPr>
              <a:t>1</a:t>
            </a:r>
          </a:p>
        </p:txBody>
      </p:sp>
      <p:sp>
        <p:nvSpPr>
          <p:cNvPr id="8" name="Title 7"/>
          <p:cNvSpPr>
            <a:spLocks noGrp="1"/>
          </p:cNvSpPr>
          <p:nvPr>
            <p:ph type="title"/>
          </p:nvPr>
        </p:nvSpPr>
        <p:spPr>
          <a:xfrm>
            <a:off x="531811" y="680368"/>
            <a:ext cx="11125199" cy="660400"/>
          </a:xfrm>
        </p:spPr>
        <p:txBody>
          <a:bodyPr/>
          <a:lstStyle/>
          <a:p>
            <a:pPr>
              <a:tabLst>
                <a:tab pos="3824128" algn="l"/>
              </a:tabLst>
            </a:pPr>
            <a:r>
              <a:rPr lang="en-US" sz="3700" dirty="0"/>
              <a:t>The </a:t>
            </a:r>
            <a:r>
              <a:rPr lang="en-US" sz="3700" dirty="0">
                <a:solidFill>
                  <a:srgbClr val="FF0000"/>
                </a:solidFill>
              </a:rPr>
              <a:t>Result</a:t>
            </a:r>
            <a:r>
              <a:rPr lang="en-US" sz="3700" dirty="0"/>
              <a:t> of </a:t>
            </a:r>
            <a:r>
              <a:rPr lang="en-US" sz="3700" dirty="0" err="1"/>
              <a:t>Silo’d</a:t>
            </a:r>
            <a:r>
              <a:rPr lang="en-US" sz="3700" dirty="0"/>
              <a:t> Marketing is A </a:t>
            </a:r>
            <a:r>
              <a:rPr lang="en-US" sz="3700" dirty="0">
                <a:solidFill>
                  <a:srgbClr val="FF0000"/>
                </a:solidFill>
              </a:rPr>
              <a:t>Broken Customer Experience</a:t>
            </a:r>
          </a:p>
        </p:txBody>
      </p:sp>
    </p:spTree>
    <p:extLst>
      <p:ext uri="{BB962C8B-B14F-4D97-AF65-F5344CB8AC3E}">
        <p14:creationId xmlns:p14="http://schemas.microsoft.com/office/powerpoint/2010/main" val="173520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GB" dirty="0"/>
              <a:t>Real-Time Interactions Optimization Value Dimension</a:t>
            </a:r>
            <a:endParaRPr lang="en-US" dirty="0"/>
          </a:p>
        </p:txBody>
      </p:sp>
      <p:sp>
        <p:nvSpPr>
          <p:cNvPr id="2" name="Footer Placeholder 1"/>
          <p:cNvSpPr>
            <a:spLocks noGrp="1"/>
          </p:cNvSpPr>
          <p:nvPr>
            <p:ph type="ftr" sz="quarter" idx="11"/>
          </p:nvPr>
        </p:nvSpPr>
        <p:spPr>
          <a:xfrm>
            <a:off x="9119343" y="6556375"/>
            <a:ext cx="2498725" cy="182563"/>
          </a:xfrm>
        </p:spPr>
        <p:txBody>
          <a:bodyPr/>
          <a:lstStyle/>
          <a:p>
            <a:pPr>
              <a:defRPr/>
            </a:pPr>
            <a:r>
              <a:rPr lang="en-US" smtClean="0">
                <a:solidFill>
                  <a:srgbClr val="5F5F5F"/>
                </a:solidFill>
              </a:rPr>
              <a:t>Oracle Confidential</a:t>
            </a:r>
            <a:endParaRPr lang="en-US">
              <a:solidFill>
                <a:srgbClr val="5F5F5F"/>
              </a:solidFill>
            </a:endParaRPr>
          </a:p>
        </p:txBody>
      </p:sp>
      <p:sp>
        <p:nvSpPr>
          <p:cNvPr id="3" name="Slide Number Placeholder 2"/>
          <p:cNvSpPr>
            <a:spLocks noGrp="1"/>
          </p:cNvSpPr>
          <p:nvPr>
            <p:ph type="sldNum" sz="quarter" idx="12"/>
          </p:nvPr>
        </p:nvSpPr>
        <p:spPr>
          <a:xfrm>
            <a:off x="11618068" y="6556375"/>
            <a:ext cx="381000" cy="182563"/>
          </a:xfrm>
        </p:spPr>
        <p:txBody>
          <a:bodyPr/>
          <a:lstStyle/>
          <a:p>
            <a:pPr>
              <a:defRPr/>
            </a:pPr>
            <a:fld id="{A08EF207-3366-4A01-AA7E-6C12AA8F9FDE}" type="slidenum">
              <a:rPr lang="en-US" smtClean="0">
                <a:solidFill>
                  <a:srgbClr val="5F5F5F"/>
                </a:solidFill>
              </a:rPr>
              <a:pPr>
                <a:defRPr/>
              </a:pPr>
              <a:t>36</a:t>
            </a:fld>
            <a:endParaRPr lang="en-US" dirty="0">
              <a:solidFill>
                <a:srgbClr val="5F5F5F"/>
              </a:solidFill>
            </a:endParaRPr>
          </a:p>
        </p:txBody>
      </p:sp>
      <p:sp>
        <p:nvSpPr>
          <p:cNvPr id="4" name="Rectangle 3"/>
          <p:cNvSpPr/>
          <p:nvPr/>
        </p:nvSpPr>
        <p:spPr>
          <a:xfrm>
            <a:off x="1469583" y="1877582"/>
            <a:ext cx="8662705" cy="4055250"/>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4400"/>
            <a:endParaRPr lang="en-US" sz="1800">
              <a:solidFill>
                <a:srgbClr val="FFFFFF"/>
              </a:solidFill>
            </a:endParaRPr>
          </a:p>
        </p:txBody>
      </p:sp>
      <p:cxnSp>
        <p:nvCxnSpPr>
          <p:cNvPr id="5" name="Straight Arrow Connector 4"/>
          <p:cNvCxnSpPr/>
          <p:nvPr/>
        </p:nvCxnSpPr>
        <p:spPr>
          <a:xfrm flipH="1" flipV="1">
            <a:off x="1469582" y="1772816"/>
            <a:ext cx="32504" cy="4253037"/>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1469583" y="6009597"/>
            <a:ext cx="8695208" cy="0"/>
          </a:xfrm>
          <a:prstGeom prst="straightConnector1">
            <a:avLst/>
          </a:prstGeom>
          <a:ln w="412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6783124" y="4874147"/>
            <a:ext cx="504000" cy="50400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4400"/>
            <a:endParaRPr lang="en-GB" sz="1800">
              <a:solidFill>
                <a:prstClr val="white"/>
              </a:solidFill>
            </a:endParaRPr>
          </a:p>
        </p:txBody>
      </p:sp>
      <p:sp>
        <p:nvSpPr>
          <p:cNvPr id="8" name="Oval 7"/>
          <p:cNvSpPr/>
          <p:nvPr/>
        </p:nvSpPr>
        <p:spPr>
          <a:xfrm>
            <a:off x="4897464" y="3518614"/>
            <a:ext cx="792000" cy="79200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4400"/>
            <a:endParaRPr lang="en-GB" sz="1800">
              <a:solidFill>
                <a:prstClr val="white"/>
              </a:solidFill>
            </a:endParaRPr>
          </a:p>
        </p:txBody>
      </p:sp>
      <p:sp>
        <p:nvSpPr>
          <p:cNvPr id="9" name="Oval 8"/>
          <p:cNvSpPr/>
          <p:nvPr/>
        </p:nvSpPr>
        <p:spPr>
          <a:xfrm>
            <a:off x="1948086" y="1877582"/>
            <a:ext cx="1044000" cy="104400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4400"/>
            <a:endParaRPr lang="en-GB" sz="1800">
              <a:solidFill>
                <a:prstClr val="white"/>
              </a:solidFill>
            </a:endParaRPr>
          </a:p>
        </p:txBody>
      </p:sp>
      <p:sp>
        <p:nvSpPr>
          <p:cNvPr id="10" name="TextBox 9"/>
          <p:cNvSpPr txBox="1"/>
          <p:nvPr/>
        </p:nvSpPr>
        <p:spPr>
          <a:xfrm>
            <a:off x="7528348" y="4597161"/>
            <a:ext cx="2517975" cy="553976"/>
          </a:xfrm>
          <a:prstGeom prst="rect">
            <a:avLst/>
          </a:prstGeom>
          <a:solidFill>
            <a:schemeClr val="accent5">
              <a:lumMod val="75000"/>
            </a:schemeClr>
          </a:solidFill>
        </p:spPr>
        <p:txBody>
          <a:bodyPr wrap="square" lIns="121899" tIns="60949" rIns="121899" bIns="60949" rtlCol="0">
            <a:spAutoFit/>
          </a:bodyPr>
          <a:lstStyle/>
          <a:p>
            <a:pPr defTabSz="914400"/>
            <a:r>
              <a:rPr lang="en-GB" sz="1400" dirty="0">
                <a:solidFill>
                  <a:prstClr val="white"/>
                </a:solidFill>
              </a:rPr>
              <a:t>Option 1: </a:t>
            </a:r>
          </a:p>
          <a:p>
            <a:pPr defTabSz="914400">
              <a:buFont typeface="Arial" pitchFamily="34" charset="0"/>
              <a:buChar char="•"/>
            </a:pPr>
            <a:r>
              <a:rPr lang="en-GB" sz="1400" dirty="0">
                <a:solidFill>
                  <a:prstClr val="white"/>
                </a:solidFill>
              </a:rPr>
              <a:t> Rules only</a:t>
            </a:r>
          </a:p>
        </p:txBody>
      </p:sp>
      <p:sp>
        <p:nvSpPr>
          <p:cNvPr id="11" name="TextBox 10"/>
          <p:cNvSpPr txBox="1"/>
          <p:nvPr/>
        </p:nvSpPr>
        <p:spPr>
          <a:xfrm>
            <a:off x="5797535" y="3457290"/>
            <a:ext cx="3461626" cy="553976"/>
          </a:xfrm>
          <a:prstGeom prst="rect">
            <a:avLst/>
          </a:prstGeom>
          <a:solidFill>
            <a:schemeClr val="accent5">
              <a:lumMod val="75000"/>
            </a:schemeClr>
          </a:solidFill>
        </p:spPr>
        <p:txBody>
          <a:bodyPr wrap="square" lIns="121899" tIns="60949" rIns="121899" bIns="60949" rtlCol="0">
            <a:spAutoFit/>
          </a:bodyPr>
          <a:lstStyle/>
          <a:p>
            <a:pPr defTabSz="914400"/>
            <a:r>
              <a:rPr lang="en-GB" sz="1400" dirty="0">
                <a:solidFill>
                  <a:prstClr val="white"/>
                </a:solidFill>
              </a:rPr>
              <a:t>Option 2: </a:t>
            </a:r>
          </a:p>
          <a:p>
            <a:pPr defTabSz="914400">
              <a:buFont typeface="Arial" pitchFamily="34" charset="0"/>
              <a:buChar char="•"/>
            </a:pPr>
            <a:r>
              <a:rPr lang="en-GB" sz="1400" dirty="0">
                <a:solidFill>
                  <a:prstClr val="white"/>
                </a:solidFill>
              </a:rPr>
              <a:t> Offline Data Mining + Rules</a:t>
            </a:r>
          </a:p>
        </p:txBody>
      </p:sp>
      <p:sp>
        <p:nvSpPr>
          <p:cNvPr id="12" name="TextBox 11"/>
          <p:cNvSpPr txBox="1"/>
          <p:nvPr/>
        </p:nvSpPr>
        <p:spPr>
          <a:xfrm>
            <a:off x="3082569" y="2060848"/>
            <a:ext cx="5820756" cy="769419"/>
          </a:xfrm>
          <a:prstGeom prst="rect">
            <a:avLst/>
          </a:prstGeom>
          <a:solidFill>
            <a:schemeClr val="accent5">
              <a:lumMod val="75000"/>
            </a:schemeClr>
          </a:solidFill>
        </p:spPr>
        <p:txBody>
          <a:bodyPr wrap="square" lIns="121899" tIns="60949" rIns="121899" bIns="60949" rtlCol="0">
            <a:spAutoFit/>
          </a:bodyPr>
          <a:lstStyle/>
          <a:p>
            <a:pPr defTabSz="914400"/>
            <a:r>
              <a:rPr lang="en-GB" sz="1400" dirty="0">
                <a:solidFill>
                  <a:prstClr val="white"/>
                </a:solidFill>
              </a:rPr>
              <a:t>Option 3: </a:t>
            </a:r>
          </a:p>
          <a:p>
            <a:pPr defTabSz="914400">
              <a:buFont typeface="Arial" pitchFamily="34" charset="0"/>
              <a:buChar char="•"/>
            </a:pPr>
            <a:r>
              <a:rPr lang="en-GB" sz="1400" dirty="0">
                <a:solidFill>
                  <a:prstClr val="white"/>
                </a:solidFill>
              </a:rPr>
              <a:t>  Real-Time Self-learning + Offline Data Mining + Rules + Performance Goals</a:t>
            </a:r>
          </a:p>
        </p:txBody>
      </p:sp>
      <p:sp>
        <p:nvSpPr>
          <p:cNvPr id="13" name="TextBox 12"/>
          <p:cNvSpPr txBox="1"/>
          <p:nvPr/>
        </p:nvSpPr>
        <p:spPr>
          <a:xfrm>
            <a:off x="8787335" y="5972082"/>
            <a:ext cx="1609724" cy="533480"/>
          </a:xfrm>
          <a:prstGeom prst="rect">
            <a:avLst/>
          </a:prstGeom>
          <a:noFill/>
        </p:spPr>
        <p:txBody>
          <a:bodyPr wrap="square" lIns="121899" tIns="60949" rIns="121899" bIns="60949" rtlCol="0">
            <a:spAutoFit/>
          </a:bodyPr>
          <a:lstStyle/>
          <a:p>
            <a:pPr defTabSz="914400"/>
            <a:r>
              <a:rPr lang="en-GB" sz="2700" dirty="0">
                <a:solidFill>
                  <a:srgbClr val="424545"/>
                </a:solidFill>
              </a:rPr>
              <a:t> </a:t>
            </a:r>
            <a:r>
              <a:rPr lang="en-GB" sz="2700" dirty="0" smtClean="0">
                <a:solidFill>
                  <a:srgbClr val="424545"/>
                </a:solidFill>
              </a:rPr>
              <a:t>TCO</a:t>
            </a:r>
            <a:endParaRPr lang="en-GB" sz="2700" dirty="0">
              <a:solidFill>
                <a:srgbClr val="424545"/>
              </a:solidFill>
            </a:endParaRPr>
          </a:p>
        </p:txBody>
      </p:sp>
      <p:sp>
        <p:nvSpPr>
          <p:cNvPr id="14" name="TextBox 13"/>
          <p:cNvSpPr txBox="1"/>
          <p:nvPr/>
        </p:nvSpPr>
        <p:spPr>
          <a:xfrm>
            <a:off x="189756" y="1734886"/>
            <a:ext cx="2900940" cy="533480"/>
          </a:xfrm>
          <a:prstGeom prst="rect">
            <a:avLst/>
          </a:prstGeom>
          <a:noFill/>
        </p:spPr>
        <p:txBody>
          <a:bodyPr wrap="square" lIns="121899" tIns="60949" rIns="121899" bIns="60949" rtlCol="0">
            <a:spAutoFit/>
          </a:bodyPr>
          <a:lstStyle/>
          <a:p>
            <a:pPr defTabSz="914400"/>
            <a:r>
              <a:rPr lang="en-GB" sz="2700" dirty="0">
                <a:solidFill>
                  <a:srgbClr val="424545"/>
                </a:solidFill>
              </a:rPr>
              <a:t>Value</a:t>
            </a:r>
          </a:p>
        </p:txBody>
      </p:sp>
      <p:sp>
        <p:nvSpPr>
          <p:cNvPr id="15" name="Oval 14"/>
          <p:cNvSpPr/>
          <p:nvPr/>
        </p:nvSpPr>
        <p:spPr>
          <a:xfrm>
            <a:off x="1400052" y="5859235"/>
            <a:ext cx="216000" cy="21600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4400"/>
            <a:endParaRPr lang="en-GB" sz="1800">
              <a:solidFill>
                <a:prstClr val="white"/>
              </a:solidFill>
            </a:endParaRPr>
          </a:p>
        </p:txBody>
      </p:sp>
      <p:sp>
        <p:nvSpPr>
          <p:cNvPr id="16" name="TextBox 15"/>
          <p:cNvSpPr txBox="1"/>
          <p:nvPr/>
        </p:nvSpPr>
        <p:spPr>
          <a:xfrm>
            <a:off x="2010872" y="5224065"/>
            <a:ext cx="3120602" cy="400087"/>
          </a:xfrm>
          <a:prstGeom prst="rect">
            <a:avLst/>
          </a:prstGeom>
          <a:solidFill>
            <a:schemeClr val="accent5">
              <a:lumMod val="75000"/>
            </a:schemeClr>
          </a:solidFill>
        </p:spPr>
        <p:txBody>
          <a:bodyPr wrap="square" lIns="121899" tIns="60949" rIns="121899" bIns="60949" rtlCol="0">
            <a:spAutoFit/>
          </a:bodyPr>
          <a:lstStyle/>
          <a:p>
            <a:pPr defTabSz="914400"/>
            <a:r>
              <a:rPr lang="en-GB" sz="1800" dirty="0" smtClean="0">
                <a:solidFill>
                  <a:prstClr val="white"/>
                </a:solidFill>
              </a:rPr>
              <a:t>Doing Nothing</a:t>
            </a:r>
          </a:p>
        </p:txBody>
      </p:sp>
      <p:sp>
        <p:nvSpPr>
          <p:cNvPr id="17" name="TextBox 16"/>
          <p:cNvSpPr txBox="1"/>
          <p:nvPr/>
        </p:nvSpPr>
        <p:spPr>
          <a:xfrm rot="5400000">
            <a:off x="-379302" y="3603253"/>
            <a:ext cx="2901696" cy="538587"/>
          </a:xfrm>
          <a:prstGeom prst="rect">
            <a:avLst/>
          </a:prstGeom>
          <a:noFill/>
        </p:spPr>
        <p:txBody>
          <a:bodyPr wrap="square" lIns="121899" tIns="60949" rIns="121899" bIns="60949" rtlCol="0">
            <a:spAutoFit/>
          </a:bodyPr>
          <a:lstStyle/>
          <a:p>
            <a:pPr defTabSz="914400"/>
            <a:r>
              <a:rPr lang="en-GB" sz="2700" dirty="0">
                <a:solidFill>
                  <a:srgbClr val="424545"/>
                </a:solidFill>
              </a:rPr>
              <a:t>Effectiveness</a:t>
            </a:r>
          </a:p>
        </p:txBody>
      </p:sp>
      <p:sp>
        <p:nvSpPr>
          <p:cNvPr id="18" name="TextBox 17"/>
          <p:cNvSpPr txBox="1"/>
          <p:nvPr/>
        </p:nvSpPr>
        <p:spPr>
          <a:xfrm>
            <a:off x="4589803" y="5890232"/>
            <a:ext cx="2900940" cy="533480"/>
          </a:xfrm>
          <a:prstGeom prst="rect">
            <a:avLst/>
          </a:prstGeom>
          <a:noFill/>
        </p:spPr>
        <p:txBody>
          <a:bodyPr wrap="square" lIns="121899" tIns="60949" rIns="121899" bIns="60949" rtlCol="0">
            <a:spAutoFit/>
          </a:bodyPr>
          <a:lstStyle/>
          <a:p>
            <a:pPr defTabSz="914400"/>
            <a:r>
              <a:rPr lang="en-GB" sz="2700" dirty="0">
                <a:solidFill>
                  <a:srgbClr val="424545"/>
                </a:solidFill>
              </a:rPr>
              <a:t>Efficiency</a:t>
            </a:r>
          </a:p>
        </p:txBody>
      </p:sp>
    </p:spTree>
    <p:extLst>
      <p:ext uri="{BB962C8B-B14F-4D97-AF65-F5344CB8AC3E}">
        <p14:creationId xmlns:p14="http://schemas.microsoft.com/office/powerpoint/2010/main" val="110944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solidFill>
                  <a:srgbClr val="5F5F5F">
                    <a:lumMod val="60000"/>
                    <a:lumOff val="40000"/>
                  </a:srgbClr>
                </a:solidFill>
              </a:rPr>
              <a:t>Oracle Confidential – Internal/Restricted/Highly Restricted</a:t>
            </a:r>
            <a:endParaRPr lang="en-US">
              <a:solidFill>
                <a:srgbClr val="5F5F5F">
                  <a:lumMod val="60000"/>
                  <a:lumOff val="40000"/>
                </a:srgbClr>
              </a:solidFill>
            </a:endParaRPr>
          </a:p>
        </p:txBody>
      </p:sp>
      <p:sp>
        <p:nvSpPr>
          <p:cNvPr id="5" name="Slide Number Placeholder 4"/>
          <p:cNvSpPr>
            <a:spLocks noGrp="1"/>
          </p:cNvSpPr>
          <p:nvPr>
            <p:ph type="sldNum" sz="quarter" idx="12"/>
          </p:nvPr>
        </p:nvSpPr>
        <p:spPr/>
        <p:txBody>
          <a:bodyPr/>
          <a:lstStyle/>
          <a:p>
            <a:fld id="{C51EAA63-D034-42AE-91FA-B13B9518C7BE}" type="slidenum">
              <a:rPr lang="en-US" smtClean="0">
                <a:solidFill>
                  <a:srgbClr val="5F5F5F">
                    <a:lumMod val="60000"/>
                    <a:lumOff val="40000"/>
                  </a:srgbClr>
                </a:solidFill>
              </a:rPr>
              <a:pPr/>
              <a:t>37</a:t>
            </a:fld>
            <a:endParaRPr lang="en-US">
              <a:solidFill>
                <a:srgbClr val="5F5F5F">
                  <a:lumMod val="60000"/>
                  <a:lumOff val="40000"/>
                </a:srgbClr>
              </a:solidFill>
            </a:endParaRPr>
          </a:p>
        </p:txBody>
      </p:sp>
      <p:pic>
        <p:nvPicPr>
          <p:cNvPr id="6" name="Picture 5" descr="E:\Documents\1_RTD_Presales\1_FY15_Slides\RTD-Screenshot3.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88825" cy="6858000"/>
          </a:xfrm>
          <a:prstGeom prst="rect">
            <a:avLst/>
          </a:prstGeom>
          <a:noFill/>
          <a:ln>
            <a:noFill/>
          </a:ln>
        </p:spPr>
      </p:pic>
    </p:spTree>
    <p:extLst>
      <p:ext uri="{BB962C8B-B14F-4D97-AF65-F5344CB8AC3E}">
        <p14:creationId xmlns:p14="http://schemas.microsoft.com/office/powerpoint/2010/main" val="228690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531813" y="260648"/>
            <a:ext cx="11125200" cy="889000"/>
          </a:xfrm>
        </p:spPr>
        <p:txBody>
          <a:bodyPr/>
          <a:lstStyle/>
          <a:p>
            <a:r>
              <a:rPr lang="en-US" dirty="0" smtClean="0"/>
              <a:t>Many Organizations Are Facing Similar Challenges</a:t>
            </a:r>
          </a:p>
        </p:txBody>
      </p:sp>
      <p:sp>
        <p:nvSpPr>
          <p:cNvPr id="7172" name="Rectangle 4">
            <a:hlinkClick r:id="rId4" action="ppaction://hlinksldjump"/>
          </p:cNvPr>
          <p:cNvSpPr>
            <a:spLocks noChangeArrowheads="1"/>
          </p:cNvSpPr>
          <p:nvPr/>
        </p:nvSpPr>
        <p:spPr bwMode="gray">
          <a:xfrm>
            <a:off x="1055725" y="1214438"/>
            <a:ext cx="2399375" cy="360000"/>
          </a:xfrm>
          <a:prstGeom prst="rect">
            <a:avLst/>
          </a:prstGeom>
          <a:noFill/>
          <a:ln>
            <a:noFill/>
          </a:ln>
          <a:effectLst/>
        </p:spPr>
        <p:txBody>
          <a:bodyPr lIns="0" tIns="0" rIns="0" bIns="0" anchor="ctr"/>
          <a:lstStyle/>
          <a:p>
            <a:pPr defTabSz="823913" fontAlgn="base">
              <a:spcBef>
                <a:spcPct val="0"/>
              </a:spcBef>
              <a:spcAft>
                <a:spcPct val="0"/>
              </a:spcAft>
            </a:pPr>
            <a:r>
              <a:rPr lang="en-US" sz="1600" dirty="0">
                <a:solidFill>
                  <a:srgbClr val="8A133B"/>
                </a:solidFill>
                <a:latin typeface="Arial" pitchFamily="34" charset="0"/>
                <a:cs typeface="Times New Roman" pitchFamily="18" charset="0"/>
              </a:rPr>
              <a:t>Objectives	</a:t>
            </a:r>
          </a:p>
        </p:txBody>
      </p:sp>
      <p:sp>
        <p:nvSpPr>
          <p:cNvPr id="7176" name="Rectangle 8">
            <a:hlinkClick r:id="rId4" action="ppaction://hlinksldjump"/>
          </p:cNvPr>
          <p:cNvSpPr>
            <a:spLocks noChangeArrowheads="1"/>
          </p:cNvSpPr>
          <p:nvPr/>
        </p:nvSpPr>
        <p:spPr bwMode="gray">
          <a:xfrm>
            <a:off x="1055725" y="1724025"/>
            <a:ext cx="2399375" cy="1260000"/>
          </a:xfrm>
          <a:prstGeom prst="rect">
            <a:avLst/>
          </a:prstGeom>
          <a:solidFill>
            <a:schemeClr val="accent5">
              <a:lumMod val="75000"/>
            </a:schemeClr>
          </a:solidFill>
          <a:ln>
            <a:noFill/>
          </a:ln>
          <a:effectLst>
            <a:outerShdw blurRad="50800" dist="38100" dir="2700000" algn="tl" rotWithShape="0">
              <a:prstClr val="black">
                <a:alpha val="40000"/>
              </a:prstClr>
            </a:outerShdw>
          </a:effectLst>
        </p:spPr>
        <p:txBody>
          <a:bodyPr lIns="72000" tIns="72000" rIns="72000" bIns="72000" anchor="ctr"/>
          <a:lstStyle/>
          <a:p>
            <a:pPr defTabSz="823913" fontAlgn="base">
              <a:spcBef>
                <a:spcPct val="0"/>
              </a:spcBef>
              <a:spcAft>
                <a:spcPct val="0"/>
              </a:spcAft>
            </a:pPr>
            <a:r>
              <a:rPr lang="en-US" sz="1600" dirty="0">
                <a:solidFill>
                  <a:srgbClr val="FFFFFF"/>
                </a:solidFill>
                <a:latin typeface="Arial" pitchFamily="34" charset="0"/>
                <a:cs typeface="Times New Roman" pitchFamily="18" charset="0"/>
              </a:rPr>
              <a:t>Timeliness and Relevance</a:t>
            </a:r>
          </a:p>
        </p:txBody>
      </p:sp>
      <p:sp>
        <p:nvSpPr>
          <p:cNvPr id="7177" name="Rectangle 9">
            <a:hlinkClick r:id="rId4" action="ppaction://hlinksldjump"/>
          </p:cNvPr>
          <p:cNvSpPr>
            <a:spLocks noChangeArrowheads="1"/>
          </p:cNvSpPr>
          <p:nvPr/>
        </p:nvSpPr>
        <p:spPr bwMode="gray">
          <a:xfrm>
            <a:off x="1055725" y="3161644"/>
            <a:ext cx="2399375" cy="1260000"/>
          </a:xfrm>
          <a:prstGeom prst="rect">
            <a:avLst/>
          </a:prstGeom>
          <a:solidFill>
            <a:schemeClr val="accent5">
              <a:lumMod val="75000"/>
            </a:schemeClr>
          </a:solidFill>
          <a:ln>
            <a:noFill/>
          </a:ln>
          <a:effectLst>
            <a:outerShdw blurRad="50800" dist="38100" dir="2700000" algn="tl" rotWithShape="0">
              <a:prstClr val="black">
                <a:alpha val="40000"/>
              </a:prstClr>
            </a:outerShdw>
          </a:effectLst>
        </p:spPr>
        <p:txBody>
          <a:bodyPr lIns="72000" tIns="72000" rIns="72000" bIns="72000" anchor="ctr"/>
          <a:lstStyle/>
          <a:p>
            <a:pPr defTabSz="823913" fontAlgn="base">
              <a:spcBef>
                <a:spcPct val="0"/>
              </a:spcBef>
              <a:spcAft>
                <a:spcPct val="0"/>
              </a:spcAft>
            </a:pPr>
            <a:r>
              <a:rPr lang="en-US" sz="1600">
                <a:solidFill>
                  <a:srgbClr val="FFFFFF"/>
                </a:solidFill>
                <a:latin typeface="Arial" pitchFamily="34" charset="0"/>
                <a:cs typeface="Times New Roman" pitchFamily="18" charset="0"/>
              </a:rPr>
              <a:t>Multi-Channel</a:t>
            </a:r>
            <a:br>
              <a:rPr lang="en-US" sz="1600">
                <a:solidFill>
                  <a:srgbClr val="FFFFFF"/>
                </a:solidFill>
                <a:latin typeface="Arial" pitchFamily="34" charset="0"/>
                <a:cs typeface="Times New Roman" pitchFamily="18" charset="0"/>
              </a:rPr>
            </a:br>
            <a:r>
              <a:rPr lang="en-US" sz="1600">
                <a:solidFill>
                  <a:srgbClr val="FFFFFF"/>
                </a:solidFill>
                <a:latin typeface="Arial" pitchFamily="34" charset="0"/>
                <a:cs typeface="Times New Roman" pitchFamily="18" charset="0"/>
              </a:rPr>
              <a:t>Support</a:t>
            </a:r>
          </a:p>
        </p:txBody>
      </p:sp>
      <p:sp>
        <p:nvSpPr>
          <p:cNvPr id="7178" name="Rectangle 10">
            <a:hlinkClick r:id="rId4" action="ppaction://hlinksldjump"/>
          </p:cNvPr>
          <p:cNvSpPr>
            <a:spLocks noChangeArrowheads="1"/>
          </p:cNvSpPr>
          <p:nvPr/>
        </p:nvSpPr>
        <p:spPr bwMode="gray">
          <a:xfrm>
            <a:off x="1055725" y="4599263"/>
            <a:ext cx="2399375" cy="1260000"/>
          </a:xfrm>
          <a:prstGeom prst="rect">
            <a:avLst/>
          </a:prstGeom>
          <a:solidFill>
            <a:schemeClr val="accent5">
              <a:lumMod val="75000"/>
            </a:schemeClr>
          </a:solidFill>
          <a:ln>
            <a:noFill/>
          </a:ln>
          <a:effectLst>
            <a:outerShdw blurRad="50800" dist="38100" dir="2700000" algn="tl" rotWithShape="0">
              <a:prstClr val="black">
                <a:alpha val="40000"/>
              </a:prstClr>
            </a:outerShdw>
          </a:effectLst>
        </p:spPr>
        <p:txBody>
          <a:bodyPr lIns="72000" tIns="72000" rIns="72000" bIns="72000" anchor="ctr"/>
          <a:lstStyle/>
          <a:p>
            <a:pPr defTabSz="823913" fontAlgn="base">
              <a:spcBef>
                <a:spcPct val="0"/>
              </a:spcBef>
              <a:spcAft>
                <a:spcPct val="0"/>
              </a:spcAft>
            </a:pPr>
            <a:r>
              <a:rPr lang="en-US" sz="1600">
                <a:solidFill>
                  <a:srgbClr val="FFFFFF"/>
                </a:solidFill>
                <a:latin typeface="Arial" pitchFamily="34" charset="0"/>
                <a:cs typeface="Times New Roman" pitchFamily="18" charset="0"/>
              </a:rPr>
              <a:t>Ease of Integration</a:t>
            </a:r>
          </a:p>
        </p:txBody>
      </p:sp>
      <p:sp>
        <p:nvSpPr>
          <p:cNvPr id="23" name="TextBox 22"/>
          <p:cNvSpPr txBox="1"/>
          <p:nvPr>
            <p:custDataLst>
              <p:tags r:id="rId1"/>
            </p:custDataLst>
          </p:nvPr>
        </p:nvSpPr>
        <p:spPr>
          <a:xfrm rot="10800000" flipV="1">
            <a:off x="1055726" y="6040191"/>
            <a:ext cx="10077375" cy="115910"/>
          </a:xfrm>
          <a:prstGeom prst="rect">
            <a:avLst/>
          </a:prstGeom>
          <a:noFill/>
          <a:ln>
            <a:noFill/>
          </a:ln>
        </p:spPr>
        <p:txBody>
          <a:bodyPr wrap="none" lIns="0" tIns="0" rIns="0" bIns="0" rtlCol="0" anchor="b">
            <a:noAutofit/>
          </a:bodyPr>
          <a:lstStyle/>
          <a:p>
            <a:pPr defTabSz="914400" fontAlgn="base">
              <a:spcBef>
                <a:spcPct val="0"/>
              </a:spcBef>
            </a:pPr>
            <a:r>
              <a:rPr lang="en-US" sz="900" dirty="0" smtClean="0">
                <a:solidFill>
                  <a:srgbClr val="8A133B"/>
                </a:solidFill>
                <a:latin typeface="Arial" pitchFamily="34" charset="0"/>
                <a:cs typeface="Arial" pitchFamily="34" charset="0"/>
              </a:rPr>
              <a:t>Source: Oracle Insight analysis</a:t>
            </a:r>
          </a:p>
        </p:txBody>
      </p:sp>
      <p:cxnSp>
        <p:nvCxnSpPr>
          <p:cNvPr id="24" name="Straight Connector 23"/>
          <p:cNvCxnSpPr/>
          <p:nvPr/>
        </p:nvCxnSpPr>
        <p:spPr>
          <a:xfrm>
            <a:off x="1055725" y="1574438"/>
            <a:ext cx="2399375"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 name="Group 7"/>
          <p:cNvGrpSpPr/>
          <p:nvPr/>
        </p:nvGrpSpPr>
        <p:grpSpPr>
          <a:xfrm>
            <a:off x="3695037" y="1214439"/>
            <a:ext cx="3599063" cy="4644825"/>
            <a:chOff x="2791744" y="1214438"/>
            <a:chExt cx="2700000" cy="4644825"/>
          </a:xfrm>
        </p:grpSpPr>
        <p:sp>
          <p:nvSpPr>
            <p:cNvPr id="7171" name="Rectangle 3">
              <a:hlinkClick r:id="rId4" action="ppaction://hlinksldjump"/>
            </p:cNvPr>
            <p:cNvSpPr>
              <a:spLocks noChangeArrowheads="1"/>
            </p:cNvSpPr>
            <p:nvPr/>
          </p:nvSpPr>
          <p:spPr bwMode="gray">
            <a:xfrm>
              <a:off x="2791744" y="1214438"/>
              <a:ext cx="2700000" cy="360000"/>
            </a:xfrm>
            <a:prstGeom prst="rect">
              <a:avLst/>
            </a:prstGeom>
            <a:noFill/>
            <a:ln>
              <a:noFill/>
            </a:ln>
            <a:effectLst/>
          </p:spPr>
          <p:txBody>
            <a:bodyPr lIns="0" tIns="0" rIns="0" bIns="0" anchor="ctr"/>
            <a:lstStyle/>
            <a:p>
              <a:pPr defTabSz="823913" fontAlgn="base">
                <a:spcBef>
                  <a:spcPct val="0"/>
                </a:spcBef>
                <a:spcAft>
                  <a:spcPct val="0"/>
                </a:spcAft>
              </a:pPr>
              <a:r>
                <a:rPr lang="en-US" sz="1600">
                  <a:solidFill>
                    <a:srgbClr val="5F5F5F"/>
                  </a:solidFill>
                  <a:latin typeface="Arial" pitchFamily="34" charset="0"/>
                  <a:cs typeface="Times New Roman" pitchFamily="18" charset="0"/>
                </a:rPr>
                <a:t>Problems Today</a:t>
              </a:r>
            </a:p>
          </p:txBody>
        </p:sp>
        <p:sp>
          <p:nvSpPr>
            <p:cNvPr id="7174" name="Rectangle 6">
              <a:hlinkClick r:id="rId4" action="ppaction://hlinksldjump"/>
            </p:cNvPr>
            <p:cNvSpPr>
              <a:spLocks noChangeArrowheads="1"/>
            </p:cNvSpPr>
            <p:nvPr/>
          </p:nvSpPr>
          <p:spPr bwMode="gray">
            <a:xfrm>
              <a:off x="2791744" y="1719263"/>
              <a:ext cx="2700000" cy="720000"/>
            </a:xfrm>
            <a:prstGeom prst="rect">
              <a:avLst/>
            </a:prstGeom>
            <a:solidFill>
              <a:schemeClr val="bg1">
                <a:lumMod val="95000"/>
              </a:schemeClr>
            </a:solidFill>
            <a:ln>
              <a:noFill/>
            </a:ln>
            <a:effectLst/>
          </p:spPr>
          <p:txBody>
            <a:bodyPr lIns="72000" tIns="72000" rIns="72000" bIns="72000" anchor="ctr"/>
            <a:lstStyle/>
            <a:p>
              <a:pPr defTabSz="823913" fontAlgn="base">
                <a:spcBef>
                  <a:spcPct val="0"/>
                </a:spcBef>
                <a:spcAft>
                  <a:spcPct val="0"/>
                </a:spcAft>
              </a:pPr>
              <a:r>
                <a:rPr lang="en-US" sz="1300" dirty="0">
                  <a:solidFill>
                    <a:srgbClr val="5F5F5F"/>
                  </a:solidFill>
                  <a:latin typeface="Arial" pitchFamily="34" charset="0"/>
                  <a:cs typeface="Times New Roman" pitchFamily="18" charset="0"/>
                </a:rPr>
                <a:t>Over-reliance on business rules</a:t>
              </a:r>
            </a:p>
          </p:txBody>
        </p:sp>
        <p:sp>
          <p:nvSpPr>
            <p:cNvPr id="7179" name="Rectangle 11">
              <a:hlinkClick r:id="rId4" action="ppaction://hlinksldjump"/>
            </p:cNvPr>
            <p:cNvSpPr>
              <a:spLocks noChangeArrowheads="1"/>
            </p:cNvSpPr>
            <p:nvPr/>
          </p:nvSpPr>
          <p:spPr bwMode="gray">
            <a:xfrm>
              <a:off x="2791744" y="2574263"/>
              <a:ext cx="2700000" cy="720000"/>
            </a:xfrm>
            <a:prstGeom prst="rect">
              <a:avLst/>
            </a:prstGeom>
            <a:solidFill>
              <a:schemeClr val="bg1">
                <a:lumMod val="95000"/>
              </a:schemeClr>
            </a:solidFill>
            <a:ln>
              <a:noFill/>
            </a:ln>
            <a:effectLst/>
          </p:spPr>
          <p:txBody>
            <a:bodyPr lIns="72000" tIns="72000" rIns="72000" bIns="72000" anchor="ctr"/>
            <a:lstStyle/>
            <a:p>
              <a:pPr defTabSz="823913" fontAlgn="base">
                <a:spcBef>
                  <a:spcPct val="0"/>
                </a:spcBef>
                <a:spcAft>
                  <a:spcPct val="0"/>
                </a:spcAft>
              </a:pPr>
              <a:r>
                <a:rPr lang="en-US" sz="1300">
                  <a:solidFill>
                    <a:srgbClr val="5F5F5F"/>
                  </a:solidFill>
                  <a:latin typeface="Arial" pitchFamily="34" charset="0"/>
                  <a:cs typeface="Times New Roman" pitchFamily="18" charset="0"/>
                </a:rPr>
                <a:t>Long lead times between</a:t>
              </a:r>
              <a:br>
                <a:rPr lang="en-US" sz="1300">
                  <a:solidFill>
                    <a:srgbClr val="5F5F5F"/>
                  </a:solidFill>
                  <a:latin typeface="Arial" pitchFamily="34" charset="0"/>
                  <a:cs typeface="Times New Roman" pitchFamily="18" charset="0"/>
                </a:rPr>
              </a:br>
              <a:r>
                <a:rPr lang="en-US" sz="1300">
                  <a:solidFill>
                    <a:srgbClr val="5F5F5F"/>
                  </a:solidFill>
                  <a:latin typeface="Arial" pitchFamily="34" charset="0"/>
                  <a:cs typeface="Times New Roman" pitchFamily="18" charset="0"/>
                </a:rPr>
                <a:t>analysis and deployment</a:t>
              </a:r>
            </a:p>
          </p:txBody>
        </p:sp>
        <p:sp>
          <p:nvSpPr>
            <p:cNvPr id="7181" name="Rectangle 13">
              <a:hlinkClick r:id="rId4" action="ppaction://hlinksldjump"/>
            </p:cNvPr>
            <p:cNvSpPr>
              <a:spLocks noChangeArrowheads="1"/>
            </p:cNvSpPr>
            <p:nvPr/>
          </p:nvSpPr>
          <p:spPr bwMode="gray">
            <a:xfrm>
              <a:off x="2791744" y="3429263"/>
              <a:ext cx="2700000" cy="720000"/>
            </a:xfrm>
            <a:prstGeom prst="rect">
              <a:avLst/>
            </a:prstGeom>
            <a:solidFill>
              <a:schemeClr val="bg1">
                <a:lumMod val="95000"/>
              </a:schemeClr>
            </a:solidFill>
            <a:ln>
              <a:noFill/>
            </a:ln>
            <a:effectLst/>
          </p:spPr>
          <p:txBody>
            <a:bodyPr lIns="72000" tIns="72000" rIns="72000" bIns="72000" anchor="ctr"/>
            <a:lstStyle/>
            <a:p>
              <a:pPr defTabSz="823913" fontAlgn="base">
                <a:spcBef>
                  <a:spcPct val="0"/>
                </a:spcBef>
                <a:spcAft>
                  <a:spcPct val="0"/>
                </a:spcAft>
              </a:pPr>
              <a:r>
                <a:rPr lang="en-US" sz="1300">
                  <a:solidFill>
                    <a:srgbClr val="5F5F5F"/>
                  </a:solidFill>
                  <a:latin typeface="Arial" pitchFamily="34" charset="0"/>
                  <a:cs typeface="Times New Roman" pitchFamily="18" charset="0"/>
                </a:rPr>
                <a:t>Poor channel integration</a:t>
              </a:r>
            </a:p>
          </p:txBody>
        </p:sp>
        <p:sp>
          <p:nvSpPr>
            <p:cNvPr id="7183" name="Rectangle 15">
              <a:hlinkClick r:id="rId4" action="ppaction://hlinksldjump"/>
            </p:cNvPr>
            <p:cNvSpPr>
              <a:spLocks noChangeArrowheads="1"/>
            </p:cNvSpPr>
            <p:nvPr/>
          </p:nvSpPr>
          <p:spPr bwMode="gray">
            <a:xfrm>
              <a:off x="2791744" y="4284263"/>
              <a:ext cx="2700000" cy="720000"/>
            </a:xfrm>
            <a:prstGeom prst="rect">
              <a:avLst/>
            </a:prstGeom>
            <a:solidFill>
              <a:schemeClr val="bg1">
                <a:lumMod val="95000"/>
              </a:schemeClr>
            </a:solidFill>
            <a:ln>
              <a:noFill/>
            </a:ln>
            <a:effectLst/>
          </p:spPr>
          <p:txBody>
            <a:bodyPr lIns="72000" tIns="72000" rIns="72000" bIns="72000" anchor="ctr"/>
            <a:lstStyle/>
            <a:p>
              <a:pPr defTabSz="823913" fontAlgn="base">
                <a:spcBef>
                  <a:spcPct val="0"/>
                </a:spcBef>
                <a:spcAft>
                  <a:spcPct val="0"/>
                </a:spcAft>
              </a:pPr>
              <a:r>
                <a:rPr lang="en-US" sz="1300">
                  <a:solidFill>
                    <a:srgbClr val="5F5F5F"/>
                  </a:solidFill>
                  <a:latin typeface="Arial" pitchFamily="34" charset="0"/>
                  <a:cs typeface="Times New Roman" pitchFamily="18" charset="0"/>
                </a:rPr>
                <a:t>Siloed solution for each channel</a:t>
              </a:r>
            </a:p>
          </p:txBody>
        </p:sp>
        <p:sp>
          <p:nvSpPr>
            <p:cNvPr id="7185" name="Rectangle 17">
              <a:hlinkClick r:id="rId4" action="ppaction://hlinksldjump"/>
            </p:cNvPr>
            <p:cNvSpPr>
              <a:spLocks noChangeArrowheads="1"/>
            </p:cNvSpPr>
            <p:nvPr/>
          </p:nvSpPr>
          <p:spPr bwMode="gray">
            <a:xfrm>
              <a:off x="2791744" y="5139263"/>
              <a:ext cx="2700000" cy="720000"/>
            </a:xfrm>
            <a:prstGeom prst="rect">
              <a:avLst/>
            </a:prstGeom>
            <a:solidFill>
              <a:schemeClr val="bg1">
                <a:lumMod val="95000"/>
              </a:schemeClr>
            </a:solidFill>
            <a:ln>
              <a:noFill/>
            </a:ln>
            <a:effectLst/>
          </p:spPr>
          <p:txBody>
            <a:bodyPr lIns="72000" tIns="72000" rIns="72000" bIns="72000" anchor="ctr"/>
            <a:lstStyle/>
            <a:p>
              <a:pPr defTabSz="823913" fontAlgn="base">
                <a:spcBef>
                  <a:spcPct val="0"/>
                </a:spcBef>
                <a:spcAft>
                  <a:spcPct val="0"/>
                </a:spcAft>
              </a:pPr>
              <a:r>
                <a:rPr lang="en-US" sz="1300" dirty="0">
                  <a:solidFill>
                    <a:srgbClr val="5F5F5F"/>
                  </a:solidFill>
                  <a:latin typeface="Arial" pitchFamily="34" charset="0"/>
                  <a:cs typeface="Times New Roman" pitchFamily="18" charset="0"/>
                </a:rPr>
                <a:t>Poor real-time performance and</a:t>
              </a:r>
              <a:br>
                <a:rPr lang="en-US" sz="1300" dirty="0">
                  <a:solidFill>
                    <a:srgbClr val="5F5F5F"/>
                  </a:solidFill>
                  <a:latin typeface="Arial" pitchFamily="34" charset="0"/>
                  <a:cs typeface="Times New Roman" pitchFamily="18" charset="0"/>
                </a:rPr>
              </a:br>
              <a:r>
                <a:rPr lang="en-US" sz="1300" dirty="0">
                  <a:solidFill>
                    <a:srgbClr val="5F5F5F"/>
                  </a:solidFill>
                  <a:latin typeface="Arial" pitchFamily="34" charset="0"/>
                  <a:cs typeface="Times New Roman" pitchFamily="18" charset="0"/>
                </a:rPr>
                <a:t>scalability</a:t>
              </a:r>
            </a:p>
          </p:txBody>
        </p:sp>
        <p:cxnSp>
          <p:nvCxnSpPr>
            <p:cNvPr id="27" name="Straight Connector 26"/>
            <p:cNvCxnSpPr/>
            <p:nvPr/>
          </p:nvCxnSpPr>
          <p:spPr>
            <a:xfrm>
              <a:off x="2791744" y="1574438"/>
              <a:ext cx="2700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 name="Group 8"/>
          <p:cNvGrpSpPr/>
          <p:nvPr/>
        </p:nvGrpSpPr>
        <p:grpSpPr>
          <a:xfrm>
            <a:off x="7534040" y="1214439"/>
            <a:ext cx="3599221" cy="4644825"/>
            <a:chOff x="5652001" y="1214438"/>
            <a:chExt cx="2700119" cy="4644825"/>
          </a:xfrm>
        </p:grpSpPr>
        <p:sp>
          <p:nvSpPr>
            <p:cNvPr id="7173" name="Rectangle 5">
              <a:hlinkClick r:id="rId4" action="ppaction://hlinksldjump"/>
            </p:cNvPr>
            <p:cNvSpPr>
              <a:spLocks noChangeArrowheads="1"/>
            </p:cNvSpPr>
            <p:nvPr/>
          </p:nvSpPr>
          <p:spPr bwMode="gray">
            <a:xfrm>
              <a:off x="5652001" y="1214438"/>
              <a:ext cx="2700000" cy="360000"/>
            </a:xfrm>
            <a:prstGeom prst="rect">
              <a:avLst/>
            </a:prstGeom>
            <a:noFill/>
            <a:ln>
              <a:noFill/>
            </a:ln>
            <a:effectLst/>
          </p:spPr>
          <p:txBody>
            <a:bodyPr lIns="0" tIns="0" rIns="0" bIns="0" anchor="ctr"/>
            <a:lstStyle/>
            <a:p>
              <a:pPr defTabSz="823913" fontAlgn="base">
                <a:spcBef>
                  <a:spcPct val="0"/>
                </a:spcBef>
                <a:spcAft>
                  <a:spcPct val="0"/>
                </a:spcAft>
              </a:pPr>
              <a:r>
                <a:rPr lang="en-US" sz="1600" dirty="0">
                  <a:solidFill>
                    <a:srgbClr val="5F5F5F"/>
                  </a:solidFill>
                  <a:latin typeface="Arial" pitchFamily="34" charset="0"/>
                  <a:cs typeface="Times New Roman" pitchFamily="18" charset="0"/>
                </a:rPr>
                <a:t>Best Practice</a:t>
              </a:r>
            </a:p>
          </p:txBody>
        </p:sp>
        <p:sp>
          <p:nvSpPr>
            <p:cNvPr id="7175" name="Rectangle 7">
              <a:hlinkClick r:id="rId4" action="ppaction://hlinksldjump"/>
            </p:cNvPr>
            <p:cNvSpPr>
              <a:spLocks noChangeArrowheads="1"/>
            </p:cNvSpPr>
            <p:nvPr/>
          </p:nvSpPr>
          <p:spPr bwMode="gray">
            <a:xfrm>
              <a:off x="5652001" y="1719263"/>
              <a:ext cx="2700000" cy="720000"/>
            </a:xfrm>
            <a:prstGeom prst="rect">
              <a:avLst/>
            </a:prstGeom>
            <a:solidFill>
              <a:schemeClr val="bg2"/>
            </a:solidFill>
            <a:ln>
              <a:noFill/>
            </a:ln>
            <a:effectLst/>
          </p:spPr>
          <p:txBody>
            <a:bodyPr lIns="72000" tIns="72000" rIns="72000" bIns="72000" anchor="ctr"/>
            <a:lstStyle/>
            <a:p>
              <a:pPr defTabSz="823913" fontAlgn="base">
                <a:spcBef>
                  <a:spcPct val="0"/>
                </a:spcBef>
                <a:spcAft>
                  <a:spcPct val="0"/>
                </a:spcAft>
              </a:pPr>
              <a:r>
                <a:rPr lang="en-US" sz="1300" dirty="0">
                  <a:solidFill>
                    <a:srgbClr val="5F5F5F"/>
                  </a:solidFill>
                  <a:latin typeface="Arial" pitchFamily="34" charset="0"/>
                  <a:cs typeface="Times New Roman" pitchFamily="18" charset="0"/>
                </a:rPr>
                <a:t>Balance between model-based</a:t>
              </a:r>
              <a:br>
                <a:rPr lang="en-US" sz="1300" dirty="0">
                  <a:solidFill>
                    <a:srgbClr val="5F5F5F"/>
                  </a:solidFill>
                  <a:latin typeface="Arial" pitchFamily="34" charset="0"/>
                  <a:cs typeface="Times New Roman" pitchFamily="18" charset="0"/>
                </a:rPr>
              </a:br>
              <a:r>
                <a:rPr lang="en-US" sz="1300" dirty="0">
                  <a:solidFill>
                    <a:srgbClr val="5F5F5F"/>
                  </a:solidFill>
                  <a:latin typeface="Arial" pitchFamily="34" charset="0"/>
                  <a:cs typeface="Times New Roman" pitchFamily="18" charset="0"/>
                </a:rPr>
                <a:t>and user-defined decisions</a:t>
              </a:r>
            </a:p>
          </p:txBody>
        </p:sp>
        <p:sp>
          <p:nvSpPr>
            <p:cNvPr id="7180" name="Rectangle 12">
              <a:hlinkClick r:id="rId4" action="ppaction://hlinksldjump"/>
            </p:cNvPr>
            <p:cNvSpPr>
              <a:spLocks noChangeArrowheads="1"/>
            </p:cNvSpPr>
            <p:nvPr/>
          </p:nvSpPr>
          <p:spPr bwMode="gray">
            <a:xfrm>
              <a:off x="5652001" y="2574263"/>
              <a:ext cx="2700000" cy="720000"/>
            </a:xfrm>
            <a:prstGeom prst="rect">
              <a:avLst/>
            </a:prstGeom>
            <a:solidFill>
              <a:schemeClr val="bg2"/>
            </a:solidFill>
            <a:ln>
              <a:noFill/>
            </a:ln>
            <a:effectLst/>
          </p:spPr>
          <p:txBody>
            <a:bodyPr lIns="72000" tIns="72000" rIns="72000" bIns="72000" anchor="ctr"/>
            <a:lstStyle/>
            <a:p>
              <a:pPr defTabSz="823913" fontAlgn="base">
                <a:spcBef>
                  <a:spcPct val="0"/>
                </a:spcBef>
                <a:spcAft>
                  <a:spcPct val="0"/>
                </a:spcAft>
              </a:pPr>
              <a:r>
                <a:rPr lang="en-US" sz="1300">
                  <a:solidFill>
                    <a:srgbClr val="5F5F5F"/>
                  </a:solidFill>
                  <a:latin typeface="Arial" pitchFamily="34" charset="0"/>
                  <a:cs typeface="Times New Roman" pitchFamily="18" charset="0"/>
                </a:rPr>
                <a:t>High degree of automation /</a:t>
              </a:r>
              <a:br>
                <a:rPr lang="en-US" sz="1300">
                  <a:solidFill>
                    <a:srgbClr val="5F5F5F"/>
                  </a:solidFill>
                  <a:latin typeface="Arial" pitchFamily="34" charset="0"/>
                  <a:cs typeface="Times New Roman" pitchFamily="18" charset="0"/>
                </a:rPr>
              </a:br>
              <a:r>
                <a:rPr lang="en-US" sz="1300">
                  <a:solidFill>
                    <a:srgbClr val="5F5F5F"/>
                  </a:solidFill>
                  <a:latin typeface="Arial" pitchFamily="34" charset="0"/>
                  <a:cs typeface="Times New Roman" pitchFamily="18" charset="0"/>
                </a:rPr>
                <a:t>Self-learning models</a:t>
              </a:r>
            </a:p>
          </p:txBody>
        </p:sp>
        <p:sp>
          <p:nvSpPr>
            <p:cNvPr id="7182" name="Rectangle 14">
              <a:hlinkClick r:id="rId4" action="ppaction://hlinksldjump"/>
            </p:cNvPr>
            <p:cNvSpPr>
              <a:spLocks noChangeArrowheads="1"/>
            </p:cNvSpPr>
            <p:nvPr/>
          </p:nvSpPr>
          <p:spPr bwMode="gray">
            <a:xfrm>
              <a:off x="5652001" y="3429263"/>
              <a:ext cx="2700000" cy="720000"/>
            </a:xfrm>
            <a:prstGeom prst="rect">
              <a:avLst/>
            </a:prstGeom>
            <a:solidFill>
              <a:schemeClr val="bg2"/>
            </a:solidFill>
            <a:ln>
              <a:noFill/>
            </a:ln>
            <a:effectLst/>
          </p:spPr>
          <p:txBody>
            <a:bodyPr lIns="72000" tIns="72000" rIns="72000" bIns="72000" anchor="ctr"/>
            <a:lstStyle/>
            <a:p>
              <a:pPr defTabSz="823913" fontAlgn="base">
                <a:spcBef>
                  <a:spcPct val="0"/>
                </a:spcBef>
                <a:spcAft>
                  <a:spcPct val="0"/>
                </a:spcAft>
              </a:pPr>
              <a:r>
                <a:rPr lang="en-US" sz="1300">
                  <a:solidFill>
                    <a:srgbClr val="5F5F5F"/>
                  </a:solidFill>
                  <a:latin typeface="Arial" pitchFamily="34" charset="0"/>
                  <a:cs typeface="Times New Roman" pitchFamily="18" charset="0"/>
                </a:rPr>
                <a:t>Pervasive solution spanning all</a:t>
              </a:r>
              <a:br>
                <a:rPr lang="en-US" sz="1300">
                  <a:solidFill>
                    <a:srgbClr val="5F5F5F"/>
                  </a:solidFill>
                  <a:latin typeface="Arial" pitchFamily="34" charset="0"/>
                  <a:cs typeface="Times New Roman" pitchFamily="18" charset="0"/>
                </a:rPr>
              </a:br>
              <a:r>
                <a:rPr lang="en-US" sz="1300">
                  <a:solidFill>
                    <a:srgbClr val="5F5F5F"/>
                  </a:solidFill>
                  <a:latin typeface="Arial" pitchFamily="34" charset="0"/>
                  <a:cs typeface="Times New Roman" pitchFamily="18" charset="0"/>
                </a:rPr>
                <a:t>customer-facing applications</a:t>
              </a:r>
            </a:p>
          </p:txBody>
        </p:sp>
        <p:sp>
          <p:nvSpPr>
            <p:cNvPr id="7184" name="Rectangle 16">
              <a:hlinkClick r:id="rId4" action="ppaction://hlinksldjump"/>
            </p:cNvPr>
            <p:cNvSpPr>
              <a:spLocks noChangeArrowheads="1"/>
            </p:cNvSpPr>
            <p:nvPr/>
          </p:nvSpPr>
          <p:spPr bwMode="gray">
            <a:xfrm>
              <a:off x="5652001" y="4284263"/>
              <a:ext cx="2700000" cy="720000"/>
            </a:xfrm>
            <a:prstGeom prst="rect">
              <a:avLst/>
            </a:prstGeom>
            <a:solidFill>
              <a:schemeClr val="bg2"/>
            </a:solidFill>
            <a:ln>
              <a:noFill/>
            </a:ln>
            <a:effectLst/>
          </p:spPr>
          <p:txBody>
            <a:bodyPr lIns="72000" tIns="72000" rIns="72000" bIns="72000" anchor="ctr"/>
            <a:lstStyle/>
            <a:p>
              <a:pPr defTabSz="823913" fontAlgn="base">
                <a:spcBef>
                  <a:spcPct val="0"/>
                </a:spcBef>
                <a:spcAft>
                  <a:spcPct val="0"/>
                </a:spcAft>
              </a:pPr>
              <a:r>
                <a:rPr lang="en-US" sz="1300">
                  <a:solidFill>
                    <a:srgbClr val="5F5F5F"/>
                  </a:solidFill>
                  <a:latin typeface="Arial" pitchFamily="34" charset="0"/>
                  <a:cs typeface="Times New Roman" pitchFamily="18" charset="0"/>
                </a:rPr>
                <a:t>Common set of models and metadata for all channels</a:t>
              </a:r>
            </a:p>
          </p:txBody>
        </p:sp>
        <p:sp>
          <p:nvSpPr>
            <p:cNvPr id="7186" name="Rectangle 18">
              <a:hlinkClick r:id="rId4" action="ppaction://hlinksldjump"/>
            </p:cNvPr>
            <p:cNvSpPr>
              <a:spLocks noChangeArrowheads="1"/>
            </p:cNvSpPr>
            <p:nvPr/>
          </p:nvSpPr>
          <p:spPr bwMode="gray">
            <a:xfrm>
              <a:off x="5652001" y="5139263"/>
              <a:ext cx="2700000" cy="720000"/>
            </a:xfrm>
            <a:prstGeom prst="rect">
              <a:avLst/>
            </a:prstGeom>
            <a:solidFill>
              <a:schemeClr val="bg2"/>
            </a:solidFill>
            <a:ln>
              <a:noFill/>
            </a:ln>
            <a:effectLst/>
          </p:spPr>
          <p:txBody>
            <a:bodyPr lIns="72000" tIns="72000" rIns="72000" bIns="72000" anchor="ctr"/>
            <a:lstStyle/>
            <a:p>
              <a:pPr defTabSz="823913" fontAlgn="base">
                <a:spcBef>
                  <a:spcPct val="0"/>
                </a:spcBef>
                <a:spcAft>
                  <a:spcPct val="0"/>
                </a:spcAft>
              </a:pPr>
              <a:r>
                <a:rPr lang="en-US" sz="1300" dirty="0">
                  <a:solidFill>
                    <a:srgbClr val="5F5F5F"/>
                  </a:solidFill>
                  <a:latin typeface="Arial" pitchFamily="34" charset="0"/>
                  <a:cs typeface="Times New Roman" pitchFamily="18" charset="0"/>
                </a:rPr>
                <a:t>Service-oriented architecture with</a:t>
              </a:r>
              <a:br>
                <a:rPr lang="en-US" sz="1300" dirty="0">
                  <a:solidFill>
                    <a:srgbClr val="5F5F5F"/>
                  </a:solidFill>
                  <a:latin typeface="Arial" pitchFamily="34" charset="0"/>
                  <a:cs typeface="Times New Roman" pitchFamily="18" charset="0"/>
                </a:rPr>
              </a:br>
              <a:r>
                <a:rPr lang="en-US" sz="1300" dirty="0">
                  <a:solidFill>
                    <a:srgbClr val="5F5F5F"/>
                  </a:solidFill>
                  <a:latin typeface="Arial" pitchFamily="34" charset="0"/>
                  <a:cs typeface="Times New Roman" pitchFamily="18" charset="0"/>
                </a:rPr>
                <a:t>guaranteed response times</a:t>
              </a:r>
            </a:p>
          </p:txBody>
        </p:sp>
        <p:cxnSp>
          <p:nvCxnSpPr>
            <p:cNvPr id="28" name="Straight Connector 27"/>
            <p:cNvCxnSpPr/>
            <p:nvPr/>
          </p:nvCxnSpPr>
          <p:spPr>
            <a:xfrm>
              <a:off x="5652120" y="1574438"/>
              <a:ext cx="2700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65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assification</a:t>
            </a:r>
            <a:endParaRPr lang="en-US" dirty="0"/>
          </a:p>
        </p:txBody>
      </p:sp>
      <p:sp>
        <p:nvSpPr>
          <p:cNvPr id="4" name="Content Placeholder 2"/>
          <p:cNvSpPr txBox="1">
            <a:spLocks/>
          </p:cNvSpPr>
          <p:nvPr/>
        </p:nvSpPr>
        <p:spPr>
          <a:xfrm>
            <a:off x="687070" y="1524000"/>
            <a:ext cx="10969943" cy="4083475"/>
          </a:xfrm>
          <a:prstGeom prst="rect">
            <a:avLst/>
          </a:prstGeom>
        </p:spPr>
        <p:txBody>
          <a:bodyPr/>
          <a:lstStyle>
            <a:lvl1pPr marL="228581" indent="-228581" algn="l" defTabSz="914323" rtl="0" eaLnBrk="1" latinLnBrk="0" hangingPunct="1">
              <a:lnSpc>
                <a:spcPct val="90000"/>
              </a:lnSpc>
              <a:spcBef>
                <a:spcPts val="1200"/>
              </a:spcBef>
              <a:buClr>
                <a:schemeClr val="tx1">
                  <a:lumMod val="60000"/>
                  <a:lumOff val="40000"/>
                </a:schemeClr>
              </a:buClr>
              <a:buFont typeface="Arial" panose="020B0604020202020204" pitchFamily="34" charset="0"/>
              <a:buChar char="•"/>
              <a:defRPr sz="2800" kern="1200">
                <a:solidFill>
                  <a:schemeClr val="tx1"/>
                </a:solidFill>
                <a:latin typeface="+mn-lt"/>
                <a:ea typeface="+mn-ea"/>
                <a:cs typeface="+mn-cs"/>
              </a:defRPr>
            </a:lvl1pPr>
            <a:lvl2pPr marL="502879" indent="-228581" algn="l" defTabSz="914323" rtl="0" eaLnBrk="1" latinLnBrk="0" hangingPunct="1">
              <a:lnSpc>
                <a:spcPct val="90000"/>
              </a:lnSpc>
              <a:spcBef>
                <a:spcPts val="800"/>
              </a:spcBef>
              <a:buClr>
                <a:schemeClr val="tx1">
                  <a:lumMod val="60000"/>
                  <a:lumOff val="40000"/>
                </a:schemeClr>
              </a:buClr>
              <a:buFont typeface="Arial" panose="020B0604020202020204" pitchFamily="34" charset="0"/>
              <a:buChar char="–"/>
              <a:defRPr sz="2400" kern="1200">
                <a:solidFill>
                  <a:schemeClr val="tx1"/>
                </a:solidFill>
                <a:latin typeface="+mn-lt"/>
                <a:ea typeface="+mn-ea"/>
                <a:cs typeface="+mn-cs"/>
              </a:defRPr>
            </a:lvl2pPr>
            <a:lvl3pPr marL="731459"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960040"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900" kern="1200">
                <a:solidFill>
                  <a:schemeClr val="tx1"/>
                </a:solidFill>
                <a:latin typeface="+mn-lt"/>
                <a:ea typeface="+mn-ea"/>
                <a:cs typeface="+mn-cs"/>
              </a:defRPr>
            </a:lvl4pPr>
            <a:lvl5pPr marL="1188621"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5pPr>
            <a:lvl6pPr marL="1417201"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6pPr>
            <a:lvl7pPr marL="1645784"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7pPr>
            <a:lvl8pPr marL="1874363"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8pPr>
            <a:lvl9pPr marL="2102944" indent="-182864" algn="l" defTabSz="914323" rtl="0" eaLnBrk="1" latinLnBrk="0" hangingPunct="1">
              <a:lnSpc>
                <a:spcPct val="90000"/>
              </a:lnSpc>
              <a:spcBef>
                <a:spcPts val="600"/>
              </a:spcBef>
              <a:buClr>
                <a:schemeClr val="tx1">
                  <a:lumMod val="60000"/>
                  <a:lumOff val="40000"/>
                </a:schemeClr>
              </a:buClr>
              <a:buFont typeface="Arial" panose="020B0604020202020204" pitchFamily="34" charset="0"/>
              <a:buChar char="•"/>
              <a:defRPr sz="1600" kern="1200">
                <a:solidFill>
                  <a:schemeClr val="tx1"/>
                </a:solidFill>
                <a:latin typeface="+mn-lt"/>
                <a:ea typeface="+mn-ea"/>
                <a:cs typeface="+mn-cs"/>
              </a:defRPr>
            </a:lvl9pPr>
          </a:lstStyle>
          <a:p>
            <a:pPr marL="167188" indent="-304747">
              <a:spcBef>
                <a:spcPts val="1100"/>
              </a:spcBef>
            </a:pPr>
            <a:r>
              <a:rPr lang="en-US" sz="2400" dirty="0" smtClean="0"/>
              <a:t>Targeting the right customer with the right offer</a:t>
            </a:r>
          </a:p>
          <a:p>
            <a:pPr marL="167188" indent="-304747">
              <a:spcBef>
                <a:spcPts val="1100"/>
              </a:spcBef>
            </a:pPr>
            <a:r>
              <a:rPr lang="en-US" sz="2400" dirty="0" smtClean="0"/>
              <a:t>How is a customer likely to respond to an offer?</a:t>
            </a:r>
          </a:p>
          <a:p>
            <a:pPr marL="167188" indent="-304747">
              <a:spcBef>
                <a:spcPts val="1100"/>
              </a:spcBef>
            </a:pPr>
            <a:r>
              <a:rPr lang="en-US" sz="2400" dirty="0" smtClean="0">
                <a:sym typeface="Wingdings" pitchFamily="2" charset="2"/>
              </a:rPr>
              <a:t>Finding and preventing customer churn </a:t>
            </a:r>
          </a:p>
          <a:p>
            <a:pPr marL="167188" indent="-304747">
              <a:spcBef>
                <a:spcPts val="1100"/>
              </a:spcBef>
            </a:pPr>
            <a:r>
              <a:rPr lang="en-US" sz="2400" dirty="0" smtClean="0">
                <a:sym typeface="Wingdings" pitchFamily="2" charset="2"/>
              </a:rPr>
              <a:t>Security and suspicious activity detection</a:t>
            </a:r>
          </a:p>
          <a:p>
            <a:pPr marL="167188" indent="-304747">
              <a:spcBef>
                <a:spcPts val="1100"/>
              </a:spcBef>
            </a:pPr>
            <a:r>
              <a:rPr lang="en-US" sz="2400" dirty="0" smtClean="0">
                <a:sym typeface="Wingdings" pitchFamily="2" charset="2"/>
              </a:rPr>
              <a:t>Understanding sentiments in customer conversations</a:t>
            </a:r>
          </a:p>
          <a:p>
            <a:pPr marL="167188" indent="-304747">
              <a:spcBef>
                <a:spcPts val="1100"/>
              </a:spcBef>
            </a:pPr>
            <a:r>
              <a:rPr lang="en-US" sz="2400" dirty="0" smtClean="0">
                <a:sym typeface="Wingdings" pitchFamily="2" charset="2"/>
              </a:rPr>
              <a:t>Reducing medical errors &amp; improving quality of health</a:t>
            </a:r>
          </a:p>
          <a:p>
            <a:pPr marL="167188" indent="-304747">
              <a:spcBef>
                <a:spcPts val="1100"/>
              </a:spcBef>
            </a:pPr>
            <a:r>
              <a:rPr lang="en-US" sz="2400" dirty="0" smtClean="0">
                <a:sym typeface="Wingdings" pitchFamily="2" charset="2"/>
              </a:rPr>
              <a:t>Spam filtering</a:t>
            </a:r>
          </a:p>
        </p:txBody>
      </p:sp>
      <p:sp>
        <p:nvSpPr>
          <p:cNvPr id="6" name="Rectangle 5"/>
          <p:cNvSpPr/>
          <p:nvPr/>
        </p:nvSpPr>
        <p:spPr>
          <a:xfrm>
            <a:off x="8075612" y="1371601"/>
            <a:ext cx="3592649" cy="16510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a:solidFill>
                <a:prstClr val="white"/>
              </a:solidFill>
            </a:endParaRPr>
          </a:p>
        </p:txBody>
      </p:sp>
      <p:grpSp>
        <p:nvGrpSpPr>
          <p:cNvPr id="7" name="Group 105"/>
          <p:cNvGrpSpPr>
            <a:grpSpLocks/>
          </p:cNvGrpSpPr>
          <p:nvPr/>
        </p:nvGrpSpPr>
        <p:grpSpPr bwMode="auto">
          <a:xfrm>
            <a:off x="8610262" y="1624995"/>
            <a:ext cx="3019911" cy="1257906"/>
            <a:chOff x="3024" y="768"/>
            <a:chExt cx="2592" cy="1056"/>
          </a:xfrm>
        </p:grpSpPr>
        <p:sp>
          <p:nvSpPr>
            <p:cNvPr id="8" name="AutoShape 106"/>
            <p:cNvSpPr>
              <a:spLocks noChangeArrowheads="1"/>
            </p:cNvSpPr>
            <p:nvPr/>
          </p:nvSpPr>
          <p:spPr bwMode="auto">
            <a:xfrm>
              <a:off x="3648" y="1392"/>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9" name="AutoShape 107"/>
            <p:cNvSpPr>
              <a:spLocks noChangeArrowheads="1"/>
            </p:cNvSpPr>
            <p:nvPr/>
          </p:nvSpPr>
          <p:spPr bwMode="auto">
            <a:xfrm>
              <a:off x="3984" y="120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10" name="AutoShape 108"/>
            <p:cNvSpPr>
              <a:spLocks noChangeArrowheads="1"/>
            </p:cNvSpPr>
            <p:nvPr/>
          </p:nvSpPr>
          <p:spPr bwMode="auto">
            <a:xfrm>
              <a:off x="3648"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11" name="Oval 109"/>
            <p:cNvSpPr>
              <a:spLocks noChangeArrowheads="1"/>
            </p:cNvSpPr>
            <p:nvPr/>
          </p:nvSpPr>
          <p:spPr bwMode="auto">
            <a:xfrm>
              <a:off x="3504" y="1416"/>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12" name="Oval 110"/>
            <p:cNvSpPr>
              <a:spLocks noChangeArrowheads="1"/>
            </p:cNvSpPr>
            <p:nvPr/>
          </p:nvSpPr>
          <p:spPr bwMode="auto">
            <a:xfrm>
              <a:off x="3120" y="1296"/>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13" name="Line 111"/>
            <p:cNvSpPr>
              <a:spLocks noChangeShapeType="1"/>
            </p:cNvSpPr>
            <p:nvPr/>
          </p:nvSpPr>
          <p:spPr bwMode="auto">
            <a:xfrm flipV="1">
              <a:off x="4152" y="1008"/>
              <a:ext cx="336" cy="144"/>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14" name="Line 112"/>
            <p:cNvSpPr>
              <a:spLocks noChangeShapeType="1"/>
            </p:cNvSpPr>
            <p:nvPr/>
          </p:nvSpPr>
          <p:spPr bwMode="auto">
            <a:xfrm flipV="1">
              <a:off x="4152" y="1488"/>
              <a:ext cx="432" cy="0"/>
            </a:xfrm>
            <a:prstGeom prst="line">
              <a:avLst/>
            </a:prstGeom>
            <a:noFill/>
            <a:ln w="9525">
              <a:solidFill>
                <a:schemeClr val="tx1"/>
              </a:solidFill>
              <a:round/>
              <a:headEnd/>
              <a:tailEnd type="triangle" w="med" len="med"/>
            </a:ln>
          </p:spPr>
          <p:txBody>
            <a:bodyPr/>
            <a:lstStyle/>
            <a:p>
              <a:endParaRPr lang="en-US" sz="700" dirty="0">
                <a:solidFill>
                  <a:srgbClr val="000000"/>
                </a:solidFill>
                <a:ea typeface="ＭＳ Ｐゴシック" pitchFamily="34" charset="-128"/>
              </a:endParaRPr>
            </a:p>
          </p:txBody>
        </p:sp>
        <p:sp>
          <p:nvSpPr>
            <p:cNvPr id="15" name="Oval 113"/>
            <p:cNvSpPr>
              <a:spLocks noChangeArrowheads="1"/>
            </p:cNvSpPr>
            <p:nvPr/>
          </p:nvSpPr>
          <p:spPr bwMode="auto">
            <a:xfrm>
              <a:off x="4608"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16" name="Oval 114"/>
            <p:cNvSpPr>
              <a:spLocks noChangeArrowheads="1"/>
            </p:cNvSpPr>
            <p:nvPr/>
          </p:nvSpPr>
          <p:spPr bwMode="auto">
            <a:xfrm>
              <a:off x="5184"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17" name="Oval 115"/>
            <p:cNvSpPr>
              <a:spLocks noChangeArrowheads="1"/>
            </p:cNvSpPr>
            <p:nvPr/>
          </p:nvSpPr>
          <p:spPr bwMode="auto">
            <a:xfrm>
              <a:off x="3552"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18" name="Oval 116"/>
            <p:cNvSpPr>
              <a:spLocks noChangeArrowheads="1"/>
            </p:cNvSpPr>
            <p:nvPr/>
          </p:nvSpPr>
          <p:spPr bwMode="auto">
            <a:xfrm>
              <a:off x="3408" y="1056"/>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19" name="Oval 117"/>
            <p:cNvSpPr>
              <a:spLocks noChangeArrowheads="1"/>
            </p:cNvSpPr>
            <p:nvPr/>
          </p:nvSpPr>
          <p:spPr bwMode="auto">
            <a:xfrm>
              <a:off x="3792" y="1488"/>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20" name="AutoShape 118"/>
            <p:cNvSpPr>
              <a:spLocks noChangeArrowheads="1"/>
            </p:cNvSpPr>
            <p:nvPr/>
          </p:nvSpPr>
          <p:spPr bwMode="auto">
            <a:xfrm>
              <a:off x="3984" y="141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1" name="AutoShape 119"/>
            <p:cNvSpPr>
              <a:spLocks noChangeArrowheads="1"/>
            </p:cNvSpPr>
            <p:nvPr/>
          </p:nvSpPr>
          <p:spPr bwMode="auto">
            <a:xfrm>
              <a:off x="3840" y="158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2" name="AutoShape 120"/>
            <p:cNvSpPr>
              <a:spLocks noChangeArrowheads="1"/>
            </p:cNvSpPr>
            <p:nvPr/>
          </p:nvSpPr>
          <p:spPr bwMode="auto">
            <a:xfrm>
              <a:off x="3696" y="168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3" name="AutoShape 121"/>
            <p:cNvSpPr>
              <a:spLocks noChangeArrowheads="1"/>
            </p:cNvSpPr>
            <p:nvPr/>
          </p:nvSpPr>
          <p:spPr bwMode="auto">
            <a:xfrm>
              <a:off x="3408" y="76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4" name="AutoShape 122"/>
            <p:cNvSpPr>
              <a:spLocks noChangeArrowheads="1"/>
            </p:cNvSpPr>
            <p:nvPr/>
          </p:nvSpPr>
          <p:spPr bwMode="auto">
            <a:xfrm>
              <a:off x="3024" y="96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5" name="AutoShape 123"/>
            <p:cNvSpPr>
              <a:spLocks noChangeArrowheads="1"/>
            </p:cNvSpPr>
            <p:nvPr/>
          </p:nvSpPr>
          <p:spPr bwMode="auto">
            <a:xfrm>
              <a:off x="3792" y="124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6" name="AutoShape 124"/>
            <p:cNvSpPr>
              <a:spLocks noChangeArrowheads="1"/>
            </p:cNvSpPr>
            <p:nvPr/>
          </p:nvSpPr>
          <p:spPr bwMode="auto">
            <a:xfrm>
              <a:off x="3360" y="120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7" name="AutoShape 125"/>
            <p:cNvSpPr>
              <a:spLocks noChangeArrowheads="1"/>
            </p:cNvSpPr>
            <p:nvPr/>
          </p:nvSpPr>
          <p:spPr bwMode="auto">
            <a:xfrm>
              <a:off x="3264" y="1488"/>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8" name="AutoShape 126"/>
            <p:cNvSpPr>
              <a:spLocks noChangeArrowheads="1"/>
            </p:cNvSpPr>
            <p:nvPr/>
          </p:nvSpPr>
          <p:spPr bwMode="auto">
            <a:xfrm>
              <a:off x="3792"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29" name="AutoShape 127"/>
            <p:cNvSpPr>
              <a:spLocks noChangeArrowheads="1"/>
            </p:cNvSpPr>
            <p:nvPr/>
          </p:nvSpPr>
          <p:spPr bwMode="auto">
            <a:xfrm>
              <a:off x="4032" y="168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30" name="AutoShape 128"/>
            <p:cNvSpPr>
              <a:spLocks noChangeArrowheads="1"/>
            </p:cNvSpPr>
            <p:nvPr/>
          </p:nvSpPr>
          <p:spPr bwMode="auto">
            <a:xfrm>
              <a:off x="3024" y="141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31" name="AutoShape 129"/>
            <p:cNvSpPr>
              <a:spLocks noChangeArrowheads="1"/>
            </p:cNvSpPr>
            <p:nvPr/>
          </p:nvSpPr>
          <p:spPr bwMode="auto">
            <a:xfrm>
              <a:off x="3264" y="1680"/>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32" name="Oval 130"/>
            <p:cNvSpPr>
              <a:spLocks noChangeArrowheads="1"/>
            </p:cNvSpPr>
            <p:nvPr/>
          </p:nvSpPr>
          <p:spPr bwMode="auto">
            <a:xfrm>
              <a:off x="4800"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33" name="Oval 131"/>
            <p:cNvSpPr>
              <a:spLocks noChangeArrowheads="1"/>
            </p:cNvSpPr>
            <p:nvPr/>
          </p:nvSpPr>
          <p:spPr bwMode="auto">
            <a:xfrm>
              <a:off x="4992" y="1632"/>
              <a:ext cx="144" cy="144"/>
            </a:xfrm>
            <a:prstGeom prst="ellipse">
              <a:avLst/>
            </a:prstGeom>
            <a:noFill/>
            <a:ln w="28575">
              <a:solidFill>
                <a:schemeClr val="tx1"/>
              </a:solidFill>
              <a:round/>
              <a:headEnd/>
              <a:tailEnd/>
            </a:ln>
          </p:spPr>
          <p:txBody>
            <a:bodyPr wrap="none" anchor="ctr"/>
            <a:lstStyle/>
            <a:p>
              <a:endParaRPr lang="en-US" sz="700" dirty="0">
                <a:solidFill>
                  <a:srgbClr val="000000"/>
                </a:solidFill>
                <a:ea typeface="ＭＳ Ｐゴシック" pitchFamily="34" charset="-128"/>
              </a:endParaRPr>
            </a:p>
          </p:txBody>
        </p:sp>
        <p:sp>
          <p:nvSpPr>
            <p:cNvPr id="34" name="AutoShape 132"/>
            <p:cNvSpPr>
              <a:spLocks noChangeArrowheads="1"/>
            </p:cNvSpPr>
            <p:nvPr/>
          </p:nvSpPr>
          <p:spPr bwMode="auto">
            <a:xfrm>
              <a:off x="4584"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35" name="AutoShape 133"/>
            <p:cNvSpPr>
              <a:spLocks noChangeArrowheads="1"/>
            </p:cNvSpPr>
            <p:nvPr/>
          </p:nvSpPr>
          <p:spPr bwMode="auto">
            <a:xfrm>
              <a:off x="4752"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36" name="AutoShape 134"/>
            <p:cNvSpPr>
              <a:spLocks noChangeArrowheads="1"/>
            </p:cNvSpPr>
            <p:nvPr/>
          </p:nvSpPr>
          <p:spPr bwMode="auto">
            <a:xfrm>
              <a:off x="4920"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37" name="AutoShape 135"/>
            <p:cNvSpPr>
              <a:spLocks noChangeArrowheads="1"/>
            </p:cNvSpPr>
            <p:nvPr/>
          </p:nvSpPr>
          <p:spPr bwMode="auto">
            <a:xfrm>
              <a:off x="5088"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38" name="AutoShape 136"/>
            <p:cNvSpPr>
              <a:spLocks noChangeArrowheads="1"/>
            </p:cNvSpPr>
            <p:nvPr/>
          </p:nvSpPr>
          <p:spPr bwMode="auto">
            <a:xfrm>
              <a:off x="4656"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39" name="AutoShape 137"/>
            <p:cNvSpPr>
              <a:spLocks noChangeArrowheads="1"/>
            </p:cNvSpPr>
            <p:nvPr/>
          </p:nvSpPr>
          <p:spPr bwMode="auto">
            <a:xfrm>
              <a:off x="4824"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0" name="AutoShape 138"/>
            <p:cNvSpPr>
              <a:spLocks noChangeArrowheads="1"/>
            </p:cNvSpPr>
            <p:nvPr/>
          </p:nvSpPr>
          <p:spPr bwMode="auto">
            <a:xfrm>
              <a:off x="4992"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1" name="AutoShape 139"/>
            <p:cNvSpPr>
              <a:spLocks noChangeArrowheads="1"/>
            </p:cNvSpPr>
            <p:nvPr/>
          </p:nvSpPr>
          <p:spPr bwMode="auto">
            <a:xfrm>
              <a:off x="5160"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2" name="AutoShape 140"/>
            <p:cNvSpPr>
              <a:spLocks noChangeArrowheads="1"/>
            </p:cNvSpPr>
            <p:nvPr/>
          </p:nvSpPr>
          <p:spPr bwMode="auto">
            <a:xfrm>
              <a:off x="5232"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3" name="AutoShape 141"/>
            <p:cNvSpPr>
              <a:spLocks noChangeArrowheads="1"/>
            </p:cNvSpPr>
            <p:nvPr/>
          </p:nvSpPr>
          <p:spPr bwMode="auto">
            <a:xfrm>
              <a:off x="5400" y="864"/>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4" name="AutoShape 142"/>
            <p:cNvSpPr>
              <a:spLocks noChangeArrowheads="1"/>
            </p:cNvSpPr>
            <p:nvPr/>
          </p:nvSpPr>
          <p:spPr bwMode="auto">
            <a:xfrm>
              <a:off x="5304"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sp>
          <p:nvSpPr>
            <p:cNvPr id="45" name="AutoShape 143"/>
            <p:cNvSpPr>
              <a:spLocks noChangeArrowheads="1"/>
            </p:cNvSpPr>
            <p:nvPr/>
          </p:nvSpPr>
          <p:spPr bwMode="auto">
            <a:xfrm>
              <a:off x="5472" y="1056"/>
              <a:ext cx="144" cy="144"/>
            </a:xfrm>
            <a:prstGeom prst="triangle">
              <a:avLst>
                <a:gd name="adj" fmla="val 50000"/>
              </a:avLst>
            </a:prstGeom>
            <a:solidFill>
              <a:srgbClr val="FF3300"/>
            </a:solidFill>
            <a:ln w="9525">
              <a:solidFill>
                <a:schemeClr val="bg1"/>
              </a:solidFill>
              <a:miter lim="800000"/>
              <a:headEnd/>
              <a:tailEnd/>
            </a:ln>
          </p:spPr>
          <p:txBody>
            <a:bodyPr wrap="none" anchor="ctr"/>
            <a:lstStyle/>
            <a:p>
              <a:endParaRPr lang="en-US" sz="700" dirty="0">
                <a:solidFill>
                  <a:srgbClr val="000000"/>
                </a:solidFill>
                <a:ea typeface="ＭＳ Ｐゴシック" pitchFamily="34" charset="-128"/>
              </a:endParaRPr>
            </a:p>
          </p:txBody>
        </p:sp>
      </p:grpSp>
    </p:spTree>
    <p:extLst>
      <p:ext uri="{BB962C8B-B14F-4D97-AF65-F5344CB8AC3E}">
        <p14:creationId xmlns:p14="http://schemas.microsoft.com/office/powerpoint/2010/main" val="135351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51EAA63-D034-42AE-91FA-B13B9518C7BE}" type="slidenum">
              <a:rPr lang="en-US" smtClean="0">
                <a:solidFill>
                  <a:srgbClr val="5F5F5F">
                    <a:lumMod val="60000"/>
                    <a:lumOff val="40000"/>
                  </a:srgbClr>
                </a:solidFill>
              </a:rPr>
              <a:pPr/>
              <a:t>4</a:t>
            </a:fld>
            <a:endParaRPr lang="en-US" dirty="0">
              <a:solidFill>
                <a:srgbClr val="5F5F5F">
                  <a:lumMod val="60000"/>
                  <a:lumOff val="40000"/>
                </a:srgbClr>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8821" y="914400"/>
            <a:ext cx="8107391" cy="5371147"/>
          </a:xfrm>
          <a:prstGeom prst="rect">
            <a:avLst/>
          </a:prstGeom>
        </p:spPr>
      </p:pic>
      <p:sp>
        <p:nvSpPr>
          <p:cNvPr id="5" name="TextBox 4"/>
          <p:cNvSpPr txBox="1"/>
          <p:nvPr/>
        </p:nvSpPr>
        <p:spPr>
          <a:xfrm>
            <a:off x="9255125" y="2590800"/>
            <a:ext cx="2438400" cy="3542347"/>
          </a:xfrm>
          <a:prstGeom prst="rect">
            <a:avLst/>
          </a:prstGeom>
          <a:noFill/>
        </p:spPr>
        <p:txBody>
          <a:bodyPr wrap="none" lIns="0" tIns="0" rIns="0" bIns="0" rtlCol="0">
            <a:noAutofit/>
          </a:bodyPr>
          <a:lstStyle/>
          <a:p>
            <a:pPr>
              <a:lnSpc>
                <a:spcPct val="90000"/>
              </a:lnSpc>
            </a:pPr>
            <a:r>
              <a:rPr lang="en-US" sz="2000" i="1" dirty="0" smtClean="0"/>
              <a:t>Advanced analytics</a:t>
            </a:r>
          </a:p>
          <a:p>
            <a:pPr>
              <a:lnSpc>
                <a:spcPct val="90000"/>
              </a:lnSpc>
            </a:pPr>
            <a:r>
              <a:rPr lang="en-US" sz="2000" i="1" dirty="0" smtClean="0"/>
              <a:t>Predictive analytics</a:t>
            </a:r>
          </a:p>
          <a:p>
            <a:pPr>
              <a:lnSpc>
                <a:spcPct val="90000"/>
              </a:lnSpc>
            </a:pPr>
            <a:r>
              <a:rPr lang="en-US" sz="2000" i="1" dirty="0" smtClean="0"/>
              <a:t>Data Mining</a:t>
            </a:r>
          </a:p>
          <a:p>
            <a:pPr>
              <a:lnSpc>
                <a:spcPct val="90000"/>
              </a:lnSpc>
            </a:pPr>
            <a:r>
              <a:rPr lang="en-US" sz="2000" i="1" dirty="0" smtClean="0"/>
              <a:t>Machine learning</a:t>
            </a:r>
          </a:p>
          <a:p>
            <a:pPr>
              <a:lnSpc>
                <a:spcPct val="90000"/>
              </a:lnSpc>
            </a:pPr>
            <a:endParaRPr lang="en-US" dirty="0"/>
          </a:p>
        </p:txBody>
      </p:sp>
      <p:sp>
        <p:nvSpPr>
          <p:cNvPr id="6" name="Title 5"/>
          <p:cNvSpPr>
            <a:spLocks noGrp="1"/>
          </p:cNvSpPr>
          <p:nvPr>
            <p:ph type="title"/>
          </p:nvPr>
        </p:nvSpPr>
        <p:spPr/>
        <p:txBody>
          <a:bodyPr/>
          <a:lstStyle/>
          <a:p>
            <a:endParaRPr lang="en-US"/>
          </a:p>
        </p:txBody>
      </p:sp>
    </p:spTree>
    <p:extLst>
      <p:ext uri="{BB962C8B-B14F-4D97-AF65-F5344CB8AC3E}">
        <p14:creationId xmlns:p14="http://schemas.microsoft.com/office/powerpoint/2010/main" val="57190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r-HR" dirty="0" err="1" smtClean="0"/>
              <a:t>Classification</a:t>
            </a:r>
            <a:r>
              <a:rPr lang="hr-HR" dirty="0" smtClean="0"/>
              <a:t> - </a:t>
            </a:r>
            <a:r>
              <a:rPr lang="hr-HR" dirty="0" err="1" smtClean="0"/>
              <a:t>Logistic</a:t>
            </a:r>
            <a:r>
              <a:rPr lang="hr-HR" dirty="0" smtClean="0"/>
              <a:t> </a:t>
            </a:r>
            <a:r>
              <a:rPr lang="hr-HR" dirty="0" err="1" smtClean="0"/>
              <a:t>regression</a:t>
            </a:r>
            <a:endParaRPr lang="en-US" dirty="0"/>
          </a:p>
        </p:txBody>
      </p:sp>
      <p:sp>
        <p:nvSpPr>
          <p:cNvPr id="3" name="Content Placeholder 2"/>
          <p:cNvSpPr>
            <a:spLocks noGrp="1"/>
          </p:cNvSpPr>
          <p:nvPr>
            <p:ph idx="1"/>
          </p:nvPr>
        </p:nvSpPr>
        <p:spPr/>
        <p:txBody>
          <a:bodyPr/>
          <a:lstStyle/>
          <a:p>
            <a:r>
              <a:rPr lang="hr-HR" dirty="0" err="1" smtClean="0"/>
              <a:t>Uses</a:t>
            </a:r>
            <a:r>
              <a:rPr lang="hr-HR" dirty="0" smtClean="0"/>
              <a:t> </a:t>
            </a:r>
            <a:r>
              <a:rPr lang="hr-HR" dirty="0" err="1" smtClean="0"/>
              <a:t>Generalized</a:t>
            </a:r>
            <a:r>
              <a:rPr lang="hr-HR" dirty="0" smtClean="0"/>
              <a:t> </a:t>
            </a:r>
            <a:r>
              <a:rPr lang="hr-HR" dirty="0" err="1" smtClean="0"/>
              <a:t>Linear</a:t>
            </a:r>
            <a:r>
              <a:rPr lang="hr-HR" dirty="0" smtClean="0"/>
              <a:t> Model for </a:t>
            </a:r>
            <a:r>
              <a:rPr lang="hr-HR" dirty="0" err="1" smtClean="0"/>
              <a:t>scoring</a:t>
            </a:r>
            <a:endParaRPr lang="hr-HR" dirty="0" smtClean="0"/>
          </a:p>
          <a:p>
            <a:pPr marL="1920080" lvl="8" indent="0">
              <a:buNone/>
            </a:pPr>
            <a:r>
              <a:rPr lang="hr-HR" dirty="0" err="1" smtClean="0"/>
              <a:t>Logit</a:t>
            </a:r>
            <a:r>
              <a:rPr lang="hr-HR" dirty="0" smtClean="0"/>
              <a:t> </a:t>
            </a:r>
            <a:r>
              <a:rPr lang="hr-HR" dirty="0" err="1" smtClean="0"/>
              <a:t>function</a:t>
            </a:r>
            <a:endParaRPr lang="hr-HR" dirty="0" smtClean="0"/>
          </a:p>
          <a:p>
            <a:endParaRPr lang="en-US" dirty="0"/>
          </a:p>
        </p:txBody>
      </p:sp>
      <p:pic>
        <p:nvPicPr>
          <p:cNvPr id="5" name="Picture 4"/>
          <p:cNvPicPr>
            <a:picLocks noChangeAspect="1"/>
          </p:cNvPicPr>
          <p:nvPr/>
        </p:nvPicPr>
        <p:blipFill>
          <a:blip r:embed="rId2"/>
          <a:stretch>
            <a:fillRect/>
          </a:stretch>
        </p:blipFill>
        <p:spPr>
          <a:xfrm>
            <a:off x="6515738" y="1981200"/>
            <a:ext cx="5331988" cy="885590"/>
          </a:xfrm>
          <a:prstGeom prst="rect">
            <a:avLst/>
          </a:prstGeom>
        </p:spPr>
      </p:pic>
      <p:pic>
        <p:nvPicPr>
          <p:cNvPr id="7" name="Picture 6"/>
          <p:cNvPicPr>
            <a:picLocks noChangeAspect="1"/>
          </p:cNvPicPr>
          <p:nvPr/>
        </p:nvPicPr>
        <p:blipFill>
          <a:blip r:embed="rId3"/>
          <a:stretch>
            <a:fillRect/>
          </a:stretch>
        </p:blipFill>
        <p:spPr>
          <a:xfrm>
            <a:off x="7142601" y="3152775"/>
            <a:ext cx="4610100" cy="324802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6127" y="2423995"/>
            <a:ext cx="5915025" cy="4048125"/>
          </a:xfrm>
          <a:prstGeom prst="rect">
            <a:avLst/>
          </a:prstGeom>
        </p:spPr>
      </p:pic>
      <p:sp>
        <p:nvSpPr>
          <p:cNvPr id="9" name="TextBox 8"/>
          <p:cNvSpPr txBox="1"/>
          <p:nvPr/>
        </p:nvSpPr>
        <p:spPr>
          <a:xfrm>
            <a:off x="4646612" y="6091118"/>
            <a:ext cx="3035698" cy="381002"/>
          </a:xfrm>
          <a:prstGeom prst="rect">
            <a:avLst/>
          </a:prstGeom>
          <a:noFill/>
        </p:spPr>
        <p:txBody>
          <a:bodyPr wrap="none" lIns="0" tIns="0" rIns="0" bIns="0" rtlCol="0">
            <a:noAutofit/>
          </a:bodyPr>
          <a:lstStyle/>
          <a:p>
            <a:pPr>
              <a:lnSpc>
                <a:spcPct val="90000"/>
              </a:lnSpc>
            </a:pPr>
            <a:r>
              <a:rPr lang="hr-HR" dirty="0" smtClean="0"/>
              <a:t># </a:t>
            </a:r>
            <a:r>
              <a:rPr lang="hr-HR" dirty="0" err="1" smtClean="0"/>
              <a:t>day</a:t>
            </a:r>
            <a:r>
              <a:rPr lang="hr-HR" dirty="0" smtClean="0"/>
              <a:t> </a:t>
            </a:r>
            <a:r>
              <a:rPr lang="hr-HR" dirty="0" err="1" smtClean="0"/>
              <a:t>positive</a:t>
            </a:r>
            <a:r>
              <a:rPr lang="hr-HR" dirty="0" smtClean="0"/>
              <a:t> </a:t>
            </a:r>
            <a:r>
              <a:rPr lang="hr-HR" dirty="0" err="1" smtClean="0"/>
              <a:t>account</a:t>
            </a:r>
            <a:r>
              <a:rPr lang="hr-HR" dirty="0" smtClean="0"/>
              <a:t> </a:t>
            </a:r>
            <a:r>
              <a:rPr lang="hr-HR" dirty="0" err="1" smtClean="0"/>
              <a:t>balance</a:t>
            </a:r>
            <a:endParaRPr lang="en-US" dirty="0"/>
          </a:p>
        </p:txBody>
      </p:sp>
      <p:sp>
        <p:nvSpPr>
          <p:cNvPr id="10" name="TextBox 9"/>
          <p:cNvSpPr txBox="1"/>
          <p:nvPr/>
        </p:nvSpPr>
        <p:spPr>
          <a:xfrm rot="16200000">
            <a:off x="-796195" y="3522742"/>
            <a:ext cx="3035698" cy="381002"/>
          </a:xfrm>
          <a:prstGeom prst="rect">
            <a:avLst/>
          </a:prstGeom>
          <a:noFill/>
        </p:spPr>
        <p:txBody>
          <a:bodyPr wrap="none" lIns="0" tIns="0" rIns="0" bIns="0" rtlCol="0">
            <a:noAutofit/>
          </a:bodyPr>
          <a:lstStyle/>
          <a:p>
            <a:pPr>
              <a:lnSpc>
                <a:spcPct val="90000"/>
              </a:lnSpc>
            </a:pPr>
            <a:r>
              <a:rPr lang="hr-HR" dirty="0" smtClean="0"/>
              <a:t># </a:t>
            </a:r>
            <a:r>
              <a:rPr lang="hr-HR" dirty="0" err="1" smtClean="0"/>
              <a:t>day</a:t>
            </a:r>
            <a:r>
              <a:rPr lang="hr-HR" dirty="0" smtClean="0"/>
              <a:t> negative </a:t>
            </a:r>
            <a:r>
              <a:rPr lang="hr-HR" dirty="0" err="1" smtClean="0"/>
              <a:t>account</a:t>
            </a:r>
            <a:r>
              <a:rPr lang="hr-HR" dirty="0" smtClean="0"/>
              <a:t> </a:t>
            </a:r>
            <a:r>
              <a:rPr lang="hr-HR" dirty="0" err="1" smtClean="0"/>
              <a:t>balance</a:t>
            </a:r>
            <a:endParaRPr lang="en-US" dirty="0"/>
          </a:p>
        </p:txBody>
      </p:sp>
    </p:spTree>
    <p:extLst>
      <p:ext uri="{BB962C8B-B14F-4D97-AF65-F5344CB8AC3E}">
        <p14:creationId xmlns:p14="http://schemas.microsoft.com/office/powerpoint/2010/main" val="166693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r-HR" dirty="0" err="1"/>
              <a:t>Classification</a:t>
            </a:r>
            <a:r>
              <a:rPr lang="hr-HR" dirty="0"/>
              <a:t> - </a:t>
            </a:r>
            <a:r>
              <a:rPr lang="hr-HR" dirty="0" err="1"/>
              <a:t>Logistic</a:t>
            </a:r>
            <a:r>
              <a:rPr lang="hr-HR" dirty="0"/>
              <a:t> </a:t>
            </a:r>
            <a:r>
              <a:rPr lang="hr-HR" dirty="0" err="1"/>
              <a:t>regression</a:t>
            </a:r>
            <a:endParaRPr lang="en-US" dirty="0"/>
          </a:p>
        </p:txBody>
      </p:sp>
      <p:pic>
        <p:nvPicPr>
          <p:cNvPr id="7" name="Picture 6"/>
          <p:cNvPicPr>
            <a:picLocks noChangeAspect="1"/>
          </p:cNvPicPr>
          <p:nvPr/>
        </p:nvPicPr>
        <p:blipFill>
          <a:blip r:embed="rId2"/>
          <a:stretch>
            <a:fillRect/>
          </a:stretch>
        </p:blipFill>
        <p:spPr>
          <a:xfrm>
            <a:off x="7059180" y="2057400"/>
            <a:ext cx="4610100" cy="3248025"/>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012" y="2195512"/>
            <a:ext cx="7058025" cy="2971800"/>
          </a:xfrm>
          <a:prstGeom prst="rect">
            <a:avLst/>
          </a:prstGeom>
        </p:spPr>
      </p:pic>
      <p:sp>
        <p:nvSpPr>
          <p:cNvPr id="6" name="TextBox 5"/>
          <p:cNvSpPr txBox="1"/>
          <p:nvPr/>
        </p:nvSpPr>
        <p:spPr>
          <a:xfrm>
            <a:off x="3198812" y="2286000"/>
            <a:ext cx="3035698" cy="381002"/>
          </a:xfrm>
          <a:prstGeom prst="rect">
            <a:avLst/>
          </a:prstGeom>
          <a:noFill/>
        </p:spPr>
        <p:txBody>
          <a:bodyPr wrap="none" lIns="0" tIns="0" rIns="0" bIns="0" rtlCol="0">
            <a:noAutofit/>
          </a:bodyPr>
          <a:lstStyle/>
          <a:p>
            <a:pPr>
              <a:lnSpc>
                <a:spcPct val="90000"/>
              </a:lnSpc>
            </a:pPr>
            <a:r>
              <a:rPr lang="hr-HR" sz="2800" dirty="0" err="1" smtClean="0"/>
              <a:t>Score</a:t>
            </a:r>
            <a:endParaRPr lang="en-US" sz="2800" dirty="0"/>
          </a:p>
        </p:txBody>
      </p:sp>
      <p:sp>
        <p:nvSpPr>
          <p:cNvPr id="8" name="TextBox 7"/>
          <p:cNvSpPr txBox="1"/>
          <p:nvPr/>
        </p:nvSpPr>
        <p:spPr>
          <a:xfrm>
            <a:off x="2894012" y="4267200"/>
            <a:ext cx="3035698" cy="381002"/>
          </a:xfrm>
          <a:prstGeom prst="rect">
            <a:avLst/>
          </a:prstGeom>
          <a:noFill/>
        </p:spPr>
        <p:txBody>
          <a:bodyPr wrap="none" lIns="0" tIns="0" rIns="0" bIns="0" rtlCol="0">
            <a:noAutofit/>
          </a:bodyPr>
          <a:lstStyle/>
          <a:p>
            <a:pPr>
              <a:lnSpc>
                <a:spcPct val="90000"/>
              </a:lnSpc>
            </a:pPr>
            <a:r>
              <a:rPr lang="hr-HR" sz="2800" dirty="0" err="1"/>
              <a:t>s</a:t>
            </a:r>
            <a:r>
              <a:rPr lang="hr-HR" sz="2800" dirty="0" err="1" smtClean="0"/>
              <a:t>igmoid</a:t>
            </a:r>
            <a:r>
              <a:rPr lang="hr-HR" sz="2800" dirty="0" smtClean="0"/>
              <a:t>(</a:t>
            </a:r>
            <a:r>
              <a:rPr lang="hr-HR" sz="2800" dirty="0" err="1" smtClean="0"/>
              <a:t>Score</a:t>
            </a:r>
            <a:r>
              <a:rPr lang="hr-HR" sz="2800" dirty="0" smtClean="0"/>
              <a:t>)</a:t>
            </a:r>
            <a:endParaRPr lang="en-US" sz="2800" dirty="0"/>
          </a:p>
        </p:txBody>
      </p:sp>
    </p:spTree>
    <p:extLst>
      <p:ext uri="{BB962C8B-B14F-4D97-AF65-F5344CB8AC3E}">
        <p14:creationId xmlns:p14="http://schemas.microsoft.com/office/powerpoint/2010/main" val="67082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043834" y="1786214"/>
            <a:ext cx="2344720" cy="1882067"/>
          </a:xfrm>
          <a:prstGeom prst="rect">
            <a:avLst/>
          </a:prstGeom>
          <a:ln>
            <a:solidFill>
              <a:schemeClr val="tx1"/>
            </a:solidFill>
          </a:ln>
          <a:effectLst/>
        </p:spPr>
        <p:style>
          <a:lnRef idx="1">
            <a:schemeClr val="dk1"/>
          </a:lnRef>
          <a:fillRef idx="2">
            <a:schemeClr val="dk1"/>
          </a:fillRef>
          <a:effectRef idx="1">
            <a:schemeClr val="dk1"/>
          </a:effectRef>
          <a:fontRef idx="minor">
            <a:schemeClr val="dk1"/>
          </a:fontRef>
        </p:style>
        <p:txBody>
          <a:bodyPr lIns="121883" tIns="60941" rIns="121883" bIns="60941" rtlCol="0" anchor="ctr"/>
          <a:lstStyle/>
          <a:p>
            <a:pPr algn="ctr" defTabSz="914400"/>
            <a:r>
              <a:rPr lang="en-US" sz="2100" dirty="0" smtClean="0">
                <a:solidFill>
                  <a:srgbClr val="000000"/>
                </a:solidFill>
              </a:rPr>
              <a:t>OBIEE</a:t>
            </a:r>
            <a:endParaRPr lang="en-US" sz="2400" dirty="0" smtClean="0">
              <a:solidFill>
                <a:srgbClr val="000000"/>
              </a:solidFill>
            </a:endParaRPr>
          </a:p>
          <a:p>
            <a:pPr algn="ctr" defTabSz="914400"/>
            <a:endParaRPr lang="pt-BR" sz="2400" dirty="0" smtClean="0">
              <a:solidFill>
                <a:srgbClr val="000000"/>
              </a:solidFill>
            </a:endParaRPr>
          </a:p>
          <a:p>
            <a:pPr algn="ctr" defTabSz="914400"/>
            <a:endParaRPr lang="pt-BR" sz="2400" dirty="0" smtClean="0">
              <a:solidFill>
                <a:srgbClr val="000000"/>
              </a:solidFill>
            </a:endParaRPr>
          </a:p>
          <a:p>
            <a:pPr algn="ctr" defTabSz="914400"/>
            <a:endParaRPr lang="pt-BR" sz="2400" dirty="0" smtClean="0">
              <a:solidFill>
                <a:srgbClr val="000000"/>
              </a:solidFill>
            </a:endParaRPr>
          </a:p>
          <a:p>
            <a:pPr algn="ctr" defTabSz="914400"/>
            <a:endParaRPr lang="en-US" sz="2400" dirty="0">
              <a:solidFill>
                <a:srgbClr val="000000"/>
              </a:solidFill>
            </a:endParaRPr>
          </a:p>
        </p:txBody>
      </p:sp>
      <p:sp>
        <p:nvSpPr>
          <p:cNvPr id="8" name="Rectangle 7"/>
          <p:cNvSpPr/>
          <p:nvPr/>
        </p:nvSpPr>
        <p:spPr>
          <a:xfrm>
            <a:off x="3261320" y="3993985"/>
            <a:ext cx="8123266" cy="1905736"/>
          </a:xfrm>
          <a:prstGeom prst="rect">
            <a:avLst/>
          </a:prstGeom>
          <a:ln>
            <a:solidFill>
              <a:schemeClr val="accent1"/>
            </a:solidFill>
          </a:ln>
          <a:effectLst/>
        </p:spPr>
        <p:style>
          <a:lnRef idx="1">
            <a:schemeClr val="accent1"/>
          </a:lnRef>
          <a:fillRef idx="2">
            <a:schemeClr val="accent1"/>
          </a:fillRef>
          <a:effectRef idx="1">
            <a:schemeClr val="accent1"/>
          </a:effectRef>
          <a:fontRef idx="minor">
            <a:schemeClr val="dk1"/>
          </a:fontRef>
        </p:style>
        <p:txBody>
          <a:bodyPr lIns="121883" tIns="60941" rIns="121883" bIns="60941" rtlCol="0" anchor="t"/>
          <a:lstStyle/>
          <a:p>
            <a:pPr algn="ctr" defTabSz="914400"/>
            <a:r>
              <a:rPr lang="en-US" sz="2100" b="1" dirty="0" smtClean="0">
                <a:solidFill>
                  <a:srgbClr val="000000"/>
                </a:solidFill>
              </a:rPr>
              <a:t>Oracle Database Enterprise Edition</a:t>
            </a:r>
            <a:endParaRPr lang="en-US" sz="2100" b="1" dirty="0">
              <a:solidFill>
                <a:srgbClr val="000000"/>
              </a:solidFill>
            </a:endParaRPr>
          </a:p>
        </p:txBody>
      </p:sp>
      <p:sp>
        <p:nvSpPr>
          <p:cNvPr id="2" name="Title 1"/>
          <p:cNvSpPr>
            <a:spLocks noGrp="1"/>
          </p:cNvSpPr>
          <p:nvPr>
            <p:ph type="title"/>
          </p:nvPr>
        </p:nvSpPr>
        <p:spPr>
          <a:xfrm>
            <a:off x="1065211" y="304800"/>
            <a:ext cx="11125199" cy="889000"/>
          </a:xfrm>
        </p:spPr>
        <p:txBody>
          <a:bodyPr anchor="t" anchorCtr="0"/>
          <a:lstStyle/>
          <a:p>
            <a:r>
              <a:rPr lang="en-US" dirty="0" smtClean="0"/>
              <a:t>Oracle’s Advanced Analytics </a:t>
            </a:r>
            <a:r>
              <a:rPr lang="en-US" sz="2400" dirty="0" smtClean="0"/>
              <a:t>(Machine Learning Platform)</a:t>
            </a:r>
            <a:endParaRPr lang="en-US" sz="2400" dirty="0"/>
          </a:p>
        </p:txBody>
      </p:sp>
      <p:sp>
        <p:nvSpPr>
          <p:cNvPr id="27" name="Text Placeholder 26"/>
          <p:cNvSpPr>
            <a:spLocks noGrp="1"/>
          </p:cNvSpPr>
          <p:nvPr>
            <p:ph type="body" sz="quarter" idx="13"/>
          </p:nvPr>
        </p:nvSpPr>
        <p:spPr>
          <a:xfrm>
            <a:off x="1065213" y="698101"/>
            <a:ext cx="11125199" cy="343299"/>
          </a:xfrm>
        </p:spPr>
        <p:txBody>
          <a:bodyPr/>
          <a:lstStyle/>
          <a:p>
            <a:r>
              <a:rPr lang="en-US" sz="2700" b="0" dirty="0" smtClean="0">
                <a:solidFill>
                  <a:schemeClr val="accent1"/>
                </a:solidFill>
              </a:rPr>
              <a:t>Multiple interfaces across platforms — SQL, R, GUI, Dashboards, Apps</a:t>
            </a:r>
          </a:p>
        </p:txBody>
      </p:sp>
      <p:sp>
        <p:nvSpPr>
          <p:cNvPr id="66" name="Content Placeholder 65"/>
          <p:cNvSpPr>
            <a:spLocks noGrp="1"/>
          </p:cNvSpPr>
          <p:nvPr>
            <p:ph idx="1"/>
          </p:nvPr>
        </p:nvSpPr>
        <p:spPr/>
        <p:txBody>
          <a:bodyPr/>
          <a:lstStyle/>
          <a:p>
            <a:endParaRPr lang="en-US"/>
          </a:p>
        </p:txBody>
      </p:sp>
      <p:sp>
        <p:nvSpPr>
          <p:cNvPr id="7" name="Rectangle 6"/>
          <p:cNvSpPr/>
          <p:nvPr/>
        </p:nvSpPr>
        <p:spPr>
          <a:xfrm>
            <a:off x="3413720" y="4467463"/>
            <a:ext cx="7086600" cy="1302052"/>
          </a:xfrm>
          <a:prstGeom prst="rect">
            <a:avLst/>
          </a:prstGeom>
          <a:ln/>
          <a:effectLst/>
        </p:spPr>
        <p:style>
          <a:lnRef idx="1">
            <a:schemeClr val="accent1"/>
          </a:lnRef>
          <a:fillRef idx="2">
            <a:schemeClr val="accent1"/>
          </a:fillRef>
          <a:effectRef idx="1">
            <a:schemeClr val="accent1"/>
          </a:effectRef>
          <a:fontRef idx="minor">
            <a:schemeClr val="dk1"/>
          </a:fontRef>
        </p:style>
        <p:txBody>
          <a:bodyPr lIns="121883" tIns="60941" rIns="121883" bIns="60941" rtlCol="0" anchor="ctr"/>
          <a:lstStyle/>
          <a:p>
            <a:pPr algn="ctr" defTabSz="914400"/>
            <a:r>
              <a:rPr lang="en-US" sz="1800" b="1" dirty="0" smtClean="0">
                <a:solidFill>
                  <a:srgbClr val="000000"/>
                </a:solidFill>
              </a:rPr>
              <a:t>Oracle Advanced Analytics - Database Option</a:t>
            </a:r>
          </a:p>
          <a:p>
            <a:pPr algn="ctr" defTabSz="914400"/>
            <a:r>
              <a:rPr lang="en-US" sz="1800" i="1" dirty="0" smtClean="0">
                <a:solidFill>
                  <a:srgbClr val="000000"/>
                </a:solidFill>
              </a:rPr>
              <a:t>SQL Data Mining, ML &amp; Analytic Functions + R Integration </a:t>
            </a:r>
            <a:br>
              <a:rPr lang="en-US" sz="1800" i="1" dirty="0" smtClean="0">
                <a:solidFill>
                  <a:srgbClr val="000000"/>
                </a:solidFill>
              </a:rPr>
            </a:br>
            <a:r>
              <a:rPr lang="en-US" sz="1800" i="1" dirty="0" smtClean="0">
                <a:solidFill>
                  <a:srgbClr val="000000"/>
                </a:solidFill>
              </a:rPr>
              <a:t>for Scalable, Distributed, Parallel in-DB ML Execution</a:t>
            </a:r>
          </a:p>
        </p:txBody>
      </p:sp>
      <p:sp>
        <p:nvSpPr>
          <p:cNvPr id="9" name="Rectangle 8"/>
          <p:cNvSpPr/>
          <p:nvPr/>
        </p:nvSpPr>
        <p:spPr>
          <a:xfrm>
            <a:off x="3645114" y="1780019"/>
            <a:ext cx="2330742" cy="1894405"/>
          </a:xfrm>
          <a:prstGeom prst="rect">
            <a:avLst/>
          </a:prstGeom>
          <a:ln>
            <a:solidFill>
              <a:schemeClr val="tx1"/>
            </a:solidFill>
          </a:ln>
          <a:effectLst/>
        </p:spPr>
        <p:style>
          <a:lnRef idx="1">
            <a:schemeClr val="dk1"/>
          </a:lnRef>
          <a:fillRef idx="2">
            <a:schemeClr val="dk1"/>
          </a:fillRef>
          <a:effectRef idx="1">
            <a:schemeClr val="dk1"/>
          </a:effectRef>
          <a:fontRef idx="minor">
            <a:schemeClr val="dk1"/>
          </a:fontRef>
        </p:style>
        <p:txBody>
          <a:bodyPr lIns="121883" tIns="60941" rIns="121883" bIns="60941" rtlCol="0" anchor="ctr"/>
          <a:lstStyle/>
          <a:p>
            <a:pPr algn="ctr" defTabSz="914400"/>
            <a:r>
              <a:rPr lang="en-US" sz="2100" dirty="0" smtClean="0">
                <a:solidFill>
                  <a:srgbClr val="000000"/>
                </a:solidFill>
              </a:rPr>
              <a:t>SQL Developer/ Oracle Data Miner</a:t>
            </a:r>
          </a:p>
          <a:p>
            <a:pPr algn="ctr" defTabSz="914400"/>
            <a:endParaRPr lang="pt-BR" sz="2100" dirty="0" smtClean="0">
              <a:solidFill>
                <a:srgbClr val="000000"/>
              </a:solidFill>
            </a:endParaRPr>
          </a:p>
          <a:p>
            <a:pPr algn="ctr" defTabSz="914400"/>
            <a:endParaRPr lang="pt-BR" sz="2100" dirty="0" smtClean="0">
              <a:solidFill>
                <a:srgbClr val="000000"/>
              </a:solidFill>
            </a:endParaRPr>
          </a:p>
          <a:p>
            <a:pPr algn="ctr" defTabSz="914400"/>
            <a:endParaRPr lang="pt-BR" sz="2100" dirty="0" smtClean="0">
              <a:solidFill>
                <a:srgbClr val="000000"/>
              </a:solidFill>
            </a:endParaRPr>
          </a:p>
          <a:p>
            <a:pPr algn="ctr" defTabSz="914400"/>
            <a:endParaRPr lang="en-US" sz="2100" dirty="0">
              <a:solidFill>
                <a:srgbClr val="000000"/>
              </a:solidFill>
            </a:endParaRPr>
          </a:p>
        </p:txBody>
      </p:sp>
      <p:pic>
        <p:nvPicPr>
          <p:cNvPr id="17" name="Picture 2"/>
          <p:cNvPicPr>
            <a:picLocks noChangeAspect="1" noChangeArrowheads="1"/>
          </p:cNvPicPr>
          <p:nvPr/>
        </p:nvPicPr>
        <p:blipFill>
          <a:blip r:embed="rId3" cstate="screen">
            <a:clrChange>
              <a:clrFrom>
                <a:srgbClr val="FFFFFF"/>
              </a:clrFrom>
              <a:clrTo>
                <a:srgbClr val="FFFFFF">
                  <a:alpha val="0"/>
                </a:srgbClr>
              </a:clrTo>
            </a:clrChange>
          </a:blip>
          <a:srcRect/>
          <a:stretch>
            <a:fillRect/>
          </a:stretch>
        </p:blipFill>
        <p:spPr bwMode="auto">
          <a:xfrm>
            <a:off x="3794427" y="2420344"/>
            <a:ext cx="2041628" cy="1237256"/>
          </a:xfrm>
          <a:prstGeom prst="rect">
            <a:avLst/>
          </a:prstGeom>
          <a:solidFill>
            <a:schemeClr val="bg1"/>
          </a:solidFill>
          <a:ln w="9525">
            <a:solidFill>
              <a:schemeClr val="tx1">
                <a:lumMod val="65000"/>
                <a:lumOff val="35000"/>
              </a:schemeClr>
            </a:solidFill>
            <a:miter lim="800000"/>
            <a:headEnd/>
            <a:tailEnd/>
          </a:ln>
          <a:effectLst/>
        </p:spPr>
      </p:pic>
      <p:sp>
        <p:nvSpPr>
          <p:cNvPr id="21" name="Rectangle 20"/>
          <p:cNvSpPr/>
          <p:nvPr/>
        </p:nvSpPr>
        <p:spPr>
          <a:xfrm>
            <a:off x="8461845" y="1776350"/>
            <a:ext cx="2481156" cy="1882067"/>
          </a:xfrm>
          <a:prstGeom prst="rect">
            <a:avLst/>
          </a:prstGeom>
          <a:ln>
            <a:solidFill>
              <a:schemeClr val="tx1"/>
            </a:solidFill>
          </a:ln>
          <a:effectLst/>
        </p:spPr>
        <p:style>
          <a:lnRef idx="1">
            <a:schemeClr val="dk1"/>
          </a:lnRef>
          <a:fillRef idx="2">
            <a:schemeClr val="dk1"/>
          </a:fillRef>
          <a:effectRef idx="1">
            <a:schemeClr val="dk1"/>
          </a:effectRef>
          <a:fontRef idx="minor">
            <a:schemeClr val="dk1"/>
          </a:fontRef>
        </p:style>
        <p:txBody>
          <a:bodyPr lIns="121883" tIns="60941" rIns="121883" bIns="60941" rtlCol="0" anchor="ctr"/>
          <a:lstStyle/>
          <a:p>
            <a:pPr algn="ctr" defTabSz="914400"/>
            <a:r>
              <a:rPr lang="en-US" sz="2100" dirty="0" smtClean="0">
                <a:solidFill>
                  <a:srgbClr val="000000"/>
                </a:solidFill>
              </a:rPr>
              <a:t>Applications</a:t>
            </a:r>
            <a:endParaRPr lang="en-US" sz="2400" dirty="0" smtClean="0">
              <a:solidFill>
                <a:srgbClr val="000000"/>
              </a:solidFill>
            </a:endParaRPr>
          </a:p>
          <a:p>
            <a:pPr algn="ctr" defTabSz="914400"/>
            <a:endParaRPr lang="pt-BR" sz="2400" dirty="0" smtClean="0">
              <a:solidFill>
                <a:srgbClr val="000000"/>
              </a:solidFill>
            </a:endParaRPr>
          </a:p>
          <a:p>
            <a:pPr algn="ctr" defTabSz="914400"/>
            <a:endParaRPr lang="pt-BR" sz="2400" dirty="0" smtClean="0">
              <a:solidFill>
                <a:srgbClr val="000000"/>
              </a:solidFill>
            </a:endParaRPr>
          </a:p>
          <a:p>
            <a:pPr algn="ctr" defTabSz="914400"/>
            <a:endParaRPr lang="pt-BR" sz="2400" dirty="0" smtClean="0">
              <a:solidFill>
                <a:srgbClr val="000000"/>
              </a:solidFill>
            </a:endParaRPr>
          </a:p>
          <a:p>
            <a:pPr algn="ctr" defTabSz="914400"/>
            <a:endParaRPr lang="en-US" sz="2400" dirty="0">
              <a:solidFill>
                <a:srgbClr val="000000"/>
              </a:solidFill>
            </a:endParaRPr>
          </a:p>
        </p:txBody>
      </p:sp>
      <p:pic>
        <p:nvPicPr>
          <p:cNvPr id="23" name="Content Placeholder 3" descr="HCM2.JPG"/>
          <p:cNvPicPr>
            <a:picLocks noGrp="1" noChangeAspect="1"/>
          </p:cNvPicPr>
          <p:nvPr/>
        </p:nvPicPr>
        <p:blipFill>
          <a:blip r:embed="rId4" cstate="screen"/>
          <a:srcRect/>
          <a:stretch>
            <a:fillRect/>
          </a:stretch>
        </p:blipFill>
        <p:spPr bwMode="auto">
          <a:xfrm>
            <a:off x="8596466" y="2224297"/>
            <a:ext cx="2238069" cy="1337453"/>
          </a:xfrm>
          <a:prstGeom prst="rect">
            <a:avLst/>
          </a:prstGeom>
          <a:noFill/>
          <a:ln w="9525">
            <a:solidFill>
              <a:schemeClr val="tx1">
                <a:lumMod val="65000"/>
                <a:lumOff val="35000"/>
              </a:schemeClr>
            </a:solidFill>
            <a:miter lim="800000"/>
            <a:headEnd/>
            <a:tailEnd/>
          </a:ln>
          <a:effectLst/>
        </p:spPr>
      </p:pic>
      <p:grpSp>
        <p:nvGrpSpPr>
          <p:cNvPr id="3" name="Group 24"/>
          <p:cNvGrpSpPr/>
          <p:nvPr/>
        </p:nvGrpSpPr>
        <p:grpSpPr>
          <a:xfrm>
            <a:off x="1322257" y="1783146"/>
            <a:ext cx="2257555" cy="1894405"/>
            <a:chOff x="2696909" y="894377"/>
            <a:chExt cx="1693607" cy="1420804"/>
          </a:xfrm>
          <a:effectLst/>
        </p:grpSpPr>
        <p:sp>
          <p:nvSpPr>
            <p:cNvPr id="18" name="Rectangle 17"/>
            <p:cNvSpPr/>
            <p:nvPr/>
          </p:nvSpPr>
          <p:spPr>
            <a:xfrm>
              <a:off x="2696909" y="894377"/>
              <a:ext cx="1693607" cy="1420804"/>
            </a:xfrm>
            <a:prstGeom prst="rect">
              <a:avLst/>
            </a:prstGeom>
            <a:ln>
              <a:solidFill>
                <a:schemeClr val="tx1"/>
              </a:solidFill>
            </a:ln>
            <a:effectLst/>
          </p:spPr>
          <p:style>
            <a:lnRef idx="1">
              <a:schemeClr val="dk1"/>
            </a:lnRef>
            <a:fillRef idx="2">
              <a:schemeClr val="dk1"/>
            </a:fillRef>
            <a:effectRef idx="1">
              <a:schemeClr val="dk1"/>
            </a:effectRef>
            <a:fontRef idx="minor">
              <a:schemeClr val="dk1"/>
            </a:fontRef>
          </p:style>
          <p:txBody>
            <a:bodyPr rtlCol="0" anchor="ctr"/>
            <a:lstStyle/>
            <a:p>
              <a:pPr algn="ctr" defTabSz="914400"/>
              <a:r>
                <a:rPr lang="en-US" sz="1800" dirty="0" smtClean="0">
                  <a:solidFill>
                    <a:srgbClr val="000000"/>
                  </a:solidFill>
                </a:rPr>
                <a:t>R Client</a:t>
              </a:r>
            </a:p>
            <a:p>
              <a:pPr algn="ctr" defTabSz="914400"/>
              <a:endParaRPr lang="en-US" sz="1800" dirty="0" smtClean="0">
                <a:solidFill>
                  <a:srgbClr val="000000"/>
                </a:solidFill>
              </a:endParaRPr>
            </a:p>
            <a:p>
              <a:pPr algn="ctr" defTabSz="914400"/>
              <a:endParaRPr lang="pt-BR" sz="1800" dirty="0" smtClean="0">
                <a:solidFill>
                  <a:srgbClr val="000000"/>
                </a:solidFill>
              </a:endParaRPr>
            </a:p>
            <a:p>
              <a:pPr algn="ctr" defTabSz="914400"/>
              <a:endParaRPr lang="pt-BR" sz="1800" dirty="0" smtClean="0">
                <a:solidFill>
                  <a:srgbClr val="000000"/>
                </a:solidFill>
              </a:endParaRPr>
            </a:p>
            <a:p>
              <a:pPr algn="ctr" defTabSz="914400"/>
              <a:endParaRPr lang="pt-BR" sz="1800" dirty="0" smtClean="0">
                <a:solidFill>
                  <a:srgbClr val="000000"/>
                </a:solidFill>
              </a:endParaRPr>
            </a:p>
            <a:p>
              <a:pPr algn="ctr" defTabSz="914400"/>
              <a:endParaRPr lang="en-US" sz="1800" dirty="0">
                <a:solidFill>
                  <a:srgbClr val="000000"/>
                </a:solidFill>
              </a:endParaRPr>
            </a:p>
          </p:txBody>
        </p:sp>
        <p:grpSp>
          <p:nvGrpSpPr>
            <p:cNvPr id="4" name="Group 21"/>
            <p:cNvGrpSpPr/>
            <p:nvPr/>
          </p:nvGrpSpPr>
          <p:grpSpPr>
            <a:xfrm>
              <a:off x="2804209" y="1280434"/>
              <a:ext cx="1485443" cy="921849"/>
              <a:chOff x="2804209" y="1280434"/>
              <a:chExt cx="1485443" cy="921849"/>
            </a:xfrm>
          </p:grpSpPr>
          <p:pic>
            <p:nvPicPr>
              <p:cNvPr id="2057" name="Picture 9"/>
              <p:cNvPicPr>
                <a:picLocks noChangeAspect="1" noChangeArrowheads="1"/>
              </p:cNvPicPr>
              <p:nvPr/>
            </p:nvPicPr>
            <p:blipFill>
              <a:blip r:embed="rId5" cstate="screen"/>
              <a:srcRect/>
              <a:stretch>
                <a:fillRect/>
              </a:stretch>
            </p:blipFill>
            <p:spPr bwMode="auto">
              <a:xfrm>
                <a:off x="2804209" y="1280434"/>
                <a:ext cx="1485443" cy="921849"/>
              </a:xfrm>
              <a:prstGeom prst="rect">
                <a:avLst/>
              </a:prstGeom>
              <a:noFill/>
              <a:ln w="9525">
                <a:solidFill>
                  <a:schemeClr val="tx1">
                    <a:lumMod val="65000"/>
                    <a:lumOff val="35000"/>
                  </a:schemeClr>
                </a:solidFill>
                <a:miter lim="800000"/>
                <a:headEnd/>
                <a:tailEnd/>
              </a:ln>
              <a:effectLst>
                <a:outerShdw blurRad="63500" sx="102000" sy="102000" algn="ctr" rotWithShape="0">
                  <a:prstClr val="black">
                    <a:alpha val="40000"/>
                  </a:prstClr>
                </a:outerShdw>
              </a:effectLst>
            </p:spPr>
          </p:pic>
          <p:pic>
            <p:nvPicPr>
              <p:cNvPr id="2056" name="Picture 8"/>
              <p:cNvPicPr>
                <a:picLocks noChangeAspect="1" noChangeArrowheads="1"/>
              </p:cNvPicPr>
              <p:nvPr/>
            </p:nvPicPr>
            <p:blipFill>
              <a:blip r:embed="rId6" cstate="screen"/>
              <a:srcRect/>
              <a:stretch>
                <a:fillRect/>
              </a:stretch>
            </p:blipFill>
            <p:spPr bwMode="auto">
              <a:xfrm>
                <a:off x="3339918" y="1633356"/>
                <a:ext cx="862133" cy="567752"/>
              </a:xfrm>
              <a:prstGeom prst="rect">
                <a:avLst/>
              </a:prstGeom>
              <a:noFill/>
              <a:ln w="9525">
                <a:noFill/>
                <a:miter lim="800000"/>
                <a:headEnd/>
                <a:tailEnd/>
              </a:ln>
              <a:effectLst>
                <a:outerShdw blurRad="63500" sx="102000" sy="102000" algn="ctr" rotWithShape="0">
                  <a:prstClr val="black">
                    <a:alpha val="40000"/>
                  </a:prstClr>
                </a:outerShdw>
              </a:effectLst>
            </p:spPr>
          </p:pic>
          <p:pic>
            <p:nvPicPr>
              <p:cNvPr id="2053" name="Picture 5"/>
              <p:cNvPicPr>
                <a:picLocks noChangeAspect="1" noChangeArrowheads="1"/>
              </p:cNvPicPr>
              <p:nvPr/>
            </p:nvPicPr>
            <p:blipFill>
              <a:blip r:embed="rId7" cstate="screen"/>
              <a:srcRect/>
              <a:stretch>
                <a:fillRect/>
              </a:stretch>
            </p:blipFill>
            <p:spPr bwMode="auto">
              <a:xfrm>
                <a:off x="2954756" y="1444308"/>
                <a:ext cx="751647" cy="536891"/>
              </a:xfrm>
              <a:prstGeom prst="rect">
                <a:avLst/>
              </a:prstGeom>
              <a:noFill/>
              <a:ln w="9525">
                <a:solidFill>
                  <a:schemeClr val="tx1">
                    <a:lumMod val="65000"/>
                    <a:lumOff val="35000"/>
                  </a:schemeClr>
                </a:solidFill>
                <a:miter lim="800000"/>
                <a:headEnd/>
                <a:tailEnd/>
              </a:ln>
              <a:effectLst>
                <a:outerShdw blurRad="63500" sx="102000" sy="102000" algn="ctr" rotWithShape="0">
                  <a:prstClr val="black">
                    <a:alpha val="40000"/>
                  </a:prstClr>
                </a:outerShdw>
              </a:effectLst>
            </p:spPr>
          </p:pic>
          <p:pic>
            <p:nvPicPr>
              <p:cNvPr id="2055" name="Picture 7"/>
              <p:cNvPicPr>
                <a:picLocks noChangeAspect="1" noChangeArrowheads="1"/>
              </p:cNvPicPr>
              <p:nvPr/>
            </p:nvPicPr>
            <p:blipFill>
              <a:blip r:embed="rId8" cstate="screen"/>
              <a:srcRect/>
              <a:stretch>
                <a:fillRect/>
              </a:stretch>
            </p:blipFill>
            <p:spPr bwMode="auto">
              <a:xfrm>
                <a:off x="3649981" y="1289814"/>
                <a:ext cx="611966" cy="556781"/>
              </a:xfrm>
              <a:prstGeom prst="rect">
                <a:avLst/>
              </a:prstGeom>
              <a:noFill/>
              <a:ln w="9525">
                <a:solidFill>
                  <a:schemeClr val="tx1">
                    <a:lumMod val="65000"/>
                    <a:lumOff val="35000"/>
                  </a:schemeClr>
                </a:solidFill>
                <a:miter lim="800000"/>
                <a:headEnd/>
                <a:tailEnd/>
              </a:ln>
              <a:effectLst>
                <a:outerShdw blurRad="63500" sx="102000" sy="102000" algn="ctr" rotWithShape="0">
                  <a:prstClr val="black">
                    <a:alpha val="40000"/>
                  </a:prstClr>
                </a:outerShdw>
              </a:effectLst>
            </p:spPr>
          </p:pic>
        </p:grpSp>
      </p:grpSp>
      <p:pic>
        <p:nvPicPr>
          <p:cNvPr id="20" name="Picture 1" descr="Snap589.png"/>
          <p:cNvPicPr>
            <a:picLocks noGrp="1" noChangeAspect="1"/>
          </p:cNvPicPr>
          <p:nvPr isPhoto="1"/>
        </p:nvPicPr>
        <p:blipFill>
          <a:blip r:embed="rId9" cstate="screen"/>
          <a:srcRect/>
          <a:stretch>
            <a:fillRect/>
          </a:stretch>
        </p:blipFill>
        <p:spPr bwMode="auto">
          <a:xfrm>
            <a:off x="6284467" y="2268757"/>
            <a:ext cx="1837115" cy="1188720"/>
          </a:xfrm>
          <a:prstGeom prst="rect">
            <a:avLst/>
          </a:prstGeom>
          <a:noFill/>
          <a:ln w="9525">
            <a:solidFill>
              <a:schemeClr val="tx1">
                <a:lumMod val="65000"/>
                <a:lumOff val="35000"/>
              </a:schemeClr>
            </a:solidFill>
            <a:miter lim="800000"/>
            <a:headEnd/>
            <a:tailEnd/>
          </a:ln>
          <a:effectLst/>
        </p:spPr>
      </p:pic>
      <p:pic>
        <p:nvPicPr>
          <p:cNvPr id="24" name="Picture 23"/>
          <p:cNvPicPr>
            <a:picLocks noChangeAspect="1"/>
          </p:cNvPicPr>
          <p:nvPr/>
        </p:nvPicPr>
        <p:blipFill rotWithShape="1">
          <a:blip r:embed="rId10" cstate="screen"/>
          <a:srcRect l="7324" t="27600" r="43130" b="6153"/>
          <a:stretch/>
        </p:blipFill>
        <p:spPr>
          <a:xfrm>
            <a:off x="6930006" y="2829327"/>
            <a:ext cx="1208725" cy="729753"/>
          </a:xfrm>
          <a:prstGeom prst="rect">
            <a:avLst/>
          </a:prstGeom>
          <a:ln>
            <a:solidFill>
              <a:schemeClr val="tx1">
                <a:lumMod val="65000"/>
                <a:lumOff val="35000"/>
              </a:schemeClr>
            </a:solidFill>
          </a:ln>
          <a:effectLst/>
        </p:spPr>
      </p:pic>
      <p:grpSp>
        <p:nvGrpSpPr>
          <p:cNvPr id="5" name="Group 55"/>
          <p:cNvGrpSpPr/>
          <p:nvPr/>
        </p:nvGrpSpPr>
        <p:grpSpPr>
          <a:xfrm>
            <a:off x="10347920" y="3753297"/>
            <a:ext cx="1613892" cy="1659467"/>
            <a:chOff x="7118143" y="3119440"/>
            <a:chExt cx="464496" cy="701446"/>
          </a:xfrm>
        </p:grpSpPr>
        <p:pic>
          <p:nvPicPr>
            <p:cNvPr id="25" name="Picture 34" descr="ExadataX2-8_1up_0074.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118143" y="3122161"/>
              <a:ext cx="263939" cy="659264"/>
            </a:xfrm>
            <a:prstGeom prst="rect">
              <a:avLst/>
            </a:prstGeom>
            <a:noFill/>
            <a:ln w="9525">
              <a:noFill/>
              <a:miter lim="800000"/>
              <a:headEnd/>
              <a:tailEnd/>
            </a:ln>
          </p:spPr>
        </p:pic>
        <p:pic>
          <p:nvPicPr>
            <p:cNvPr id="26" name="Picture 34" descr="ExadataX2-8_1up_0074.png"/>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301812" y="3119440"/>
              <a:ext cx="280827" cy="701446"/>
            </a:xfrm>
            <a:prstGeom prst="rect">
              <a:avLst/>
            </a:prstGeom>
            <a:noFill/>
            <a:ln w="9525">
              <a:noFill/>
              <a:miter lim="800000"/>
              <a:headEnd/>
              <a:tailEnd/>
            </a:ln>
          </p:spPr>
        </p:pic>
      </p:grpSp>
      <p:sp>
        <p:nvSpPr>
          <p:cNvPr id="28" name="TextBox 27"/>
          <p:cNvSpPr txBox="1"/>
          <p:nvPr/>
        </p:nvSpPr>
        <p:spPr>
          <a:xfrm>
            <a:off x="3503612" y="1447800"/>
            <a:ext cx="2438400" cy="304800"/>
          </a:xfrm>
          <a:prstGeom prst="rect">
            <a:avLst/>
          </a:prstGeom>
          <a:noFill/>
        </p:spPr>
        <p:txBody>
          <a:bodyPr wrap="none" lIns="0" tIns="0" rIns="0" bIns="0" rtlCol="0">
            <a:noAutofit/>
          </a:bodyPr>
          <a:lstStyle/>
          <a:p>
            <a:pPr defTabSz="914400">
              <a:lnSpc>
                <a:spcPct val="90000"/>
              </a:lnSpc>
            </a:pPr>
            <a:r>
              <a:rPr lang="en-US" sz="1800" dirty="0" smtClean="0">
                <a:solidFill>
                  <a:srgbClr val="F80000"/>
                </a:solidFill>
              </a:rPr>
              <a:t>Data &amp; Business Analysts</a:t>
            </a:r>
            <a:endParaRPr lang="en-US" sz="1800" dirty="0">
              <a:solidFill>
                <a:srgbClr val="F80000"/>
              </a:solidFill>
            </a:endParaRPr>
          </a:p>
        </p:txBody>
      </p:sp>
      <p:sp>
        <p:nvSpPr>
          <p:cNvPr id="29" name="TextBox 28"/>
          <p:cNvSpPr txBox="1"/>
          <p:nvPr/>
        </p:nvSpPr>
        <p:spPr>
          <a:xfrm>
            <a:off x="1293811" y="1447800"/>
            <a:ext cx="2238245" cy="292925"/>
          </a:xfrm>
          <a:prstGeom prst="rect">
            <a:avLst/>
          </a:prstGeom>
          <a:noFill/>
        </p:spPr>
        <p:txBody>
          <a:bodyPr wrap="none" lIns="0" tIns="0" rIns="0" bIns="0" rtlCol="0">
            <a:noAutofit/>
          </a:bodyPr>
          <a:lstStyle/>
          <a:p>
            <a:pPr algn="ctr" defTabSz="914400">
              <a:lnSpc>
                <a:spcPct val="90000"/>
              </a:lnSpc>
            </a:pPr>
            <a:r>
              <a:rPr lang="en-US" sz="1800" dirty="0" smtClean="0">
                <a:solidFill>
                  <a:srgbClr val="005EA4"/>
                </a:solidFill>
              </a:rPr>
              <a:t>R programmers</a:t>
            </a:r>
            <a:endParaRPr lang="en-US" sz="1800" dirty="0">
              <a:solidFill>
                <a:srgbClr val="005EA4"/>
              </a:solidFill>
            </a:endParaRPr>
          </a:p>
        </p:txBody>
      </p:sp>
      <p:sp>
        <p:nvSpPr>
          <p:cNvPr id="30" name="TextBox 29"/>
          <p:cNvSpPr txBox="1"/>
          <p:nvPr/>
        </p:nvSpPr>
        <p:spPr>
          <a:xfrm>
            <a:off x="6170612" y="1447800"/>
            <a:ext cx="2438400" cy="304800"/>
          </a:xfrm>
          <a:prstGeom prst="rect">
            <a:avLst/>
          </a:prstGeom>
          <a:noFill/>
        </p:spPr>
        <p:txBody>
          <a:bodyPr wrap="none" lIns="0" tIns="0" rIns="0" bIns="0" rtlCol="0">
            <a:noAutofit/>
          </a:bodyPr>
          <a:lstStyle/>
          <a:p>
            <a:pPr defTabSz="914400">
              <a:lnSpc>
                <a:spcPct val="90000"/>
              </a:lnSpc>
            </a:pPr>
            <a:r>
              <a:rPr lang="en-US" sz="1800" dirty="0" smtClean="0">
                <a:solidFill>
                  <a:srgbClr val="F80000"/>
                </a:solidFill>
              </a:rPr>
              <a:t>Business Analysts/Mgrs</a:t>
            </a:r>
            <a:endParaRPr lang="en-US" sz="1800" dirty="0">
              <a:solidFill>
                <a:srgbClr val="F80000"/>
              </a:solidFill>
            </a:endParaRPr>
          </a:p>
        </p:txBody>
      </p:sp>
      <p:sp>
        <p:nvSpPr>
          <p:cNvPr id="31" name="TextBox 30"/>
          <p:cNvSpPr txBox="1"/>
          <p:nvPr/>
        </p:nvSpPr>
        <p:spPr>
          <a:xfrm>
            <a:off x="8444737" y="1447800"/>
            <a:ext cx="2438400" cy="304800"/>
          </a:xfrm>
          <a:prstGeom prst="rect">
            <a:avLst/>
          </a:prstGeom>
          <a:noFill/>
        </p:spPr>
        <p:txBody>
          <a:bodyPr wrap="none" lIns="0" tIns="0" rIns="0" bIns="0" rtlCol="0">
            <a:noAutofit/>
          </a:bodyPr>
          <a:lstStyle/>
          <a:p>
            <a:pPr algn="ctr" defTabSz="914400">
              <a:lnSpc>
                <a:spcPct val="90000"/>
              </a:lnSpc>
            </a:pPr>
            <a:r>
              <a:rPr lang="en-US" sz="1800" dirty="0" smtClean="0">
                <a:solidFill>
                  <a:srgbClr val="F80000"/>
                </a:solidFill>
              </a:rPr>
              <a:t>Domain End Users</a:t>
            </a:r>
            <a:endParaRPr lang="en-US" sz="1800" dirty="0">
              <a:solidFill>
                <a:srgbClr val="F80000"/>
              </a:solidFill>
            </a:endParaRPr>
          </a:p>
        </p:txBody>
      </p:sp>
      <p:pic>
        <p:nvPicPr>
          <p:cNvPr id="32" name="Picture 26" descr="ph_ind_buslife_013_cropped"/>
          <p:cNvPicPr>
            <a:picLocks noChangeAspect="1" noChangeArrowheads="1"/>
          </p:cNvPicPr>
          <p:nvPr/>
        </p:nvPicPr>
        <p:blipFill>
          <a:blip r:embed="rId12" cstate="print"/>
          <a:srcRect/>
          <a:stretch>
            <a:fillRect/>
          </a:stretch>
        </p:blipFill>
        <p:spPr bwMode="auto">
          <a:xfrm>
            <a:off x="298449" y="1752600"/>
            <a:ext cx="919163" cy="919163"/>
          </a:xfrm>
          <a:prstGeom prst="rect">
            <a:avLst/>
          </a:prstGeom>
          <a:noFill/>
          <a:ln w="9525">
            <a:noFill/>
            <a:miter lim="800000"/>
            <a:headEnd/>
            <a:tailEnd/>
          </a:ln>
        </p:spPr>
      </p:pic>
      <p:sp>
        <p:nvSpPr>
          <p:cNvPr id="33" name="TextBox 32"/>
          <p:cNvSpPr txBox="1"/>
          <p:nvPr/>
        </p:nvSpPr>
        <p:spPr>
          <a:xfrm>
            <a:off x="374649" y="1447800"/>
            <a:ext cx="762000" cy="304800"/>
          </a:xfrm>
          <a:prstGeom prst="rect">
            <a:avLst/>
          </a:prstGeom>
          <a:noFill/>
        </p:spPr>
        <p:txBody>
          <a:bodyPr wrap="none" lIns="0" tIns="0" rIns="0" bIns="0" rtlCol="0">
            <a:noAutofit/>
          </a:bodyPr>
          <a:lstStyle/>
          <a:p>
            <a:pPr defTabSz="914400">
              <a:lnSpc>
                <a:spcPct val="90000"/>
              </a:lnSpc>
            </a:pPr>
            <a:r>
              <a:rPr lang="en-US" sz="1800" b="1" i="1" dirty="0" smtClean="0">
                <a:solidFill>
                  <a:srgbClr val="000000"/>
                </a:solidFill>
              </a:rPr>
              <a:t>Users</a:t>
            </a:r>
            <a:endParaRPr lang="en-US" sz="1800" b="1" i="1" dirty="0">
              <a:solidFill>
                <a:srgbClr val="000000"/>
              </a:solidFill>
            </a:endParaRPr>
          </a:p>
        </p:txBody>
      </p:sp>
      <p:sp>
        <p:nvSpPr>
          <p:cNvPr id="34" name="TextBox 33"/>
          <p:cNvSpPr txBox="1"/>
          <p:nvPr/>
        </p:nvSpPr>
        <p:spPr>
          <a:xfrm>
            <a:off x="227012" y="3677097"/>
            <a:ext cx="1066800" cy="304800"/>
          </a:xfrm>
          <a:prstGeom prst="rect">
            <a:avLst/>
          </a:prstGeom>
          <a:noFill/>
        </p:spPr>
        <p:txBody>
          <a:bodyPr wrap="none" lIns="0" tIns="0" rIns="0" bIns="0" rtlCol="0">
            <a:noAutofit/>
          </a:bodyPr>
          <a:lstStyle/>
          <a:p>
            <a:pPr defTabSz="914400">
              <a:lnSpc>
                <a:spcPct val="90000"/>
              </a:lnSpc>
            </a:pPr>
            <a:r>
              <a:rPr lang="en-US" sz="1800" b="1" i="1" dirty="0" smtClean="0">
                <a:solidFill>
                  <a:srgbClr val="000000"/>
                </a:solidFill>
              </a:rPr>
              <a:t>Platform</a:t>
            </a:r>
            <a:endParaRPr lang="en-US" sz="1800" b="1" i="1" dirty="0">
              <a:solidFill>
                <a:srgbClr val="000000"/>
              </a:solidFill>
            </a:endParaRPr>
          </a:p>
        </p:txBody>
      </p:sp>
      <p:pic>
        <p:nvPicPr>
          <p:cNvPr id="35" name="48A3F5A6-995C-459E-801B-04ED0F67E9FA" descr="E68B87C3-4119-4E3E-ADD4-C40DF263F308@us"/>
          <p:cNvPicPr>
            <a:picLocks noChangeAspect="1" noChangeArrowheads="1"/>
          </p:cNvPicPr>
          <p:nvPr/>
        </p:nvPicPr>
        <p:blipFill>
          <a:blip r:embed="rId13" cstate="print"/>
          <a:srcRect/>
          <a:stretch>
            <a:fillRect/>
          </a:stretch>
        </p:blipFill>
        <p:spPr bwMode="auto">
          <a:xfrm>
            <a:off x="3427412" y="4495800"/>
            <a:ext cx="685800" cy="685800"/>
          </a:xfrm>
          <a:prstGeom prst="rect">
            <a:avLst/>
          </a:prstGeom>
          <a:noFill/>
          <a:ln w="9525">
            <a:noFill/>
            <a:miter lim="800000"/>
            <a:headEnd/>
            <a:tailEnd/>
          </a:ln>
        </p:spPr>
      </p:pic>
      <p:sp>
        <p:nvSpPr>
          <p:cNvPr id="64" name="Rectangle 63"/>
          <p:cNvSpPr/>
          <p:nvPr/>
        </p:nvSpPr>
        <p:spPr>
          <a:xfrm>
            <a:off x="1051520" y="3981897"/>
            <a:ext cx="2133600" cy="1905736"/>
          </a:xfrm>
          <a:prstGeom prst="rect">
            <a:avLst/>
          </a:prstGeom>
          <a:ln>
            <a:solidFill>
              <a:schemeClr val="accent1"/>
            </a:solidFill>
          </a:ln>
          <a:effectLst/>
        </p:spPr>
        <p:style>
          <a:lnRef idx="1">
            <a:schemeClr val="accent1"/>
          </a:lnRef>
          <a:fillRef idx="2">
            <a:schemeClr val="accent1"/>
          </a:fillRef>
          <a:effectRef idx="1">
            <a:schemeClr val="accent1"/>
          </a:effectRef>
          <a:fontRef idx="minor">
            <a:schemeClr val="dk1"/>
          </a:fontRef>
        </p:style>
        <p:txBody>
          <a:bodyPr lIns="121883" tIns="60941" rIns="121883" bIns="60941" rtlCol="0" anchor="t"/>
          <a:lstStyle/>
          <a:p>
            <a:pPr algn="ctr" defTabSz="914400"/>
            <a:r>
              <a:rPr lang="en-US" sz="2100" b="1" dirty="0" smtClean="0">
                <a:solidFill>
                  <a:srgbClr val="000000"/>
                </a:solidFill>
              </a:rPr>
              <a:t>Hadoop</a:t>
            </a:r>
            <a:endParaRPr lang="en-US" sz="2100" b="1" dirty="0">
              <a:solidFill>
                <a:srgbClr val="000000"/>
              </a:solidFill>
            </a:endParaRPr>
          </a:p>
        </p:txBody>
      </p:sp>
      <p:sp>
        <p:nvSpPr>
          <p:cNvPr id="65" name="Rectangle 64"/>
          <p:cNvSpPr/>
          <p:nvPr/>
        </p:nvSpPr>
        <p:spPr>
          <a:xfrm>
            <a:off x="1203920" y="4491547"/>
            <a:ext cx="1828800" cy="1302052"/>
          </a:xfrm>
          <a:prstGeom prst="rect">
            <a:avLst/>
          </a:prstGeom>
          <a:ln/>
          <a:effectLst/>
        </p:spPr>
        <p:style>
          <a:lnRef idx="1">
            <a:schemeClr val="accent1"/>
          </a:lnRef>
          <a:fillRef idx="2">
            <a:schemeClr val="accent1"/>
          </a:fillRef>
          <a:effectRef idx="1">
            <a:schemeClr val="accent1"/>
          </a:effectRef>
          <a:fontRef idx="minor">
            <a:schemeClr val="dk1"/>
          </a:fontRef>
        </p:style>
        <p:txBody>
          <a:bodyPr lIns="121883" tIns="60941" rIns="121883" bIns="60941" rtlCol="0" anchor="ctr"/>
          <a:lstStyle/>
          <a:p>
            <a:pPr algn="ctr" defTabSz="914400"/>
            <a:r>
              <a:rPr lang="en-US" sz="1800" b="1" dirty="0" smtClean="0">
                <a:solidFill>
                  <a:srgbClr val="000000"/>
                </a:solidFill>
              </a:rPr>
              <a:t>ORAAH</a:t>
            </a:r>
          </a:p>
          <a:p>
            <a:pPr algn="ctr" defTabSz="914400"/>
            <a:r>
              <a:rPr lang="en-US" sz="1800" i="1" dirty="0" smtClean="0">
                <a:solidFill>
                  <a:srgbClr val="000000"/>
                </a:solidFill>
              </a:rPr>
              <a:t>Parallel, distributed algorithms</a:t>
            </a:r>
          </a:p>
        </p:txBody>
      </p:sp>
      <p:grpSp>
        <p:nvGrpSpPr>
          <p:cNvPr id="6" name="Group 9"/>
          <p:cNvGrpSpPr/>
          <p:nvPr/>
        </p:nvGrpSpPr>
        <p:grpSpPr>
          <a:xfrm>
            <a:off x="3732212" y="5486400"/>
            <a:ext cx="2189126" cy="1047598"/>
            <a:chOff x="7924538" y="2583962"/>
            <a:chExt cx="3475617" cy="2029119"/>
          </a:xfrm>
        </p:grpSpPr>
        <p:grpSp>
          <p:nvGrpSpPr>
            <p:cNvPr id="10" name="Group 137"/>
            <p:cNvGrpSpPr>
              <a:grpSpLocks noChangeAspect="1"/>
            </p:cNvGrpSpPr>
            <p:nvPr/>
          </p:nvGrpSpPr>
          <p:grpSpPr bwMode="gray">
            <a:xfrm>
              <a:off x="7924538" y="2583962"/>
              <a:ext cx="3475617" cy="2029119"/>
              <a:chOff x="3600" y="864"/>
              <a:chExt cx="519" cy="303"/>
            </a:xfrm>
          </p:grpSpPr>
          <p:sp>
            <p:nvSpPr>
              <p:cNvPr id="71" name="AutoShape 136"/>
              <p:cNvSpPr>
                <a:spLocks noChangeAspect="1" noChangeArrowheads="1" noTextEdit="1"/>
              </p:cNvSpPr>
              <p:nvPr/>
            </p:nvSpPr>
            <p:spPr bwMode="gray">
              <a:xfrm>
                <a:off x="3600" y="864"/>
                <a:ext cx="519" cy="30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58595B"/>
                  </a:solidFill>
                </a:endParaRPr>
              </a:p>
            </p:txBody>
          </p:sp>
          <p:sp>
            <p:nvSpPr>
              <p:cNvPr id="72" name="Freeform 138"/>
              <p:cNvSpPr>
                <a:spLocks noEditPoints="1"/>
              </p:cNvSpPr>
              <p:nvPr/>
            </p:nvSpPr>
            <p:spPr bwMode="gray">
              <a:xfrm>
                <a:off x="3591" y="857"/>
                <a:ext cx="531" cy="310"/>
              </a:xfrm>
              <a:custGeom>
                <a:avLst/>
                <a:gdLst/>
                <a:ahLst/>
                <a:cxnLst>
                  <a:cxn ang="0">
                    <a:pos x="413" y="457"/>
                  </a:cxn>
                  <a:cxn ang="0">
                    <a:pos x="185" y="457"/>
                  </a:cxn>
                  <a:cxn ang="0">
                    <a:pos x="35" y="367"/>
                  </a:cxn>
                  <a:cxn ang="0">
                    <a:pos x="63" y="172"/>
                  </a:cxn>
                  <a:cxn ang="0">
                    <a:pos x="185" y="121"/>
                  </a:cxn>
                  <a:cxn ang="0">
                    <a:pos x="191" y="117"/>
                  </a:cxn>
                  <a:cxn ang="0">
                    <a:pos x="321" y="10"/>
                  </a:cxn>
                  <a:cxn ang="0">
                    <a:pos x="489" y="95"/>
                  </a:cxn>
                  <a:cxn ang="0">
                    <a:pos x="496" y="99"/>
                  </a:cxn>
                  <a:cxn ang="0">
                    <a:pos x="638" y="168"/>
                  </a:cxn>
                  <a:cxn ang="0">
                    <a:pos x="646" y="172"/>
                  </a:cxn>
                  <a:cxn ang="0">
                    <a:pos x="778" y="284"/>
                  </a:cxn>
                  <a:cxn ang="0">
                    <a:pos x="744" y="413"/>
                  </a:cxn>
                  <a:cxn ang="0">
                    <a:pos x="656" y="456"/>
                  </a:cxn>
                  <a:cxn ang="0">
                    <a:pos x="640" y="457"/>
                  </a:cxn>
                  <a:cxn ang="0">
                    <a:pos x="413" y="457"/>
                  </a:cxn>
                  <a:cxn ang="0">
                    <a:pos x="220" y="204"/>
                  </a:cxn>
                  <a:cxn ang="0">
                    <a:pos x="191" y="195"/>
                  </a:cxn>
                  <a:cxn ang="0">
                    <a:pos x="186" y="189"/>
                  </a:cxn>
                  <a:cxn ang="0">
                    <a:pos x="183" y="158"/>
                  </a:cxn>
                  <a:cxn ang="0">
                    <a:pos x="178" y="153"/>
                  </a:cxn>
                  <a:cxn ang="0">
                    <a:pos x="160" y="155"/>
                  </a:cxn>
                  <a:cxn ang="0">
                    <a:pos x="49" y="312"/>
                  </a:cxn>
                  <a:cxn ang="0">
                    <a:pos x="181" y="425"/>
                  </a:cxn>
                  <a:cxn ang="0">
                    <a:pos x="646" y="425"/>
                  </a:cxn>
                  <a:cxn ang="0">
                    <a:pos x="718" y="394"/>
                  </a:cxn>
                  <a:cxn ang="0">
                    <a:pos x="748" y="303"/>
                  </a:cxn>
                  <a:cxn ang="0">
                    <a:pos x="703" y="222"/>
                  </a:cxn>
                  <a:cxn ang="0">
                    <a:pos x="630" y="205"/>
                  </a:cxn>
                  <a:cxn ang="0">
                    <a:pos x="620" y="200"/>
                  </a:cxn>
                  <a:cxn ang="0">
                    <a:pos x="538" y="135"/>
                  </a:cxn>
                  <a:cxn ang="0">
                    <a:pos x="441" y="153"/>
                  </a:cxn>
                  <a:cxn ang="0">
                    <a:pos x="438" y="153"/>
                  </a:cxn>
                  <a:cxn ang="0">
                    <a:pos x="410" y="140"/>
                  </a:cxn>
                  <a:cxn ang="0">
                    <a:pos x="459" y="107"/>
                  </a:cxn>
                  <a:cxn ang="0">
                    <a:pos x="456" y="102"/>
                  </a:cxn>
                  <a:cxn ang="0">
                    <a:pos x="238" y="95"/>
                  </a:cxn>
                  <a:cxn ang="0">
                    <a:pos x="215" y="182"/>
                  </a:cxn>
                  <a:cxn ang="0">
                    <a:pos x="220" y="204"/>
                  </a:cxn>
                </a:cxnLst>
                <a:rect l="0" t="0" r="r" b="b"/>
                <a:pathLst>
                  <a:path w="786" h="457">
                    <a:moveTo>
                      <a:pt x="413" y="457"/>
                    </a:moveTo>
                    <a:cubicBezTo>
                      <a:pt x="337" y="457"/>
                      <a:pt x="261" y="457"/>
                      <a:pt x="185" y="457"/>
                    </a:cubicBezTo>
                    <a:cubicBezTo>
                      <a:pt x="118" y="456"/>
                      <a:pt x="67" y="426"/>
                      <a:pt x="35" y="367"/>
                    </a:cubicBezTo>
                    <a:cubicBezTo>
                      <a:pt x="0" y="304"/>
                      <a:pt x="13" y="222"/>
                      <a:pt x="63" y="172"/>
                    </a:cubicBezTo>
                    <a:cubicBezTo>
                      <a:pt x="97" y="138"/>
                      <a:pt x="137" y="121"/>
                      <a:pt x="185" y="121"/>
                    </a:cubicBezTo>
                    <a:cubicBezTo>
                      <a:pt x="188" y="121"/>
                      <a:pt x="189" y="120"/>
                      <a:pt x="191" y="117"/>
                    </a:cubicBezTo>
                    <a:cubicBezTo>
                      <a:pt x="214" y="57"/>
                      <a:pt x="258" y="21"/>
                      <a:pt x="321" y="10"/>
                    </a:cubicBezTo>
                    <a:cubicBezTo>
                      <a:pt x="389" y="0"/>
                      <a:pt x="457" y="35"/>
                      <a:pt x="489" y="95"/>
                    </a:cubicBezTo>
                    <a:cubicBezTo>
                      <a:pt x="491" y="98"/>
                      <a:pt x="493" y="99"/>
                      <a:pt x="496" y="99"/>
                    </a:cubicBezTo>
                    <a:cubicBezTo>
                      <a:pt x="555" y="98"/>
                      <a:pt x="603" y="121"/>
                      <a:pt x="638" y="168"/>
                    </a:cubicBezTo>
                    <a:cubicBezTo>
                      <a:pt x="640" y="171"/>
                      <a:pt x="642" y="172"/>
                      <a:pt x="646" y="172"/>
                    </a:cubicBezTo>
                    <a:cubicBezTo>
                      <a:pt x="711" y="172"/>
                      <a:pt x="767" y="220"/>
                      <a:pt x="778" y="284"/>
                    </a:cubicBezTo>
                    <a:cubicBezTo>
                      <a:pt x="786" y="332"/>
                      <a:pt x="776" y="376"/>
                      <a:pt x="744" y="413"/>
                    </a:cubicBezTo>
                    <a:cubicBezTo>
                      <a:pt x="721" y="439"/>
                      <a:pt x="691" y="453"/>
                      <a:pt x="656" y="456"/>
                    </a:cubicBezTo>
                    <a:cubicBezTo>
                      <a:pt x="651" y="457"/>
                      <a:pt x="645" y="457"/>
                      <a:pt x="640" y="457"/>
                    </a:cubicBezTo>
                    <a:cubicBezTo>
                      <a:pt x="564" y="457"/>
                      <a:pt x="489" y="457"/>
                      <a:pt x="413" y="457"/>
                    </a:cubicBezTo>
                    <a:close/>
                    <a:moveTo>
                      <a:pt x="220" y="204"/>
                    </a:moveTo>
                    <a:cubicBezTo>
                      <a:pt x="210" y="201"/>
                      <a:pt x="200" y="198"/>
                      <a:pt x="191" y="195"/>
                    </a:cubicBezTo>
                    <a:cubicBezTo>
                      <a:pt x="188" y="194"/>
                      <a:pt x="186" y="192"/>
                      <a:pt x="186" y="189"/>
                    </a:cubicBezTo>
                    <a:cubicBezTo>
                      <a:pt x="185" y="179"/>
                      <a:pt x="183" y="169"/>
                      <a:pt x="183" y="158"/>
                    </a:cubicBezTo>
                    <a:cubicBezTo>
                      <a:pt x="182" y="155"/>
                      <a:pt x="182" y="153"/>
                      <a:pt x="178" y="153"/>
                    </a:cubicBezTo>
                    <a:cubicBezTo>
                      <a:pt x="172" y="154"/>
                      <a:pt x="166" y="154"/>
                      <a:pt x="160" y="155"/>
                    </a:cubicBezTo>
                    <a:cubicBezTo>
                      <a:pt x="86" y="169"/>
                      <a:pt x="37" y="237"/>
                      <a:pt x="49" y="312"/>
                    </a:cubicBezTo>
                    <a:cubicBezTo>
                      <a:pt x="59" y="376"/>
                      <a:pt x="116" y="425"/>
                      <a:pt x="181" y="425"/>
                    </a:cubicBezTo>
                    <a:cubicBezTo>
                      <a:pt x="336" y="425"/>
                      <a:pt x="491" y="425"/>
                      <a:pt x="646" y="425"/>
                    </a:cubicBezTo>
                    <a:cubicBezTo>
                      <a:pt x="674" y="425"/>
                      <a:pt x="699" y="414"/>
                      <a:pt x="718" y="394"/>
                    </a:cubicBezTo>
                    <a:cubicBezTo>
                      <a:pt x="742" y="368"/>
                      <a:pt x="751" y="337"/>
                      <a:pt x="748" y="303"/>
                    </a:cubicBezTo>
                    <a:cubicBezTo>
                      <a:pt x="746" y="269"/>
                      <a:pt x="731" y="242"/>
                      <a:pt x="703" y="222"/>
                    </a:cubicBezTo>
                    <a:cubicBezTo>
                      <a:pt x="681" y="207"/>
                      <a:pt x="656" y="202"/>
                      <a:pt x="630" y="205"/>
                    </a:cubicBezTo>
                    <a:cubicBezTo>
                      <a:pt x="625" y="206"/>
                      <a:pt x="622" y="204"/>
                      <a:pt x="620" y="200"/>
                    </a:cubicBezTo>
                    <a:cubicBezTo>
                      <a:pt x="601" y="167"/>
                      <a:pt x="574" y="145"/>
                      <a:pt x="538" y="135"/>
                    </a:cubicBezTo>
                    <a:cubicBezTo>
                      <a:pt x="503" y="126"/>
                      <a:pt x="470" y="128"/>
                      <a:pt x="441" y="153"/>
                    </a:cubicBezTo>
                    <a:cubicBezTo>
                      <a:pt x="440" y="153"/>
                      <a:pt x="439" y="154"/>
                      <a:pt x="438" y="153"/>
                    </a:cubicBezTo>
                    <a:cubicBezTo>
                      <a:pt x="428" y="149"/>
                      <a:pt x="419" y="145"/>
                      <a:pt x="410" y="140"/>
                    </a:cubicBezTo>
                    <a:cubicBezTo>
                      <a:pt x="424" y="125"/>
                      <a:pt x="440" y="115"/>
                      <a:pt x="459" y="107"/>
                    </a:cubicBezTo>
                    <a:cubicBezTo>
                      <a:pt x="458" y="105"/>
                      <a:pt x="457" y="104"/>
                      <a:pt x="456" y="102"/>
                    </a:cubicBezTo>
                    <a:cubicBezTo>
                      <a:pt x="407" y="23"/>
                      <a:pt x="292" y="19"/>
                      <a:pt x="238" y="95"/>
                    </a:cubicBezTo>
                    <a:cubicBezTo>
                      <a:pt x="219" y="121"/>
                      <a:pt x="210" y="150"/>
                      <a:pt x="215" y="182"/>
                    </a:cubicBezTo>
                    <a:cubicBezTo>
                      <a:pt x="217" y="189"/>
                      <a:pt x="218" y="196"/>
                      <a:pt x="220" y="204"/>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58595B"/>
                  </a:solidFill>
                </a:endParaRPr>
              </a:p>
            </p:txBody>
          </p:sp>
          <p:sp>
            <p:nvSpPr>
              <p:cNvPr id="73" name="Freeform 139"/>
              <p:cNvSpPr>
                <a:spLocks/>
              </p:cNvSpPr>
              <p:nvPr/>
            </p:nvSpPr>
            <p:spPr bwMode="gray">
              <a:xfrm>
                <a:off x="3616" y="870"/>
                <a:ext cx="482" cy="275"/>
              </a:xfrm>
              <a:custGeom>
                <a:avLst/>
                <a:gdLst/>
                <a:ahLst/>
                <a:cxnLst>
                  <a:cxn ang="0">
                    <a:pos x="183" y="185"/>
                  </a:cxn>
                  <a:cxn ang="0">
                    <a:pos x="178" y="163"/>
                  </a:cxn>
                  <a:cxn ang="0">
                    <a:pos x="201" y="76"/>
                  </a:cxn>
                  <a:cxn ang="0">
                    <a:pos x="419" y="83"/>
                  </a:cxn>
                  <a:cxn ang="0">
                    <a:pos x="422" y="88"/>
                  </a:cxn>
                  <a:cxn ang="0">
                    <a:pos x="373" y="121"/>
                  </a:cxn>
                  <a:cxn ang="0">
                    <a:pos x="401" y="134"/>
                  </a:cxn>
                  <a:cxn ang="0">
                    <a:pos x="404" y="134"/>
                  </a:cxn>
                  <a:cxn ang="0">
                    <a:pos x="501" y="116"/>
                  </a:cxn>
                  <a:cxn ang="0">
                    <a:pos x="583" y="181"/>
                  </a:cxn>
                  <a:cxn ang="0">
                    <a:pos x="593" y="186"/>
                  </a:cxn>
                  <a:cxn ang="0">
                    <a:pos x="666" y="203"/>
                  </a:cxn>
                  <a:cxn ang="0">
                    <a:pos x="711" y="284"/>
                  </a:cxn>
                  <a:cxn ang="0">
                    <a:pos x="681" y="375"/>
                  </a:cxn>
                  <a:cxn ang="0">
                    <a:pos x="609" y="406"/>
                  </a:cxn>
                  <a:cxn ang="0">
                    <a:pos x="144" y="406"/>
                  </a:cxn>
                  <a:cxn ang="0">
                    <a:pos x="12" y="293"/>
                  </a:cxn>
                  <a:cxn ang="0">
                    <a:pos x="123" y="136"/>
                  </a:cxn>
                  <a:cxn ang="0">
                    <a:pos x="141" y="134"/>
                  </a:cxn>
                  <a:cxn ang="0">
                    <a:pos x="146" y="139"/>
                  </a:cxn>
                  <a:cxn ang="0">
                    <a:pos x="149" y="170"/>
                  </a:cxn>
                  <a:cxn ang="0">
                    <a:pos x="154" y="176"/>
                  </a:cxn>
                  <a:cxn ang="0">
                    <a:pos x="183" y="185"/>
                  </a:cxn>
                </a:cxnLst>
                <a:rect l="0" t="0" r="r" b="b"/>
                <a:pathLst>
                  <a:path w="714" h="406">
                    <a:moveTo>
                      <a:pt x="183" y="185"/>
                    </a:moveTo>
                    <a:cubicBezTo>
                      <a:pt x="181" y="177"/>
                      <a:pt x="180" y="170"/>
                      <a:pt x="178" y="163"/>
                    </a:cubicBezTo>
                    <a:cubicBezTo>
                      <a:pt x="173" y="131"/>
                      <a:pt x="182" y="102"/>
                      <a:pt x="201" y="76"/>
                    </a:cubicBezTo>
                    <a:cubicBezTo>
                      <a:pt x="255" y="0"/>
                      <a:pt x="370" y="4"/>
                      <a:pt x="419" y="83"/>
                    </a:cubicBezTo>
                    <a:cubicBezTo>
                      <a:pt x="420" y="85"/>
                      <a:pt x="421" y="86"/>
                      <a:pt x="422" y="88"/>
                    </a:cubicBezTo>
                    <a:cubicBezTo>
                      <a:pt x="403" y="96"/>
                      <a:pt x="387" y="106"/>
                      <a:pt x="373" y="121"/>
                    </a:cubicBezTo>
                    <a:cubicBezTo>
                      <a:pt x="382" y="126"/>
                      <a:pt x="391" y="130"/>
                      <a:pt x="401" y="134"/>
                    </a:cubicBezTo>
                    <a:cubicBezTo>
                      <a:pt x="402" y="135"/>
                      <a:pt x="403" y="134"/>
                      <a:pt x="404" y="134"/>
                    </a:cubicBezTo>
                    <a:cubicBezTo>
                      <a:pt x="433" y="109"/>
                      <a:pt x="466" y="107"/>
                      <a:pt x="501" y="116"/>
                    </a:cubicBezTo>
                    <a:cubicBezTo>
                      <a:pt x="537" y="126"/>
                      <a:pt x="564" y="148"/>
                      <a:pt x="583" y="181"/>
                    </a:cubicBezTo>
                    <a:cubicBezTo>
                      <a:pt x="585" y="185"/>
                      <a:pt x="588" y="187"/>
                      <a:pt x="593" y="186"/>
                    </a:cubicBezTo>
                    <a:cubicBezTo>
                      <a:pt x="619" y="183"/>
                      <a:pt x="644" y="188"/>
                      <a:pt x="666" y="203"/>
                    </a:cubicBezTo>
                    <a:cubicBezTo>
                      <a:pt x="694" y="223"/>
                      <a:pt x="709" y="250"/>
                      <a:pt x="711" y="284"/>
                    </a:cubicBezTo>
                    <a:cubicBezTo>
                      <a:pt x="714" y="318"/>
                      <a:pt x="705" y="349"/>
                      <a:pt x="681" y="375"/>
                    </a:cubicBezTo>
                    <a:cubicBezTo>
                      <a:pt x="662" y="395"/>
                      <a:pt x="637" y="406"/>
                      <a:pt x="609" y="406"/>
                    </a:cubicBezTo>
                    <a:cubicBezTo>
                      <a:pt x="454" y="406"/>
                      <a:pt x="299" y="406"/>
                      <a:pt x="144" y="406"/>
                    </a:cubicBezTo>
                    <a:cubicBezTo>
                      <a:pt x="79" y="406"/>
                      <a:pt x="22" y="357"/>
                      <a:pt x="12" y="293"/>
                    </a:cubicBezTo>
                    <a:cubicBezTo>
                      <a:pt x="0" y="218"/>
                      <a:pt x="49" y="150"/>
                      <a:pt x="123" y="136"/>
                    </a:cubicBezTo>
                    <a:cubicBezTo>
                      <a:pt x="129" y="135"/>
                      <a:pt x="135" y="135"/>
                      <a:pt x="141" y="134"/>
                    </a:cubicBezTo>
                    <a:cubicBezTo>
                      <a:pt x="145" y="134"/>
                      <a:pt x="145" y="136"/>
                      <a:pt x="146" y="139"/>
                    </a:cubicBezTo>
                    <a:cubicBezTo>
                      <a:pt x="146" y="150"/>
                      <a:pt x="148" y="160"/>
                      <a:pt x="149" y="170"/>
                    </a:cubicBezTo>
                    <a:cubicBezTo>
                      <a:pt x="149" y="173"/>
                      <a:pt x="151" y="175"/>
                      <a:pt x="154" y="176"/>
                    </a:cubicBezTo>
                    <a:cubicBezTo>
                      <a:pt x="163" y="179"/>
                      <a:pt x="173" y="182"/>
                      <a:pt x="183" y="185"/>
                    </a:cubicBezTo>
                    <a:close/>
                  </a:path>
                </a:pathLst>
              </a:custGeom>
              <a:solidFill>
                <a:srgbClr val="FFFFFF">
                  <a:alpha val="59000"/>
                </a:srgbClr>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sz="1800" dirty="0">
                  <a:solidFill>
                    <a:srgbClr val="58595B"/>
                  </a:solidFill>
                </a:endParaRPr>
              </a:p>
            </p:txBody>
          </p:sp>
        </p:grpSp>
        <p:sp>
          <p:nvSpPr>
            <p:cNvPr id="69" name="TextBox 68"/>
            <p:cNvSpPr txBox="1"/>
            <p:nvPr/>
          </p:nvSpPr>
          <p:spPr bwMode="auto">
            <a:xfrm>
              <a:off x="8323392" y="3587043"/>
              <a:ext cx="2642000" cy="661716"/>
            </a:xfrm>
            <a:prstGeom prst="rect">
              <a:avLst/>
            </a:prstGeom>
            <a:noFill/>
          </p:spPr>
          <p:txBody>
            <a:bodyPr wrap="square">
              <a:spAutoFit/>
            </a:bodyPr>
            <a:lstStyle/>
            <a:p>
              <a:pPr algn="ctr" defTabSz="914400">
                <a:lnSpc>
                  <a:spcPct val="90000"/>
                </a:lnSpc>
                <a:defRPr/>
              </a:pPr>
              <a:r>
                <a:rPr lang="en-US" sz="1800" b="1" dirty="0" smtClean="0">
                  <a:solidFill>
                    <a:srgbClr val="58595B">
                      <a:lumMod val="50000"/>
                    </a:srgbClr>
                  </a:solidFill>
                </a:rPr>
                <a:t>Oracle Cloud</a:t>
              </a:r>
              <a:endParaRPr lang="en-US" sz="1800" b="1" dirty="0">
                <a:solidFill>
                  <a:srgbClr val="58595B">
                    <a:lumMod val="50000"/>
                  </a:srgbClr>
                </a:solidFill>
              </a:endParaRPr>
            </a:p>
          </p:txBody>
        </p:sp>
      </p:grpSp>
      <p:pic>
        <p:nvPicPr>
          <p:cNvPr id="67" name="Picture 66"/>
          <p:cNvPicPr>
            <a:picLocks noChangeAspect="1"/>
          </p:cNvPicPr>
          <p:nvPr/>
        </p:nvPicPr>
        <p:blipFill rotWithShape="1">
          <a:blip r:embed="rId14" cstate="print">
            <a:extLst>
              <a:ext uri="{28A0092B-C50C-407E-A947-70E740481C1C}">
                <a14:useLocalDpi xmlns:a14="http://schemas.microsoft.com/office/drawing/2010/main" val="0"/>
              </a:ext>
            </a:extLst>
          </a:blip>
          <a:srcRect l="31663" r="34489"/>
          <a:stretch/>
        </p:blipFill>
        <p:spPr>
          <a:xfrm>
            <a:off x="531812" y="4114800"/>
            <a:ext cx="584973" cy="1812623"/>
          </a:xfrm>
          <a:prstGeom prst="rect">
            <a:avLst/>
          </a:prstGeom>
        </p:spPr>
      </p:pic>
      <p:sp>
        <p:nvSpPr>
          <p:cNvPr id="68" name="TextBox 67"/>
          <p:cNvSpPr txBox="1"/>
          <p:nvPr/>
        </p:nvSpPr>
        <p:spPr>
          <a:xfrm>
            <a:off x="1293812" y="1143000"/>
            <a:ext cx="4648200" cy="304800"/>
          </a:xfrm>
          <a:prstGeom prst="rect">
            <a:avLst/>
          </a:prstGeom>
          <a:solidFill>
            <a:srgbClr val="EEF2F2"/>
          </a:solidFill>
        </p:spPr>
        <p:txBody>
          <a:bodyPr wrap="none" lIns="0" tIns="45720" rIns="0" bIns="45720" rtlCol="0">
            <a:noAutofit/>
          </a:bodyPr>
          <a:lstStyle/>
          <a:p>
            <a:pPr algn="ctr" defTabSz="914400">
              <a:lnSpc>
                <a:spcPct val="90000"/>
              </a:lnSpc>
            </a:pPr>
            <a:r>
              <a:rPr lang="en-US" sz="1800" i="1" dirty="0" smtClean="0">
                <a:solidFill>
                  <a:srgbClr val="374A58"/>
                </a:solidFill>
                <a:effectLst>
                  <a:outerShdw blurRad="38100" dist="38100" dir="2700000" algn="tl">
                    <a:srgbClr val="000000">
                      <a:alpha val="43137"/>
                    </a:srgbClr>
                  </a:outerShdw>
                </a:effectLst>
              </a:rPr>
              <a:t>Information Producers</a:t>
            </a:r>
            <a:endParaRPr lang="en-US" sz="1800" i="1" dirty="0">
              <a:solidFill>
                <a:srgbClr val="374A58"/>
              </a:solidFill>
              <a:effectLst>
                <a:outerShdw blurRad="38100" dist="38100" dir="2700000" algn="tl">
                  <a:srgbClr val="000000">
                    <a:alpha val="43137"/>
                  </a:srgbClr>
                </a:outerShdw>
              </a:effectLst>
            </a:endParaRPr>
          </a:p>
        </p:txBody>
      </p:sp>
      <p:sp>
        <p:nvSpPr>
          <p:cNvPr id="70" name="TextBox 69"/>
          <p:cNvSpPr txBox="1"/>
          <p:nvPr/>
        </p:nvSpPr>
        <p:spPr>
          <a:xfrm>
            <a:off x="6018212" y="1143000"/>
            <a:ext cx="4953000" cy="304800"/>
          </a:xfrm>
          <a:prstGeom prst="rect">
            <a:avLst/>
          </a:prstGeom>
          <a:solidFill>
            <a:srgbClr val="EEF2F2"/>
          </a:solidFill>
        </p:spPr>
        <p:txBody>
          <a:bodyPr wrap="none" lIns="0" tIns="45720" rIns="0" bIns="45720" rtlCol="0">
            <a:noAutofit/>
          </a:bodyPr>
          <a:lstStyle/>
          <a:p>
            <a:pPr algn="ctr" defTabSz="914400">
              <a:lnSpc>
                <a:spcPct val="90000"/>
              </a:lnSpc>
            </a:pPr>
            <a:r>
              <a:rPr lang="en-US" sz="1800" i="1" dirty="0" smtClean="0">
                <a:solidFill>
                  <a:srgbClr val="374A58"/>
                </a:solidFill>
                <a:effectLst>
                  <a:outerShdw blurRad="38100" dist="38100" dir="2700000" algn="tl">
                    <a:srgbClr val="000000">
                      <a:alpha val="43137"/>
                    </a:srgbClr>
                  </a:outerShdw>
                </a:effectLst>
              </a:rPr>
              <a:t>Information Consumers</a:t>
            </a:r>
            <a:endParaRPr lang="en-US" sz="1800" i="1" dirty="0">
              <a:solidFill>
                <a:srgbClr val="374A58"/>
              </a:solidFill>
              <a:effectLst>
                <a:outerShdw blurRad="38100" dist="38100" dir="2700000" algn="tl">
                  <a:srgbClr val="000000">
                    <a:alpha val="43137"/>
                  </a:srgbClr>
                </a:outerShdw>
              </a:effectLst>
            </a:endParaRPr>
          </a:p>
        </p:txBody>
      </p:sp>
      <p:grpSp>
        <p:nvGrpSpPr>
          <p:cNvPr id="11" name="Group 34"/>
          <p:cNvGrpSpPr/>
          <p:nvPr/>
        </p:nvGrpSpPr>
        <p:grpSpPr>
          <a:xfrm>
            <a:off x="455612" y="4642761"/>
            <a:ext cx="1087957" cy="538839"/>
            <a:chOff x="3787892" y="2915246"/>
            <a:chExt cx="1087957" cy="538839"/>
          </a:xfrm>
        </p:grpSpPr>
        <p:grpSp>
          <p:nvGrpSpPr>
            <p:cNvPr id="12" name="Group 5"/>
            <p:cNvGrpSpPr/>
            <p:nvPr/>
          </p:nvGrpSpPr>
          <p:grpSpPr>
            <a:xfrm>
              <a:off x="4239729" y="2929483"/>
              <a:ext cx="636120" cy="399781"/>
              <a:chOff x="4855667" y="1591890"/>
              <a:chExt cx="477338" cy="299914"/>
            </a:xfrm>
          </p:grpSpPr>
          <p:sp>
            <p:nvSpPr>
              <p:cNvPr id="77" name="Rectangle 76"/>
              <p:cNvSpPr/>
              <p:nvPr/>
            </p:nvSpPr>
            <p:spPr>
              <a:xfrm>
                <a:off x="4855667" y="1591890"/>
                <a:ext cx="477338" cy="299914"/>
              </a:xfrm>
              <a:prstGeom prst="rect">
                <a:avLst/>
              </a:prstGeom>
              <a:no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1896">
                  <a:lnSpc>
                    <a:spcPct val="90000"/>
                  </a:lnSpc>
                </a:pPr>
                <a:endParaRPr lang="en-US" sz="1800" dirty="0">
                  <a:solidFill>
                    <a:srgbClr val="FFFFFF"/>
                  </a:solidFill>
                </a:endParaRPr>
              </a:p>
            </p:txBody>
          </p:sp>
          <p:sp>
            <p:nvSpPr>
              <p:cNvPr id="78" name="TextBox 1"/>
              <p:cNvSpPr txBox="1">
                <a:spLocks noChangeArrowheads="1"/>
              </p:cNvSpPr>
              <p:nvPr/>
            </p:nvSpPr>
            <p:spPr bwMode="auto">
              <a:xfrm>
                <a:off x="4911554" y="1631819"/>
                <a:ext cx="381171" cy="195715"/>
              </a:xfrm>
              <a:prstGeom prst="rect">
                <a:avLst/>
              </a:prstGeom>
              <a:noFill/>
              <a:ln>
                <a:noFill/>
              </a:ln>
            </p:spPr>
            <p:txBody>
              <a:bodyPr wrap="none" lIns="0" tIns="0" rIns="0" bIns="0"/>
              <a:lstStyle/>
              <a:p>
                <a:pPr defTabSz="911896">
                  <a:lnSpc>
                    <a:spcPct val="90000"/>
                  </a:lnSpc>
                </a:pPr>
                <a:r>
                  <a:rPr lang="en-US" altLang="en-US" sz="2100" dirty="0">
                    <a:solidFill>
                      <a:srgbClr val="FFFFFF"/>
                    </a:solidFill>
                  </a:rPr>
                  <a:t>HQL</a:t>
                </a:r>
              </a:p>
            </p:txBody>
          </p:sp>
        </p:grpSp>
        <p:pic>
          <p:nvPicPr>
            <p:cNvPr id="76" name="Picture 5" descr="Apache Hive"/>
            <p:cNvPicPr>
              <a:picLocks noChangeAspect="1" noChangeArrowheads="1"/>
            </p:cNvPicPr>
            <p:nvPr/>
          </p:nvPicPr>
          <p:blipFill>
            <a:blip r:embed="rId15" cstate="print">
              <a:clrChange>
                <a:clrFrom>
                  <a:srgbClr val="FFFEFC"/>
                </a:clrFrom>
                <a:clrTo>
                  <a:srgbClr val="FFFEFC">
                    <a:alpha val="0"/>
                  </a:srgbClr>
                </a:clrTo>
              </a:clrChange>
              <a:extLst>
                <a:ext uri="{28A0092B-C50C-407E-A947-70E740481C1C}">
                  <a14:useLocalDpi xmlns:a14="http://schemas.microsoft.com/office/drawing/2010/main"/>
                </a:ext>
              </a:extLst>
            </a:blip>
            <a:srcRect/>
            <a:stretch>
              <a:fillRect/>
            </a:stretch>
          </p:blipFill>
          <p:spPr bwMode="auto">
            <a:xfrm>
              <a:off x="3787892" y="2915246"/>
              <a:ext cx="584416" cy="538839"/>
            </a:xfrm>
            <a:prstGeom prst="rect">
              <a:avLst/>
            </a:prstGeom>
            <a:noFill/>
            <a:ln>
              <a:noFill/>
            </a:ln>
          </p:spPr>
        </p:pic>
      </p:grpSp>
      <p:grpSp>
        <p:nvGrpSpPr>
          <p:cNvPr id="14" name="Group 82"/>
          <p:cNvGrpSpPr/>
          <p:nvPr/>
        </p:nvGrpSpPr>
        <p:grpSpPr>
          <a:xfrm>
            <a:off x="9599612" y="5181600"/>
            <a:ext cx="2399686" cy="1199703"/>
            <a:chOff x="4532926" y="1537834"/>
            <a:chExt cx="2970640" cy="1566869"/>
          </a:xfrm>
        </p:grpSpPr>
        <p:sp>
          <p:nvSpPr>
            <p:cNvPr id="86" name="AutoShape 14"/>
            <p:cNvSpPr>
              <a:spLocks noChangeArrowheads="1"/>
            </p:cNvSpPr>
            <p:nvPr/>
          </p:nvSpPr>
          <p:spPr bwMode="auto">
            <a:xfrm>
              <a:off x="4532926" y="1562099"/>
              <a:ext cx="2970640" cy="1542604"/>
            </a:xfrm>
            <a:prstGeom prst="can">
              <a:avLst>
                <a:gd name="adj" fmla="val 25000"/>
              </a:avLst>
            </a:prstGeom>
            <a:solidFill>
              <a:schemeClr val="accent1"/>
            </a:solidFill>
            <a:ln w="9525" cap="rnd">
              <a:noFill/>
              <a:round/>
              <a:headEnd type="none" w="sm" len="sm"/>
              <a:tailEnd type="none" w="sm" len="sm"/>
            </a:ln>
            <a:effectLst/>
          </p:spPr>
          <p:txBody>
            <a:bodyPr wrap="none" lIns="217728" tIns="108864" rIns="217728" bIns="108864" anchor="ctr"/>
            <a:lstStyle/>
            <a:p>
              <a:pPr defTabSz="914400" eaLnBrk="0" fontAlgn="base" hangingPunct="0">
                <a:lnSpc>
                  <a:spcPct val="70000"/>
                </a:lnSpc>
                <a:spcBef>
                  <a:spcPct val="0"/>
                </a:spcBef>
                <a:spcAft>
                  <a:spcPct val="0"/>
                </a:spcAft>
                <a:defRPr/>
              </a:pPr>
              <a:endParaRPr lang="en-US" sz="4300" dirty="0">
                <a:solidFill>
                  <a:srgbClr val="000000"/>
                </a:solidFill>
                <a:ea typeface="ＭＳ Ｐゴシック" pitchFamily="34" charset="-128"/>
                <a:cs typeface="Arial" pitchFamily="34" charset="0"/>
              </a:endParaRPr>
            </a:p>
          </p:txBody>
        </p:sp>
        <p:sp>
          <p:nvSpPr>
            <p:cNvPr id="87" name="TextBox 86"/>
            <p:cNvSpPr txBox="1"/>
            <p:nvPr/>
          </p:nvSpPr>
          <p:spPr>
            <a:xfrm>
              <a:off x="4875212" y="1537834"/>
              <a:ext cx="2331875" cy="528322"/>
            </a:xfrm>
            <a:prstGeom prst="rect">
              <a:avLst/>
            </a:prstGeom>
            <a:noFill/>
          </p:spPr>
          <p:txBody>
            <a:bodyPr wrap="square" lIns="217728" tIns="108864" rIns="217728" bIns="108864" rtlCol="0">
              <a:spAutoFit/>
            </a:bodyPr>
            <a:lstStyle/>
            <a:p>
              <a:pPr defTabSz="914400" fontAlgn="base">
                <a:spcBef>
                  <a:spcPct val="0"/>
                </a:spcBef>
                <a:spcAft>
                  <a:spcPct val="0"/>
                </a:spcAft>
              </a:pPr>
              <a:r>
                <a:rPr lang="en-US" sz="1200" b="1" dirty="0" smtClean="0">
                  <a:solidFill>
                    <a:prstClr val="white"/>
                  </a:solidFill>
                  <a:cs typeface="Arial" pitchFamily="34" charset="0"/>
                </a:rPr>
                <a:t>Oracle Database 12c</a:t>
              </a:r>
              <a:endParaRPr lang="en-US" sz="1200" b="1" dirty="0">
                <a:solidFill>
                  <a:prstClr val="white"/>
                </a:solidFill>
                <a:cs typeface="Arial" pitchFamily="34" charset="0"/>
              </a:endParaRPr>
            </a:p>
          </p:txBody>
        </p:sp>
        <p:grpSp>
          <p:nvGrpSpPr>
            <p:cNvPr id="15" name="Group 95"/>
            <p:cNvGrpSpPr/>
            <p:nvPr/>
          </p:nvGrpSpPr>
          <p:grpSpPr>
            <a:xfrm>
              <a:off x="6704012" y="2111085"/>
              <a:ext cx="685800" cy="609600"/>
              <a:chOff x="7923212" y="381000"/>
              <a:chExt cx="1676400" cy="1371600"/>
            </a:xfrm>
          </p:grpSpPr>
          <p:sp>
            <p:nvSpPr>
              <p:cNvPr id="92" name="Rectangle 91"/>
              <p:cNvSpPr/>
              <p:nvPr/>
            </p:nvSpPr>
            <p:spPr>
              <a:xfrm>
                <a:off x="7923212" y="381000"/>
                <a:ext cx="1676400" cy="13716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lnSpc>
                    <a:spcPct val="90000"/>
                  </a:lnSpc>
                </a:pPr>
                <a:endParaRPr lang="en-US" sz="1800">
                  <a:solidFill>
                    <a:srgbClr val="FFFFFF"/>
                  </a:solidFill>
                </a:endParaRPr>
              </a:p>
            </p:txBody>
          </p:sp>
          <p:grpSp>
            <p:nvGrpSpPr>
              <p:cNvPr id="16" name="Group 4"/>
              <p:cNvGrpSpPr>
                <a:grpSpLocks/>
              </p:cNvGrpSpPr>
              <p:nvPr/>
            </p:nvGrpSpPr>
            <p:grpSpPr bwMode="auto">
              <a:xfrm flipH="1">
                <a:off x="7923212" y="685800"/>
                <a:ext cx="1676400" cy="827617"/>
                <a:chOff x="3744" y="365"/>
                <a:chExt cx="1089" cy="259"/>
              </a:xfrm>
            </p:grpSpPr>
            <p:grpSp>
              <p:nvGrpSpPr>
                <p:cNvPr id="19" name="Group 5"/>
                <p:cNvGrpSpPr>
                  <a:grpSpLocks/>
                </p:cNvGrpSpPr>
                <p:nvPr/>
              </p:nvGrpSpPr>
              <p:grpSpPr bwMode="auto">
                <a:xfrm>
                  <a:off x="3744" y="365"/>
                  <a:ext cx="801" cy="259"/>
                  <a:chOff x="1235" y="2687"/>
                  <a:chExt cx="1208" cy="469"/>
                </a:xfrm>
              </p:grpSpPr>
              <p:sp>
                <p:nvSpPr>
                  <p:cNvPr id="104" name="Rectangle 6"/>
                  <p:cNvSpPr>
                    <a:spLocks noChangeArrowheads="1"/>
                  </p:cNvSpPr>
                  <p:nvPr/>
                </p:nvSpPr>
                <p:spPr bwMode="auto">
                  <a:xfrm>
                    <a:off x="1488" y="3024"/>
                    <a:ext cx="96" cy="96"/>
                  </a:xfrm>
                  <a:prstGeom prst="rect">
                    <a:avLst/>
                  </a:prstGeom>
                  <a:solidFill>
                    <a:srgbClr val="3366FF"/>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5" name="Rectangle 7"/>
                  <p:cNvSpPr>
                    <a:spLocks noChangeArrowheads="1"/>
                  </p:cNvSpPr>
                  <p:nvPr/>
                </p:nvSpPr>
                <p:spPr bwMode="auto">
                  <a:xfrm>
                    <a:off x="1584" y="2976"/>
                    <a:ext cx="112" cy="144"/>
                  </a:xfrm>
                  <a:prstGeom prst="rect">
                    <a:avLst/>
                  </a:prstGeom>
                  <a:solidFill>
                    <a:srgbClr val="3366FF"/>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6" name="Rectangle 8"/>
                  <p:cNvSpPr>
                    <a:spLocks noChangeArrowheads="1"/>
                  </p:cNvSpPr>
                  <p:nvPr/>
                </p:nvSpPr>
                <p:spPr bwMode="auto">
                  <a:xfrm>
                    <a:off x="1696" y="2835"/>
                    <a:ext cx="105" cy="285"/>
                  </a:xfrm>
                  <a:prstGeom prst="rect">
                    <a:avLst/>
                  </a:prstGeom>
                  <a:solidFill>
                    <a:srgbClr val="3366FF"/>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7" name="Rectangle 9"/>
                  <p:cNvSpPr>
                    <a:spLocks noChangeArrowheads="1"/>
                  </p:cNvSpPr>
                  <p:nvPr/>
                </p:nvSpPr>
                <p:spPr bwMode="auto">
                  <a:xfrm>
                    <a:off x="1792" y="2721"/>
                    <a:ext cx="120" cy="399"/>
                  </a:xfrm>
                  <a:prstGeom prst="rect">
                    <a:avLst/>
                  </a:prstGeom>
                  <a:solidFill>
                    <a:srgbClr val="3366FF"/>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8" name="Rectangle 10"/>
                  <p:cNvSpPr>
                    <a:spLocks noChangeArrowheads="1"/>
                  </p:cNvSpPr>
                  <p:nvPr/>
                </p:nvSpPr>
                <p:spPr bwMode="auto">
                  <a:xfrm>
                    <a:off x="1904" y="2835"/>
                    <a:ext cx="105" cy="285"/>
                  </a:xfrm>
                  <a:prstGeom prst="rect">
                    <a:avLst/>
                  </a:prstGeom>
                  <a:solidFill>
                    <a:srgbClr val="3366FF"/>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9" name="Rectangle 11"/>
                  <p:cNvSpPr>
                    <a:spLocks noChangeArrowheads="1"/>
                  </p:cNvSpPr>
                  <p:nvPr/>
                </p:nvSpPr>
                <p:spPr bwMode="auto">
                  <a:xfrm>
                    <a:off x="2000" y="2976"/>
                    <a:ext cx="112" cy="144"/>
                  </a:xfrm>
                  <a:prstGeom prst="rect">
                    <a:avLst/>
                  </a:prstGeom>
                  <a:solidFill>
                    <a:srgbClr val="3366FF"/>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10" name="Rectangle 12"/>
                  <p:cNvSpPr>
                    <a:spLocks noChangeArrowheads="1"/>
                  </p:cNvSpPr>
                  <p:nvPr/>
                </p:nvSpPr>
                <p:spPr bwMode="auto">
                  <a:xfrm>
                    <a:off x="2112" y="3024"/>
                    <a:ext cx="96" cy="96"/>
                  </a:xfrm>
                  <a:prstGeom prst="rect">
                    <a:avLst/>
                  </a:prstGeom>
                  <a:solidFill>
                    <a:srgbClr val="3366FF"/>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11" name="Freeform 13"/>
                  <p:cNvSpPr>
                    <a:spLocks/>
                  </p:cNvSpPr>
                  <p:nvPr/>
                </p:nvSpPr>
                <p:spPr bwMode="auto">
                  <a:xfrm>
                    <a:off x="1235" y="2687"/>
                    <a:ext cx="1208" cy="469"/>
                  </a:xfrm>
                  <a:custGeom>
                    <a:avLst/>
                    <a:gdLst>
                      <a:gd name="T0" fmla="*/ 0 w 1364"/>
                      <a:gd name="T1" fmla="*/ 469 h 469"/>
                      <a:gd name="T2" fmla="*/ 353 w 1364"/>
                      <a:gd name="T3" fmla="*/ 362 h 469"/>
                      <a:gd name="T4" fmla="*/ 559 w 1364"/>
                      <a:gd name="T5" fmla="*/ 181 h 469"/>
                      <a:gd name="T6" fmla="*/ 632 w 1364"/>
                      <a:gd name="T7" fmla="*/ 41 h 469"/>
                      <a:gd name="T8" fmla="*/ 698 w 1364"/>
                      <a:gd name="T9" fmla="*/ 0 h 469"/>
                      <a:gd name="T10" fmla="*/ 764 w 1364"/>
                      <a:gd name="T11" fmla="*/ 41 h 469"/>
                      <a:gd name="T12" fmla="*/ 830 w 1364"/>
                      <a:gd name="T13" fmla="*/ 181 h 469"/>
                      <a:gd name="T14" fmla="*/ 1043 w 1364"/>
                      <a:gd name="T15" fmla="*/ 362 h 469"/>
                      <a:gd name="T16" fmla="*/ 1364 w 1364"/>
                      <a:gd name="T17" fmla="*/ 452 h 4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64"/>
                      <a:gd name="T28" fmla="*/ 0 h 469"/>
                      <a:gd name="T29" fmla="*/ 1364 w 1364"/>
                      <a:gd name="T30" fmla="*/ 469 h 4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64" h="469">
                        <a:moveTo>
                          <a:pt x="0" y="469"/>
                        </a:moveTo>
                        <a:cubicBezTo>
                          <a:pt x="130" y="439"/>
                          <a:pt x="260" y="410"/>
                          <a:pt x="353" y="362"/>
                        </a:cubicBezTo>
                        <a:cubicBezTo>
                          <a:pt x="446" y="314"/>
                          <a:pt x="513" y="234"/>
                          <a:pt x="559" y="181"/>
                        </a:cubicBezTo>
                        <a:cubicBezTo>
                          <a:pt x="605" y="128"/>
                          <a:pt x="609" y="71"/>
                          <a:pt x="632" y="41"/>
                        </a:cubicBezTo>
                        <a:cubicBezTo>
                          <a:pt x="655" y="11"/>
                          <a:pt x="676" y="0"/>
                          <a:pt x="698" y="0"/>
                        </a:cubicBezTo>
                        <a:cubicBezTo>
                          <a:pt x="720" y="0"/>
                          <a:pt x="742" y="11"/>
                          <a:pt x="764" y="41"/>
                        </a:cubicBezTo>
                        <a:cubicBezTo>
                          <a:pt x="786" y="71"/>
                          <a:pt x="784" y="128"/>
                          <a:pt x="830" y="181"/>
                        </a:cubicBezTo>
                        <a:cubicBezTo>
                          <a:pt x="876" y="234"/>
                          <a:pt x="954" y="317"/>
                          <a:pt x="1043" y="362"/>
                        </a:cubicBezTo>
                        <a:cubicBezTo>
                          <a:pt x="1132" y="407"/>
                          <a:pt x="1306" y="437"/>
                          <a:pt x="1364" y="452"/>
                        </a:cubicBezTo>
                      </a:path>
                    </a:pathLst>
                  </a:custGeom>
                  <a:noFill/>
                  <a:ln w="28575" cap="flat" cmpd="sng">
                    <a:solidFill>
                      <a:schemeClr val="tx1"/>
                    </a:solidFill>
                    <a:prstDash val="solid"/>
                    <a:round/>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grpSp>
            <p:grpSp>
              <p:nvGrpSpPr>
                <p:cNvPr id="22" name="Group 14"/>
                <p:cNvGrpSpPr>
                  <a:grpSpLocks/>
                </p:cNvGrpSpPr>
                <p:nvPr/>
              </p:nvGrpSpPr>
              <p:grpSpPr bwMode="auto">
                <a:xfrm>
                  <a:off x="4032" y="365"/>
                  <a:ext cx="801" cy="259"/>
                  <a:chOff x="4032" y="816"/>
                  <a:chExt cx="801" cy="259"/>
                </a:xfrm>
              </p:grpSpPr>
              <p:sp>
                <p:nvSpPr>
                  <p:cNvPr id="96" name="Rectangle 15"/>
                  <p:cNvSpPr>
                    <a:spLocks noChangeArrowheads="1"/>
                  </p:cNvSpPr>
                  <p:nvPr/>
                </p:nvSpPr>
                <p:spPr bwMode="auto">
                  <a:xfrm>
                    <a:off x="4200" y="1002"/>
                    <a:ext cx="63" cy="53"/>
                  </a:xfrm>
                  <a:prstGeom prst="rect">
                    <a:avLst/>
                  </a:prstGeom>
                  <a:solidFill>
                    <a:srgbClr val="66FF66"/>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97" name="Rectangle 16"/>
                  <p:cNvSpPr>
                    <a:spLocks noChangeArrowheads="1"/>
                  </p:cNvSpPr>
                  <p:nvPr/>
                </p:nvSpPr>
                <p:spPr bwMode="auto">
                  <a:xfrm>
                    <a:off x="4263" y="976"/>
                    <a:ext cx="75" cy="79"/>
                  </a:xfrm>
                  <a:prstGeom prst="rect">
                    <a:avLst/>
                  </a:prstGeom>
                  <a:solidFill>
                    <a:srgbClr val="66FF66"/>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98" name="Rectangle 17"/>
                  <p:cNvSpPr>
                    <a:spLocks noChangeArrowheads="1"/>
                  </p:cNvSpPr>
                  <p:nvPr/>
                </p:nvSpPr>
                <p:spPr bwMode="auto">
                  <a:xfrm>
                    <a:off x="4338" y="898"/>
                    <a:ext cx="69" cy="157"/>
                  </a:xfrm>
                  <a:prstGeom prst="rect">
                    <a:avLst/>
                  </a:prstGeom>
                  <a:solidFill>
                    <a:srgbClr val="66FF66"/>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99" name="Rectangle 18"/>
                  <p:cNvSpPr>
                    <a:spLocks noChangeArrowheads="1"/>
                  </p:cNvSpPr>
                  <p:nvPr/>
                </p:nvSpPr>
                <p:spPr bwMode="auto">
                  <a:xfrm>
                    <a:off x="4401" y="835"/>
                    <a:ext cx="80" cy="220"/>
                  </a:xfrm>
                  <a:prstGeom prst="rect">
                    <a:avLst/>
                  </a:prstGeom>
                  <a:solidFill>
                    <a:srgbClr val="66FF66"/>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0" name="Rectangle 19"/>
                  <p:cNvSpPr>
                    <a:spLocks noChangeArrowheads="1"/>
                  </p:cNvSpPr>
                  <p:nvPr/>
                </p:nvSpPr>
                <p:spPr bwMode="auto">
                  <a:xfrm>
                    <a:off x="4476" y="898"/>
                    <a:ext cx="69" cy="157"/>
                  </a:xfrm>
                  <a:prstGeom prst="rect">
                    <a:avLst/>
                  </a:prstGeom>
                  <a:solidFill>
                    <a:srgbClr val="66FF66"/>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1" name="Rectangle 20"/>
                  <p:cNvSpPr>
                    <a:spLocks noChangeArrowheads="1"/>
                  </p:cNvSpPr>
                  <p:nvPr/>
                </p:nvSpPr>
                <p:spPr bwMode="auto">
                  <a:xfrm>
                    <a:off x="4539" y="976"/>
                    <a:ext cx="75" cy="79"/>
                  </a:xfrm>
                  <a:prstGeom prst="rect">
                    <a:avLst/>
                  </a:prstGeom>
                  <a:solidFill>
                    <a:srgbClr val="66FF66"/>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2" name="Rectangle 21"/>
                  <p:cNvSpPr>
                    <a:spLocks noChangeArrowheads="1"/>
                  </p:cNvSpPr>
                  <p:nvPr/>
                </p:nvSpPr>
                <p:spPr bwMode="auto">
                  <a:xfrm>
                    <a:off x="4614" y="1002"/>
                    <a:ext cx="63" cy="53"/>
                  </a:xfrm>
                  <a:prstGeom prst="rect">
                    <a:avLst/>
                  </a:prstGeom>
                  <a:solidFill>
                    <a:srgbClr val="66FF66"/>
                  </a:solidFill>
                  <a:ln w="12700">
                    <a:solidFill>
                      <a:schemeClr val="tx1"/>
                    </a:solidFill>
                    <a:miter lim="800000"/>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sp>
                <p:nvSpPr>
                  <p:cNvPr id="103" name="Freeform 22"/>
                  <p:cNvSpPr>
                    <a:spLocks/>
                  </p:cNvSpPr>
                  <p:nvPr/>
                </p:nvSpPr>
                <p:spPr bwMode="auto">
                  <a:xfrm>
                    <a:off x="4032" y="816"/>
                    <a:ext cx="801" cy="259"/>
                  </a:xfrm>
                  <a:custGeom>
                    <a:avLst/>
                    <a:gdLst>
                      <a:gd name="T0" fmla="*/ 0 w 1364"/>
                      <a:gd name="T1" fmla="*/ 469 h 469"/>
                      <a:gd name="T2" fmla="*/ 353 w 1364"/>
                      <a:gd name="T3" fmla="*/ 362 h 469"/>
                      <a:gd name="T4" fmla="*/ 559 w 1364"/>
                      <a:gd name="T5" fmla="*/ 181 h 469"/>
                      <a:gd name="T6" fmla="*/ 632 w 1364"/>
                      <a:gd name="T7" fmla="*/ 41 h 469"/>
                      <a:gd name="T8" fmla="*/ 698 w 1364"/>
                      <a:gd name="T9" fmla="*/ 0 h 469"/>
                      <a:gd name="T10" fmla="*/ 764 w 1364"/>
                      <a:gd name="T11" fmla="*/ 41 h 469"/>
                      <a:gd name="T12" fmla="*/ 830 w 1364"/>
                      <a:gd name="T13" fmla="*/ 181 h 469"/>
                      <a:gd name="T14" fmla="*/ 1043 w 1364"/>
                      <a:gd name="T15" fmla="*/ 362 h 469"/>
                      <a:gd name="T16" fmla="*/ 1364 w 1364"/>
                      <a:gd name="T17" fmla="*/ 452 h 4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64"/>
                      <a:gd name="T28" fmla="*/ 0 h 469"/>
                      <a:gd name="T29" fmla="*/ 1364 w 1364"/>
                      <a:gd name="T30" fmla="*/ 469 h 4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64" h="469">
                        <a:moveTo>
                          <a:pt x="0" y="469"/>
                        </a:moveTo>
                        <a:cubicBezTo>
                          <a:pt x="130" y="439"/>
                          <a:pt x="260" y="410"/>
                          <a:pt x="353" y="362"/>
                        </a:cubicBezTo>
                        <a:cubicBezTo>
                          <a:pt x="446" y="314"/>
                          <a:pt x="513" y="234"/>
                          <a:pt x="559" y="181"/>
                        </a:cubicBezTo>
                        <a:cubicBezTo>
                          <a:pt x="605" y="128"/>
                          <a:pt x="609" y="71"/>
                          <a:pt x="632" y="41"/>
                        </a:cubicBezTo>
                        <a:cubicBezTo>
                          <a:pt x="655" y="11"/>
                          <a:pt x="676" y="0"/>
                          <a:pt x="698" y="0"/>
                        </a:cubicBezTo>
                        <a:cubicBezTo>
                          <a:pt x="720" y="0"/>
                          <a:pt x="742" y="11"/>
                          <a:pt x="764" y="41"/>
                        </a:cubicBezTo>
                        <a:cubicBezTo>
                          <a:pt x="786" y="71"/>
                          <a:pt x="784" y="128"/>
                          <a:pt x="830" y="181"/>
                        </a:cubicBezTo>
                        <a:cubicBezTo>
                          <a:pt x="876" y="234"/>
                          <a:pt x="954" y="317"/>
                          <a:pt x="1043" y="362"/>
                        </a:cubicBezTo>
                        <a:cubicBezTo>
                          <a:pt x="1132" y="407"/>
                          <a:pt x="1306" y="437"/>
                          <a:pt x="1364" y="452"/>
                        </a:cubicBezTo>
                      </a:path>
                    </a:pathLst>
                  </a:custGeom>
                  <a:noFill/>
                  <a:ln w="28575" cap="flat" cmpd="sng">
                    <a:solidFill>
                      <a:schemeClr val="tx1"/>
                    </a:solidFill>
                    <a:prstDash val="solid"/>
                    <a:round/>
                    <a:headEnd type="none" w="sm" len="sm"/>
                    <a:tailEnd type="none" w="sm" len="sm"/>
                  </a:ln>
                </p:spPr>
                <p:txBody>
                  <a:bodyPr wrap="none" anchor="ctr"/>
                  <a:lstStyle/>
                  <a:p>
                    <a:pPr defTabSz="914400" fontAlgn="base">
                      <a:spcBef>
                        <a:spcPct val="0"/>
                      </a:spcBef>
                      <a:spcAft>
                        <a:spcPct val="0"/>
                      </a:spcAft>
                    </a:pPr>
                    <a:endParaRPr lang="en-US" sz="1800">
                      <a:solidFill>
                        <a:srgbClr val="000000"/>
                      </a:solidFill>
                      <a:cs typeface="Arial" pitchFamily="34" charset="0"/>
                    </a:endParaRPr>
                  </a:p>
                </p:txBody>
              </p:sp>
            </p:grpSp>
          </p:grpSp>
        </p:grpSp>
        <p:pic>
          <p:nvPicPr>
            <p:cNvPr id="89" name="48A3F5A6-995C-459E-801B-04ED0F67E9FA" descr="E68B87C3-4119-4E3E-ADD4-C40DF263F308@us"/>
            <p:cNvPicPr>
              <a:picLocks noChangeAspect="1" noChangeArrowheads="1"/>
            </p:cNvPicPr>
            <p:nvPr/>
          </p:nvPicPr>
          <p:blipFill>
            <a:blip r:embed="rId13" cstate="print"/>
            <a:srcRect/>
            <a:stretch>
              <a:fillRect/>
            </a:stretch>
          </p:blipFill>
          <p:spPr bwMode="auto">
            <a:xfrm>
              <a:off x="4646612" y="2111085"/>
              <a:ext cx="609600" cy="609600"/>
            </a:xfrm>
            <a:prstGeom prst="rect">
              <a:avLst/>
            </a:prstGeom>
            <a:solidFill>
              <a:schemeClr val="bg1"/>
            </a:solidFill>
            <a:ln w="9525">
              <a:noFill/>
              <a:miter lim="800000"/>
              <a:headEnd/>
              <a:tailEnd/>
            </a:ln>
          </p:spPr>
        </p:pic>
        <p:pic>
          <p:nvPicPr>
            <p:cNvPr id="90" name="Picture 3"/>
            <p:cNvPicPr>
              <a:picLocks noChangeAspect="1" noChangeArrowheads="1"/>
            </p:cNvPicPr>
            <p:nvPr/>
          </p:nvPicPr>
          <p:blipFill>
            <a:blip r:embed="rId16" cstate="print"/>
            <a:srcRect/>
            <a:stretch>
              <a:fillRect/>
            </a:stretch>
          </p:blipFill>
          <p:spPr bwMode="auto">
            <a:xfrm>
              <a:off x="5332412" y="2106905"/>
              <a:ext cx="622715" cy="617961"/>
            </a:xfrm>
            <a:prstGeom prst="rect">
              <a:avLst/>
            </a:prstGeom>
            <a:noFill/>
            <a:ln w="9525">
              <a:noFill/>
              <a:miter lim="800000"/>
              <a:headEnd/>
              <a:tailEnd/>
            </a:ln>
          </p:spPr>
        </p:pic>
        <p:pic>
          <p:nvPicPr>
            <p:cNvPr id="91" name="Picture 3"/>
            <p:cNvPicPr>
              <a:picLocks noChangeAspect="1" noChangeArrowheads="1"/>
            </p:cNvPicPr>
            <p:nvPr/>
          </p:nvPicPr>
          <p:blipFill>
            <a:blip r:embed="rId17" cstate="print"/>
            <a:srcRect/>
            <a:stretch>
              <a:fillRect/>
            </a:stretch>
          </p:blipFill>
          <p:spPr bwMode="auto">
            <a:xfrm>
              <a:off x="6018212" y="2114549"/>
              <a:ext cx="609600" cy="602672"/>
            </a:xfrm>
            <a:prstGeom prst="rect">
              <a:avLst/>
            </a:prstGeom>
            <a:noFill/>
            <a:ln w="9525">
              <a:noFill/>
              <a:miter lim="800000"/>
              <a:headEnd/>
              <a:tailEnd/>
            </a:ln>
          </p:spPr>
        </p:pic>
      </p:grpSp>
      <p:grpSp>
        <p:nvGrpSpPr>
          <p:cNvPr id="36" name="Group 7"/>
          <p:cNvGrpSpPr/>
          <p:nvPr/>
        </p:nvGrpSpPr>
        <p:grpSpPr>
          <a:xfrm>
            <a:off x="379412" y="5181600"/>
            <a:ext cx="845812" cy="707988"/>
            <a:chOff x="3695701" y="3561754"/>
            <a:chExt cx="634689" cy="531129"/>
          </a:xfrm>
        </p:grpSpPr>
        <p:sp>
          <p:nvSpPr>
            <p:cNvPr id="114" name="Rectangle 113"/>
            <p:cNvSpPr/>
            <p:nvPr/>
          </p:nvSpPr>
          <p:spPr>
            <a:xfrm>
              <a:off x="3695701" y="3562350"/>
              <a:ext cx="634689" cy="530533"/>
            </a:xfrm>
            <a:prstGeom prst="rect">
              <a:avLst/>
            </a:prstGeom>
            <a:solidFill>
              <a:schemeClr val="bg1">
                <a:lumMod val="95000"/>
              </a:schemeClr>
            </a:solidFill>
            <a:ln w="19050">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1896">
                <a:lnSpc>
                  <a:spcPct val="90000"/>
                </a:lnSpc>
              </a:pPr>
              <a:endParaRPr lang="en-US" sz="1800" dirty="0">
                <a:solidFill>
                  <a:srgbClr val="FFFFFF"/>
                </a:solidFill>
              </a:endParaRPr>
            </a:p>
          </p:txBody>
        </p:sp>
        <p:pic>
          <p:nvPicPr>
            <p:cNvPr id="115" name="Picture 2" descr="http://www.oracle.com/ocom/groups/public/@otn/documents/digitalasset/2503871.png"/>
            <p:cNvPicPr>
              <a:picLocks noChangeAspect="1" noChangeArrowheads="1"/>
            </p:cNvPicPr>
            <p:nvPr/>
          </p:nvPicPr>
          <p:blipFill rotWithShape="1">
            <a:blip r:embed="rId18" cstate="print">
              <a:extLst>
                <a:ext uri="{28A0092B-C50C-407E-A947-70E740481C1C}">
                  <a14:useLocalDpi xmlns:a14="http://schemas.microsoft.com/office/drawing/2010/main"/>
                </a:ext>
              </a:extLst>
            </a:blip>
            <a:srcRect/>
            <a:stretch/>
          </p:blipFill>
          <p:spPr bwMode="auto">
            <a:xfrm>
              <a:off x="3699675" y="3561754"/>
              <a:ext cx="613354" cy="518779"/>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116" name="Picture 3"/>
          <p:cNvPicPr>
            <a:picLocks noChangeAspect="1" noChangeArrowheads="1"/>
          </p:cNvPicPr>
          <p:nvPr/>
        </p:nvPicPr>
        <p:blipFill>
          <a:blip r:embed="rId17" cstate="print"/>
          <a:srcRect/>
          <a:stretch>
            <a:fillRect/>
          </a:stretch>
        </p:blipFill>
        <p:spPr bwMode="auto">
          <a:xfrm>
            <a:off x="666976" y="5638800"/>
            <a:ext cx="228600" cy="226002"/>
          </a:xfrm>
          <a:prstGeom prst="rect">
            <a:avLst/>
          </a:prstGeom>
          <a:noFill/>
          <a:ln w="9525">
            <a:noFill/>
            <a:miter lim="800000"/>
            <a:headEnd/>
            <a:tailEnd/>
          </a:ln>
        </p:spPr>
      </p:pic>
      <p:grpSp>
        <p:nvGrpSpPr>
          <p:cNvPr id="37" name="Group 78"/>
          <p:cNvGrpSpPr/>
          <p:nvPr/>
        </p:nvGrpSpPr>
        <p:grpSpPr>
          <a:xfrm>
            <a:off x="5789612" y="5867400"/>
            <a:ext cx="2937522" cy="619217"/>
            <a:chOff x="6204890" y="542833"/>
            <a:chExt cx="5537201" cy="1371784"/>
          </a:xfrm>
        </p:grpSpPr>
        <p:pic>
          <p:nvPicPr>
            <p:cNvPr id="80" name="Picture 79"/>
            <p:cNvPicPr>
              <a:picLocks noChangeAspect="1"/>
            </p:cNvPicPr>
            <p:nvPr/>
          </p:nvPicPr>
          <p:blipFill>
            <a:blip r:embed="rId19" cstate="print"/>
            <a:stretch>
              <a:fillRect/>
            </a:stretch>
          </p:blipFill>
          <p:spPr>
            <a:xfrm>
              <a:off x="6204890" y="542833"/>
              <a:ext cx="5537201" cy="1371784"/>
            </a:xfrm>
            <a:prstGeom prst="rect">
              <a:avLst/>
            </a:prstGeom>
          </p:spPr>
        </p:pic>
        <p:grpSp>
          <p:nvGrpSpPr>
            <p:cNvPr id="38" name="Group 49"/>
            <p:cNvGrpSpPr/>
            <p:nvPr/>
          </p:nvGrpSpPr>
          <p:grpSpPr>
            <a:xfrm>
              <a:off x="6401188" y="633734"/>
              <a:ext cx="1170087" cy="1195683"/>
              <a:chOff x="651797" y="2096419"/>
              <a:chExt cx="1170087" cy="1195683"/>
            </a:xfrm>
          </p:grpSpPr>
          <p:pic>
            <p:nvPicPr>
              <p:cNvPr id="85" name="Picture 84"/>
              <p:cNvPicPr>
                <a:picLocks noChangeAspect="1"/>
              </p:cNvPicPr>
              <p:nvPr/>
            </p:nvPicPr>
            <p:blipFill>
              <a:blip r:embed="rId20" cstate="print"/>
              <a:stretch>
                <a:fillRect/>
              </a:stretch>
            </p:blipFill>
            <p:spPr>
              <a:xfrm>
                <a:off x="651797" y="2096419"/>
                <a:ext cx="1170087" cy="1189981"/>
              </a:xfrm>
              <a:prstGeom prst="rect">
                <a:avLst/>
              </a:prstGeom>
            </p:spPr>
          </p:pic>
          <p:pic>
            <p:nvPicPr>
              <p:cNvPr id="112" name="Picture 111"/>
              <p:cNvPicPr>
                <a:picLocks noChangeAspect="1"/>
              </p:cNvPicPr>
              <p:nvPr/>
            </p:nvPicPr>
            <p:blipFill rotWithShape="1">
              <a:blip r:embed="rId19" cstate="print"/>
              <a:srcRect t="50000" r="91146"/>
              <a:stretch/>
            </p:blipFill>
            <p:spPr>
              <a:xfrm>
                <a:off x="1006626" y="2606210"/>
                <a:ext cx="460429" cy="685892"/>
              </a:xfrm>
              <a:prstGeom prst="rect">
                <a:avLst/>
              </a:prstGeom>
            </p:spPr>
          </p:pic>
        </p:grpSp>
        <p:sp>
          <p:nvSpPr>
            <p:cNvPr id="82" name="TextBox 81"/>
            <p:cNvSpPr txBox="1"/>
            <p:nvPr/>
          </p:nvSpPr>
          <p:spPr>
            <a:xfrm>
              <a:off x="7667188" y="814657"/>
              <a:ext cx="4059010" cy="818201"/>
            </a:xfrm>
            <a:prstGeom prst="rect">
              <a:avLst/>
            </a:prstGeom>
            <a:noFill/>
          </p:spPr>
          <p:txBody>
            <a:bodyPr wrap="square" rtlCol="0">
              <a:spAutoFit/>
            </a:bodyPr>
            <a:lstStyle/>
            <a:p>
              <a:pPr defTabSz="914400"/>
              <a:r>
                <a:rPr lang="en-US" sz="1800" b="1" dirty="0" smtClean="0">
                  <a:solidFill>
                    <a:srgbClr val="FFFFFF"/>
                  </a:solidFill>
                  <a:ea typeface="Calibri" charset="0"/>
                  <a:cs typeface="Calibri" charset="0"/>
                </a:rPr>
                <a:t>Advanced Analytics</a:t>
              </a:r>
              <a:endParaRPr lang="en-US" sz="1800" b="1" dirty="0">
                <a:solidFill>
                  <a:srgbClr val="FFFFFF"/>
                </a:solidFill>
                <a:ea typeface="Calibri" charset="0"/>
                <a:cs typeface="Calibri" charset="0"/>
              </a:endParaRPr>
            </a:p>
          </p:txBody>
        </p:sp>
        <p:pic>
          <p:nvPicPr>
            <p:cNvPr id="84" name="48A3F5A6-995C-459E-801B-04ED0F67E9FA" descr="E68B87C3-4119-4E3E-ADD4-C40DF263F308@us"/>
            <p:cNvPicPr>
              <a:picLocks noChangeAspect="1" noChangeArrowheads="1"/>
            </p:cNvPicPr>
            <p:nvPr/>
          </p:nvPicPr>
          <p:blipFill>
            <a:blip r:embed="rId13" cstate="print"/>
            <a:srcRect/>
            <a:stretch>
              <a:fillRect/>
            </a:stretch>
          </p:blipFill>
          <p:spPr bwMode="auto">
            <a:xfrm>
              <a:off x="6597918" y="953191"/>
              <a:ext cx="815258" cy="815258"/>
            </a:xfrm>
            <a:prstGeom prst="rect">
              <a:avLst/>
            </a:prstGeom>
            <a:noFill/>
            <a:ln w="9525">
              <a:noFill/>
              <a:miter lim="800000"/>
              <a:headEnd/>
              <a:tailEnd/>
            </a:ln>
          </p:spPr>
        </p:pic>
      </p:grpSp>
    </p:spTree>
    <p:extLst>
      <p:ext uri="{BB962C8B-B14F-4D97-AF65-F5344CB8AC3E}">
        <p14:creationId xmlns:p14="http://schemas.microsoft.com/office/powerpoint/2010/main" val="1903885637"/>
      </p:ext>
    </p:extLst>
  </p:cSld>
  <p:clrMapOvr>
    <a:masterClrMapping/>
  </p:clrMapOvr>
  <p:transition spd="med" advClick="0"/>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15735" y="381000"/>
            <a:ext cx="10969943" cy="762000"/>
          </a:xfrm>
        </p:spPr>
        <p:txBody>
          <a:bodyPr anchor="t" anchorCtr="0"/>
          <a:lstStyle/>
          <a:p>
            <a:r>
              <a:rPr lang="en-US" dirty="0" smtClean="0"/>
              <a:t>You Can Think of Oracle’s Advanced Analytics Like This…</a:t>
            </a:r>
            <a:endParaRPr lang="en-US" dirty="0"/>
          </a:p>
        </p:txBody>
      </p:sp>
      <p:sp>
        <p:nvSpPr>
          <p:cNvPr id="4" name="Text Placeholder 3"/>
          <p:cNvSpPr>
            <a:spLocks noGrp="1"/>
          </p:cNvSpPr>
          <p:nvPr>
            <p:ph type="body" idx="1"/>
          </p:nvPr>
        </p:nvSpPr>
        <p:spPr>
          <a:xfrm>
            <a:off x="1015736" y="838201"/>
            <a:ext cx="5385514" cy="639763"/>
          </a:xfrm>
        </p:spPr>
        <p:txBody>
          <a:bodyPr/>
          <a:lstStyle/>
          <a:p>
            <a:r>
              <a:rPr lang="en-US" dirty="0" smtClean="0"/>
              <a:t>Traditional </a:t>
            </a:r>
            <a:r>
              <a:rPr lang="en-US" dirty="0" smtClean="0">
                <a:solidFill>
                  <a:schemeClr val="tx2"/>
                </a:solidFill>
              </a:rPr>
              <a:t>SQL</a:t>
            </a:r>
          </a:p>
        </p:txBody>
      </p:sp>
      <p:sp>
        <p:nvSpPr>
          <p:cNvPr id="2" name="Content Placeholder 1"/>
          <p:cNvSpPr>
            <a:spLocks noGrp="1"/>
          </p:cNvSpPr>
          <p:nvPr>
            <p:ph sz="half" idx="2"/>
          </p:nvPr>
        </p:nvSpPr>
        <p:spPr>
          <a:xfrm>
            <a:off x="1015735" y="1489075"/>
            <a:ext cx="4266089" cy="3951288"/>
          </a:xfrm>
        </p:spPr>
        <p:txBody>
          <a:bodyPr/>
          <a:lstStyle/>
          <a:p>
            <a:pPr marL="380885" lvl="1" indent="-228532"/>
            <a:r>
              <a:rPr lang="en-US" sz="2000" dirty="0" smtClean="0"/>
              <a:t>“Human-driven” queries</a:t>
            </a:r>
          </a:p>
          <a:p>
            <a:pPr marL="380885" lvl="1" indent="-228532"/>
            <a:r>
              <a:rPr lang="en-US" sz="2000" dirty="0" smtClean="0"/>
              <a:t>Domain expertise</a:t>
            </a:r>
          </a:p>
          <a:p>
            <a:pPr marL="380885" lvl="1" indent="-228532"/>
            <a:r>
              <a:rPr lang="en-US" sz="2000" dirty="0" smtClean="0"/>
              <a:t>Any “</a:t>
            </a:r>
            <a:r>
              <a:rPr lang="en-US" sz="2000" i="1" dirty="0" smtClean="0"/>
              <a:t>rules</a:t>
            </a:r>
            <a:r>
              <a:rPr lang="en-US" sz="2000" dirty="0" smtClean="0"/>
              <a:t>” must be defined and managed</a:t>
            </a:r>
            <a:br>
              <a:rPr lang="en-US" sz="2000" dirty="0" smtClean="0"/>
            </a:br>
            <a:endParaRPr lang="en-US" sz="1400" dirty="0" smtClean="0"/>
          </a:p>
          <a:p>
            <a:pPr>
              <a:buNone/>
            </a:pPr>
            <a:r>
              <a:rPr lang="en-US" sz="2400" b="1" dirty="0" smtClean="0">
                <a:solidFill>
                  <a:srgbClr val="FF0000"/>
                </a:solidFill>
              </a:rPr>
              <a:t>SQL</a:t>
            </a:r>
            <a:r>
              <a:rPr lang="en-US" sz="2400" dirty="0" smtClean="0"/>
              <a:t> </a:t>
            </a:r>
            <a:r>
              <a:rPr lang="en-US" sz="2400" b="1" dirty="0" smtClean="0">
                <a:solidFill>
                  <a:srgbClr val="FF0000"/>
                </a:solidFill>
              </a:rPr>
              <a:t>Queries</a:t>
            </a:r>
          </a:p>
          <a:p>
            <a:pPr lvl="1"/>
            <a:r>
              <a:rPr lang="en-US" sz="1800" b="1" dirty="0" smtClean="0">
                <a:latin typeface="Courier New" pitchFamily="49" charset="0"/>
                <a:cs typeface="Courier New" pitchFamily="49" charset="0"/>
              </a:rPr>
              <a:t>SELECT</a:t>
            </a:r>
          </a:p>
          <a:p>
            <a:pPr lvl="1"/>
            <a:r>
              <a:rPr lang="en-US" sz="1800" b="1" dirty="0" smtClean="0">
                <a:latin typeface="Courier New" pitchFamily="49" charset="0"/>
                <a:cs typeface="Courier New" pitchFamily="49" charset="0"/>
              </a:rPr>
              <a:t>DISTINCT</a:t>
            </a:r>
          </a:p>
          <a:p>
            <a:pPr lvl="1"/>
            <a:r>
              <a:rPr lang="en-US" sz="1800" b="1" dirty="0" smtClean="0">
                <a:latin typeface="Courier New" pitchFamily="49" charset="0"/>
                <a:cs typeface="Courier New" pitchFamily="49" charset="0"/>
              </a:rPr>
              <a:t>AGGREGATE</a:t>
            </a:r>
          </a:p>
          <a:p>
            <a:pPr lvl="1"/>
            <a:r>
              <a:rPr lang="en-US" sz="1800" b="1" dirty="0" smtClean="0">
                <a:latin typeface="Courier New" pitchFamily="49" charset="0"/>
                <a:cs typeface="Courier New" pitchFamily="49" charset="0"/>
              </a:rPr>
              <a:t>WHERE</a:t>
            </a:r>
          </a:p>
          <a:p>
            <a:pPr lvl="1"/>
            <a:r>
              <a:rPr lang="en-US" sz="1800" b="1" dirty="0" smtClean="0">
                <a:latin typeface="Courier New" pitchFamily="49" charset="0"/>
                <a:cs typeface="Courier New" pitchFamily="49" charset="0"/>
              </a:rPr>
              <a:t>AND OR</a:t>
            </a:r>
          </a:p>
          <a:p>
            <a:pPr lvl="1"/>
            <a:r>
              <a:rPr lang="en-US" sz="1800" b="1" dirty="0" smtClean="0">
                <a:latin typeface="Courier New" pitchFamily="49" charset="0"/>
                <a:cs typeface="Courier New" pitchFamily="49" charset="0"/>
              </a:rPr>
              <a:t>GROUP BY</a:t>
            </a:r>
          </a:p>
          <a:p>
            <a:pPr lvl="1"/>
            <a:r>
              <a:rPr lang="en-US" sz="1800" b="1" dirty="0" smtClean="0">
                <a:latin typeface="Courier New" pitchFamily="49" charset="0"/>
                <a:cs typeface="Courier New" pitchFamily="49" charset="0"/>
              </a:rPr>
              <a:t>ORDER BY</a:t>
            </a:r>
          </a:p>
          <a:p>
            <a:pPr lvl="1"/>
            <a:r>
              <a:rPr lang="en-US" sz="1800" b="1" dirty="0" smtClean="0">
                <a:latin typeface="Courier New" pitchFamily="49" charset="0"/>
                <a:cs typeface="Courier New" pitchFamily="49" charset="0"/>
              </a:rPr>
              <a:t>RANK</a:t>
            </a:r>
          </a:p>
        </p:txBody>
      </p:sp>
      <p:sp>
        <p:nvSpPr>
          <p:cNvPr id="5" name="Text Placeholder 4"/>
          <p:cNvSpPr>
            <a:spLocks noGrp="1"/>
          </p:cNvSpPr>
          <p:nvPr>
            <p:ph type="body" sz="quarter" idx="3"/>
          </p:nvPr>
        </p:nvSpPr>
        <p:spPr>
          <a:xfrm>
            <a:off x="6475411" y="838201"/>
            <a:ext cx="5713413" cy="639763"/>
          </a:xfrm>
        </p:spPr>
        <p:txBody>
          <a:bodyPr/>
          <a:lstStyle/>
          <a:p>
            <a:r>
              <a:rPr lang="en-US" dirty="0" smtClean="0"/>
              <a:t>Oracle Advanced Analytics - </a:t>
            </a:r>
            <a:r>
              <a:rPr lang="en-US" dirty="0" smtClean="0">
                <a:solidFill>
                  <a:srgbClr val="FF0000"/>
                </a:solidFill>
              </a:rPr>
              <a:t>SQL</a:t>
            </a:r>
            <a:r>
              <a:rPr lang="en-US" dirty="0" smtClean="0">
                <a:solidFill>
                  <a:schemeClr val="tx2"/>
                </a:solidFill>
              </a:rPr>
              <a:t> &amp;      </a:t>
            </a:r>
            <a:endParaRPr lang="en-US" dirty="0" smtClean="0"/>
          </a:p>
        </p:txBody>
      </p:sp>
      <p:sp>
        <p:nvSpPr>
          <p:cNvPr id="6" name="Content Placeholder 5"/>
          <p:cNvSpPr>
            <a:spLocks noGrp="1"/>
          </p:cNvSpPr>
          <p:nvPr>
            <p:ph sz="quarter" idx="4"/>
          </p:nvPr>
        </p:nvSpPr>
        <p:spPr>
          <a:xfrm>
            <a:off x="6598051" y="1489075"/>
            <a:ext cx="4981336" cy="3951288"/>
          </a:xfrm>
        </p:spPr>
        <p:txBody>
          <a:bodyPr/>
          <a:lstStyle/>
          <a:p>
            <a:pPr marL="380885" lvl="1" indent="-228532"/>
            <a:r>
              <a:rPr lang="en-US" sz="2000" dirty="0" smtClean="0"/>
              <a:t>Automated knowledge discovery, model building and deployment</a:t>
            </a:r>
          </a:p>
          <a:p>
            <a:pPr marL="380885" lvl="1" indent="-228532"/>
            <a:r>
              <a:rPr lang="en-US" sz="2000" dirty="0" smtClean="0"/>
              <a:t>Domain expertise to assemble the “</a:t>
            </a:r>
            <a:r>
              <a:rPr lang="en-US" sz="2000" i="1" dirty="0" smtClean="0"/>
              <a:t>right</a:t>
            </a:r>
            <a:r>
              <a:rPr lang="en-US" sz="2000" dirty="0" smtClean="0"/>
              <a:t>” data to mine/analyze</a:t>
            </a:r>
            <a:br>
              <a:rPr lang="en-US" sz="2000" dirty="0" smtClean="0"/>
            </a:br>
            <a:r>
              <a:rPr lang="en-US" sz="2000" dirty="0" smtClean="0"/>
              <a:t/>
            </a:r>
            <a:br>
              <a:rPr lang="en-US" sz="2000" dirty="0" smtClean="0"/>
            </a:br>
            <a:endParaRPr lang="en-US" sz="200" dirty="0" smtClean="0"/>
          </a:p>
          <a:p>
            <a:pPr marL="283548" lvl="1" indent="-283548">
              <a:spcBef>
                <a:spcPts val="667"/>
              </a:spcBef>
              <a:buClr>
                <a:schemeClr val="accent1"/>
              </a:buClr>
              <a:buNone/>
            </a:pPr>
            <a:r>
              <a:rPr lang="en-US" b="1" dirty="0" smtClean="0">
                <a:solidFill>
                  <a:srgbClr val="FF0000"/>
                </a:solidFill>
              </a:rPr>
              <a:t>Analytical SQL “Verbs”</a:t>
            </a:r>
          </a:p>
          <a:p>
            <a:pPr lvl="1"/>
            <a:r>
              <a:rPr lang="en-US" sz="1800" b="1" dirty="0" smtClean="0">
                <a:latin typeface="Courier New" pitchFamily="49" charset="0"/>
                <a:cs typeface="Courier New" pitchFamily="49" charset="0"/>
              </a:rPr>
              <a:t>PREDICT</a:t>
            </a:r>
          </a:p>
          <a:p>
            <a:pPr lvl="1"/>
            <a:r>
              <a:rPr lang="en-US" sz="1800" b="1" dirty="0" smtClean="0">
                <a:latin typeface="Courier New" pitchFamily="49" charset="0"/>
                <a:cs typeface="Courier New" pitchFamily="49" charset="0"/>
              </a:rPr>
              <a:t>DETECT</a:t>
            </a:r>
          </a:p>
          <a:p>
            <a:pPr lvl="1"/>
            <a:r>
              <a:rPr lang="en-US" sz="1800" b="1" dirty="0" smtClean="0">
                <a:latin typeface="Courier New" pitchFamily="49" charset="0"/>
                <a:cs typeface="Courier New" pitchFamily="49" charset="0"/>
              </a:rPr>
              <a:t>CLUSTER</a:t>
            </a:r>
          </a:p>
          <a:p>
            <a:pPr lvl="1"/>
            <a:r>
              <a:rPr lang="en-US" sz="1800" b="1" dirty="0" smtClean="0">
                <a:latin typeface="Courier New" pitchFamily="49" charset="0"/>
                <a:cs typeface="Courier New" pitchFamily="49" charset="0"/>
              </a:rPr>
              <a:t>CLASSIFY</a:t>
            </a:r>
          </a:p>
          <a:p>
            <a:pPr lvl="1"/>
            <a:r>
              <a:rPr lang="en-US" sz="1800" b="1" dirty="0" smtClean="0">
                <a:latin typeface="Courier New" pitchFamily="49" charset="0"/>
                <a:cs typeface="Courier New" pitchFamily="49" charset="0"/>
              </a:rPr>
              <a:t>REGRESS</a:t>
            </a:r>
          </a:p>
          <a:p>
            <a:pPr lvl="1"/>
            <a:r>
              <a:rPr lang="en-US" sz="1800" b="1" dirty="0" smtClean="0">
                <a:latin typeface="Courier New" pitchFamily="49" charset="0"/>
                <a:cs typeface="Courier New" pitchFamily="49" charset="0"/>
              </a:rPr>
              <a:t>PROFILE</a:t>
            </a:r>
          </a:p>
          <a:p>
            <a:pPr lvl="1"/>
            <a:r>
              <a:rPr lang="en-US" sz="1800" b="1" dirty="0" smtClean="0">
                <a:latin typeface="Courier New" pitchFamily="49" charset="0"/>
                <a:cs typeface="Courier New" pitchFamily="49" charset="0"/>
              </a:rPr>
              <a:t>IDENTIFY FACTORS</a:t>
            </a:r>
          </a:p>
          <a:p>
            <a:pPr lvl="1"/>
            <a:r>
              <a:rPr lang="en-US" sz="1800" b="1" dirty="0" smtClean="0">
                <a:latin typeface="Courier New" pitchFamily="49" charset="0"/>
                <a:cs typeface="Courier New" pitchFamily="49" charset="0"/>
              </a:rPr>
              <a:t>ASSOCIATE</a:t>
            </a:r>
          </a:p>
          <a:p>
            <a:pPr>
              <a:buNone/>
            </a:pPr>
            <a:endParaRPr lang="en-US" sz="2400" dirty="0"/>
          </a:p>
        </p:txBody>
      </p:sp>
      <p:sp>
        <p:nvSpPr>
          <p:cNvPr id="7" name="Rectangle 6"/>
          <p:cNvSpPr/>
          <p:nvPr/>
        </p:nvSpPr>
        <p:spPr bwMode="auto">
          <a:xfrm>
            <a:off x="942075" y="1371600"/>
            <a:ext cx="4773956" cy="4876800"/>
          </a:xfrm>
          <a:prstGeom prst="rect">
            <a:avLst/>
          </a:prstGeom>
          <a:noFill/>
          <a:ln w="22225" cap="flat" cmpd="sng" algn="ctr">
            <a:solidFill>
              <a:schemeClr val="accent1"/>
            </a:solidFill>
            <a:prstDash val="solid"/>
            <a:round/>
            <a:headEnd type="none" w="sm" len="sm"/>
            <a:tailEnd type="none" w="sm" len="sm"/>
          </a:ln>
          <a:effectLst/>
        </p:spPr>
        <p:txBody>
          <a:bodyPr vert="horz" wrap="square" lIns="122731" tIns="61365" rIns="122731" bIns="61365" numCol="1" rtlCol="0" anchor="t" anchorCtr="0" compatLnSpc="1">
            <a:prstTxWarp prst="textNoShape">
              <a:avLst/>
            </a:prstTxWarp>
            <a:noAutofit/>
          </a:bodyPr>
          <a:lstStyle/>
          <a:p>
            <a:pPr marL="158703" indent="-158703" algn="ctr">
              <a:lnSpc>
                <a:spcPct val="90000"/>
              </a:lnSpc>
              <a:spcBef>
                <a:spcPct val="50000"/>
              </a:spcBef>
              <a:buClr>
                <a:srgbClr val="FF1414"/>
              </a:buClr>
            </a:pPr>
            <a:endParaRPr lang="en-US" sz="2700" b="1" dirty="0" smtClean="0">
              <a:solidFill>
                <a:srgbClr val="000000"/>
              </a:solidFill>
              <a:latin typeface="Arial" charset="0"/>
            </a:endParaRPr>
          </a:p>
        </p:txBody>
      </p:sp>
      <p:sp>
        <p:nvSpPr>
          <p:cNvPr id="8" name="Rectangle 7"/>
          <p:cNvSpPr/>
          <p:nvPr/>
        </p:nvSpPr>
        <p:spPr bwMode="auto">
          <a:xfrm>
            <a:off x="6496480" y="1371600"/>
            <a:ext cx="5184483" cy="4876800"/>
          </a:xfrm>
          <a:prstGeom prst="rect">
            <a:avLst/>
          </a:prstGeom>
          <a:noFill/>
          <a:ln w="22225" cap="flat" cmpd="sng" algn="ctr">
            <a:solidFill>
              <a:schemeClr val="accent1"/>
            </a:solidFill>
            <a:prstDash val="solid"/>
            <a:round/>
            <a:headEnd type="none" w="sm" len="sm"/>
            <a:tailEnd type="none" w="sm" len="sm"/>
          </a:ln>
          <a:effectLst/>
        </p:spPr>
        <p:txBody>
          <a:bodyPr vert="horz" wrap="square" lIns="122731" tIns="61365" rIns="122731" bIns="61365" numCol="1" rtlCol="0" anchor="t" anchorCtr="0" compatLnSpc="1">
            <a:prstTxWarp prst="textNoShape">
              <a:avLst/>
            </a:prstTxWarp>
            <a:noAutofit/>
          </a:bodyPr>
          <a:lstStyle/>
          <a:p>
            <a:pPr marL="158703" indent="-158703" algn="ctr">
              <a:lnSpc>
                <a:spcPct val="90000"/>
              </a:lnSpc>
              <a:spcBef>
                <a:spcPct val="50000"/>
              </a:spcBef>
              <a:buClr>
                <a:srgbClr val="FF1414"/>
              </a:buClr>
            </a:pPr>
            <a:endParaRPr lang="en-US" sz="2700" b="1" dirty="0" smtClean="0">
              <a:solidFill>
                <a:srgbClr val="000000"/>
              </a:solidFill>
              <a:latin typeface="Arial" charset="0"/>
            </a:endParaRPr>
          </a:p>
        </p:txBody>
      </p:sp>
      <p:sp>
        <p:nvSpPr>
          <p:cNvPr id="11" name="TextBox 10"/>
          <p:cNvSpPr txBox="1"/>
          <p:nvPr/>
        </p:nvSpPr>
        <p:spPr>
          <a:xfrm>
            <a:off x="5716085" y="3124201"/>
            <a:ext cx="667737" cy="1138735"/>
          </a:xfrm>
          <a:prstGeom prst="rect">
            <a:avLst/>
          </a:prstGeom>
          <a:noFill/>
        </p:spPr>
        <p:txBody>
          <a:bodyPr wrap="none" lIns="121883" tIns="60941" rIns="121883" bIns="60941" rtlCol="0">
            <a:spAutoFit/>
          </a:bodyPr>
          <a:lstStyle/>
          <a:p>
            <a:r>
              <a:rPr lang="en-US" sz="6600" dirty="0" smtClean="0">
                <a:solidFill>
                  <a:srgbClr val="000000"/>
                </a:solidFill>
              </a:rPr>
              <a:t>+</a:t>
            </a:r>
            <a:endParaRPr lang="en-US" sz="6600" dirty="0">
              <a:solidFill>
                <a:srgbClr val="000000"/>
              </a:solidFill>
            </a:endParaRPr>
          </a:p>
        </p:txBody>
      </p:sp>
      <p:pic>
        <p:nvPicPr>
          <p:cNvPr id="1027" name="Picture 3"/>
          <p:cNvPicPr>
            <a:picLocks noChangeAspect="1" noChangeArrowheads="1"/>
          </p:cNvPicPr>
          <p:nvPr/>
        </p:nvPicPr>
        <p:blipFill>
          <a:blip r:embed="rId3" cstate="print"/>
          <a:srcRect/>
          <a:stretch>
            <a:fillRect/>
          </a:stretch>
        </p:blipFill>
        <p:spPr bwMode="auto">
          <a:xfrm>
            <a:off x="3758221" y="3111500"/>
            <a:ext cx="1472816" cy="1397000"/>
          </a:xfrm>
          <a:prstGeom prst="rect">
            <a:avLst/>
          </a:prstGeom>
          <a:noFill/>
          <a:ln w="9525">
            <a:noFill/>
            <a:miter lim="800000"/>
            <a:headEnd/>
            <a:tailEnd/>
          </a:ln>
        </p:spPr>
      </p:pic>
      <p:pic>
        <p:nvPicPr>
          <p:cNvPr id="14" name="48A3F5A6-995C-459E-801B-04ED0F67E9FA" descr="E68B87C3-4119-4E3E-ADD4-C40DF263F308@us"/>
          <p:cNvPicPr>
            <a:picLocks noChangeAspect="1" noChangeArrowheads="1"/>
          </p:cNvPicPr>
          <p:nvPr/>
        </p:nvPicPr>
        <p:blipFill>
          <a:blip r:embed="rId4" cstate="print"/>
          <a:srcRect/>
          <a:stretch>
            <a:fillRect/>
          </a:stretch>
        </p:blipFill>
        <p:spPr bwMode="auto">
          <a:xfrm>
            <a:off x="9980612" y="3200400"/>
            <a:ext cx="1219200" cy="1219200"/>
          </a:xfrm>
          <a:prstGeom prst="rect">
            <a:avLst/>
          </a:prstGeom>
          <a:noFill/>
          <a:ln w="9525">
            <a:noFill/>
            <a:miter lim="800000"/>
            <a:headEnd/>
            <a:tailEnd/>
          </a:ln>
        </p:spPr>
      </p:pic>
      <p:pic>
        <p:nvPicPr>
          <p:cNvPr id="12" name="Picture 4"/>
          <p:cNvPicPr>
            <a:picLocks noChangeAspect="1" noChangeArrowheads="1"/>
          </p:cNvPicPr>
          <p:nvPr/>
        </p:nvPicPr>
        <p:blipFill>
          <a:blip r:embed="rId5" cstate="print"/>
          <a:srcRect/>
          <a:stretch>
            <a:fillRect/>
          </a:stretch>
        </p:blipFill>
        <p:spPr bwMode="auto">
          <a:xfrm>
            <a:off x="11504612" y="952502"/>
            <a:ext cx="446312" cy="419098"/>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
          <p:cNvGrpSpPr>
            <a:grpSpLocks/>
          </p:cNvGrpSpPr>
          <p:nvPr/>
        </p:nvGrpSpPr>
        <p:grpSpPr bwMode="auto">
          <a:xfrm>
            <a:off x="5772763" y="1540937"/>
            <a:ext cx="6416062" cy="3979335"/>
            <a:chOff x="3429000" y="1447800"/>
            <a:chExt cx="5562600" cy="4584700"/>
          </a:xfrm>
        </p:grpSpPr>
        <p:pic>
          <p:nvPicPr>
            <p:cNvPr id="62472" name="Picture 4"/>
            <p:cNvPicPr>
              <a:picLocks noChangeAspect="1"/>
            </p:cNvPicPr>
            <p:nvPr/>
          </p:nvPicPr>
          <p:blipFill>
            <a:blip r:embed="rId3" cstate="screen"/>
            <a:srcRect/>
            <a:stretch>
              <a:fillRect/>
            </a:stretch>
          </p:blipFill>
          <p:spPr bwMode="auto">
            <a:xfrm>
              <a:off x="4724400" y="1447800"/>
              <a:ext cx="4267200" cy="3167941"/>
            </a:xfrm>
            <a:prstGeom prst="rect">
              <a:avLst/>
            </a:prstGeom>
            <a:noFill/>
            <a:ln w="9525">
              <a:noFill/>
              <a:miter lim="800000"/>
              <a:headEnd/>
              <a:tailEnd/>
            </a:ln>
          </p:spPr>
        </p:pic>
        <p:pic>
          <p:nvPicPr>
            <p:cNvPr id="62473" name="Picture 3"/>
            <p:cNvPicPr>
              <a:picLocks noChangeAspect="1"/>
            </p:cNvPicPr>
            <p:nvPr/>
          </p:nvPicPr>
          <p:blipFill>
            <a:blip r:embed="rId4" cstate="screen"/>
            <a:srcRect/>
            <a:stretch>
              <a:fillRect/>
            </a:stretch>
          </p:blipFill>
          <p:spPr bwMode="auto">
            <a:xfrm>
              <a:off x="3429000" y="2590800"/>
              <a:ext cx="5158520" cy="3441700"/>
            </a:xfrm>
            <a:prstGeom prst="rect">
              <a:avLst/>
            </a:prstGeom>
            <a:noFill/>
            <a:ln w="9525">
              <a:noFill/>
              <a:miter lim="800000"/>
              <a:headEnd/>
              <a:tailEnd/>
            </a:ln>
          </p:spPr>
        </p:pic>
      </p:grpSp>
      <p:sp>
        <p:nvSpPr>
          <p:cNvPr id="11" name="Text Placeholder 10"/>
          <p:cNvSpPr>
            <a:spLocks noGrp="1"/>
          </p:cNvSpPr>
          <p:nvPr>
            <p:ph type="body" sz="quarter" idx="13"/>
          </p:nvPr>
        </p:nvSpPr>
        <p:spPr>
          <a:xfrm>
            <a:off x="1004463" y="2479525"/>
            <a:ext cx="4700584" cy="2849880"/>
          </a:xfrm>
        </p:spPr>
        <p:txBody>
          <a:bodyPr>
            <a:normAutofit fontScale="85000" lnSpcReduction="20000"/>
          </a:bodyPr>
          <a:lstStyle/>
          <a:p>
            <a:pPr>
              <a:spcAft>
                <a:spcPts val="400"/>
              </a:spcAft>
            </a:pPr>
            <a:r>
              <a:rPr lang="en-US" dirty="0" smtClean="0"/>
              <a:t>Strengths</a:t>
            </a:r>
          </a:p>
          <a:p>
            <a:pPr marL="459178" lvl="1" indent="-302595">
              <a:spcAft>
                <a:spcPts val="400"/>
              </a:spcAft>
            </a:pPr>
            <a:r>
              <a:rPr lang="en-US" sz="1900" dirty="0" smtClean="0"/>
              <a:t>Powerful &amp; Extensible</a:t>
            </a:r>
          </a:p>
          <a:p>
            <a:pPr marL="459178" lvl="1" indent="-302595">
              <a:spcAft>
                <a:spcPts val="400"/>
              </a:spcAft>
            </a:pPr>
            <a:r>
              <a:rPr lang="en-US" sz="1900" dirty="0" smtClean="0"/>
              <a:t>Graphical &amp; Extensive statistics</a:t>
            </a:r>
            <a:endParaRPr lang="en-US" sz="1900" dirty="0"/>
          </a:p>
          <a:p>
            <a:pPr marL="459178" lvl="1" indent="-302595">
              <a:spcAft>
                <a:spcPts val="400"/>
              </a:spcAft>
            </a:pPr>
            <a:r>
              <a:rPr lang="en-US" sz="1900" dirty="0" smtClean="0"/>
              <a:t>Free—open source</a:t>
            </a:r>
          </a:p>
          <a:p>
            <a:pPr>
              <a:spcAft>
                <a:spcPts val="400"/>
              </a:spcAft>
            </a:pPr>
            <a:r>
              <a:rPr lang="en-US" dirty="0" smtClean="0"/>
              <a:t>Challenges</a:t>
            </a:r>
          </a:p>
          <a:p>
            <a:pPr marL="459178" lvl="1" indent="-302595">
              <a:spcAft>
                <a:spcPts val="400"/>
              </a:spcAft>
            </a:pPr>
            <a:r>
              <a:rPr lang="en-US" sz="1900" dirty="0" smtClean="0"/>
              <a:t>Memory constrained</a:t>
            </a:r>
          </a:p>
          <a:p>
            <a:pPr marL="459178" lvl="1" indent="-302595">
              <a:spcAft>
                <a:spcPts val="400"/>
              </a:spcAft>
            </a:pPr>
            <a:r>
              <a:rPr lang="en-US" sz="1900" dirty="0" smtClean="0"/>
              <a:t>Single threaded</a:t>
            </a:r>
          </a:p>
          <a:p>
            <a:pPr marL="459178" lvl="1" indent="-302595">
              <a:spcAft>
                <a:spcPts val="400"/>
              </a:spcAft>
            </a:pPr>
            <a:r>
              <a:rPr lang="en-US" sz="1900" dirty="0" smtClean="0"/>
              <a:t>Outer loop—slows down process</a:t>
            </a:r>
          </a:p>
          <a:p>
            <a:pPr marL="459178" lvl="1" indent="-302595">
              <a:spcAft>
                <a:spcPts val="400"/>
              </a:spcAft>
            </a:pPr>
            <a:r>
              <a:rPr lang="en-US" sz="1900" dirty="0" smtClean="0"/>
              <a:t>Not industrial strength</a:t>
            </a:r>
          </a:p>
        </p:txBody>
      </p:sp>
      <p:sp>
        <p:nvSpPr>
          <p:cNvPr id="62468" name="Content Placeholder 2"/>
          <p:cNvSpPr>
            <a:spLocks noGrp="1"/>
          </p:cNvSpPr>
          <p:nvPr>
            <p:ph type="body" sz="quarter" idx="14"/>
          </p:nvPr>
        </p:nvSpPr>
        <p:spPr/>
        <p:txBody>
          <a:bodyPr/>
          <a:lstStyle/>
          <a:p>
            <a:r>
              <a:rPr lang="en-US" dirty="0" smtClean="0"/>
              <a:t>R environment</a:t>
            </a:r>
          </a:p>
        </p:txBody>
      </p:sp>
      <p:sp>
        <p:nvSpPr>
          <p:cNvPr id="62466" name="Title 1"/>
          <p:cNvSpPr>
            <a:spLocks noGrp="1"/>
          </p:cNvSpPr>
          <p:nvPr>
            <p:ph type="title"/>
          </p:nvPr>
        </p:nvSpPr>
        <p:spPr/>
        <p:txBody>
          <a:bodyPr/>
          <a:lstStyle/>
          <a:p>
            <a:r>
              <a:rPr lang="en-US" dirty="0" smtClean="0"/>
              <a:t>R—Widely Popular</a:t>
            </a:r>
            <a:br>
              <a:rPr lang="en-US" dirty="0" smtClean="0"/>
            </a:br>
            <a:r>
              <a:rPr lang="en-US" sz="2700" dirty="0" smtClean="0">
                <a:solidFill>
                  <a:schemeClr val="accent1"/>
                </a:solidFill>
              </a:rPr>
              <a:t>R is a statistics language</a:t>
            </a:r>
            <a:r>
              <a:rPr lang="en-US" dirty="0" smtClean="0">
                <a:solidFill>
                  <a:schemeClr val="accent1"/>
                </a:solidFill>
              </a:rPr>
              <a:t/>
            </a:r>
            <a:br>
              <a:rPr lang="en-US" dirty="0" smtClean="0">
                <a:solidFill>
                  <a:schemeClr val="accent1"/>
                </a:solidFill>
              </a:rPr>
            </a:br>
            <a:r>
              <a:rPr lang="en-US" dirty="0" smtClean="0"/>
              <a:t/>
            </a:r>
            <a:br>
              <a:rPr lang="en-US" dirty="0" smtClean="0"/>
            </a:br>
            <a:endParaRPr lang="en-US" dirty="0" smtClean="0"/>
          </a:p>
        </p:txBody>
      </p:sp>
      <p:sp>
        <p:nvSpPr>
          <p:cNvPr id="62467" name="TextBox 8"/>
          <p:cNvSpPr txBox="1">
            <a:spLocks noChangeArrowheads="1"/>
          </p:cNvSpPr>
          <p:nvPr/>
        </p:nvSpPr>
        <p:spPr bwMode="auto">
          <a:xfrm>
            <a:off x="885259" y="1752601"/>
            <a:ext cx="304331" cy="372835"/>
          </a:xfrm>
          <a:prstGeom prst="rect">
            <a:avLst/>
          </a:prstGeom>
          <a:noFill/>
          <a:ln w="9525">
            <a:noFill/>
            <a:miter lim="800000"/>
            <a:headEnd/>
            <a:tailEnd/>
          </a:ln>
        </p:spPr>
        <p:txBody>
          <a:bodyPr wrap="none" lIns="108617" tIns="54306" rIns="108617" bIns="54306">
            <a:spAutoFit/>
          </a:bodyPr>
          <a:lstStyle/>
          <a:p>
            <a:pPr algn="ctr">
              <a:lnSpc>
                <a:spcPct val="90000"/>
              </a:lnSpc>
              <a:spcBef>
                <a:spcPct val="50000"/>
              </a:spcBef>
              <a:buClr>
                <a:srgbClr val="FF1414"/>
              </a:buClr>
              <a:buFont typeface="Arial" charset="0"/>
              <a:buChar char="•"/>
            </a:pPr>
            <a:endParaRPr lang="en-US">
              <a:solidFill>
                <a:srgbClr val="000000"/>
              </a:solidFill>
            </a:endParaRPr>
          </a:p>
        </p:txBody>
      </p:sp>
    </p:spTree>
  </p:cSld>
  <p:clrMapOvr>
    <a:masterClrMapping/>
  </p:clrMapOvr>
  <p:transition spd="med"/>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le 1"/>
          <p:cNvSpPr>
            <a:spLocks noGrp="1"/>
          </p:cNvSpPr>
          <p:nvPr>
            <p:ph type="title"/>
          </p:nvPr>
        </p:nvSpPr>
        <p:spPr/>
        <p:txBody>
          <a:bodyPr/>
          <a:lstStyle/>
          <a:p>
            <a:pPr eaLnBrk="1" hangingPunct="1"/>
            <a:r>
              <a:rPr lang="en-US" dirty="0" smtClean="0"/>
              <a:t>Oracle Advanced Analytics Database Evolution</a:t>
            </a:r>
            <a:r>
              <a:rPr lang="en-US" dirty="0">
                <a:solidFill>
                  <a:srgbClr val="000000"/>
                </a:solidFill>
                <a:latin typeface="Arial" charset="0"/>
              </a:rPr>
              <a:t/>
            </a:r>
            <a:br>
              <a:rPr lang="en-US" dirty="0">
                <a:solidFill>
                  <a:srgbClr val="000000"/>
                </a:solidFill>
                <a:latin typeface="Arial" charset="0"/>
              </a:rPr>
            </a:br>
            <a:r>
              <a:rPr lang="en-US" dirty="0">
                <a:solidFill>
                  <a:srgbClr val="000000"/>
                </a:solidFill>
                <a:latin typeface="Arial" charset="0"/>
              </a:rPr>
              <a:t/>
            </a:r>
            <a:br>
              <a:rPr lang="en-US" dirty="0">
                <a:solidFill>
                  <a:srgbClr val="000000"/>
                </a:solidFill>
                <a:latin typeface="Arial" charset="0"/>
              </a:rPr>
            </a:br>
            <a:r>
              <a:rPr lang="en-US" dirty="0">
                <a:solidFill>
                  <a:srgbClr val="000000"/>
                </a:solidFill>
                <a:latin typeface="Arial" charset="0"/>
              </a:rPr>
              <a:t/>
            </a:r>
            <a:br>
              <a:rPr lang="en-US" dirty="0">
                <a:solidFill>
                  <a:srgbClr val="000000"/>
                </a:solidFill>
                <a:latin typeface="Arial" charset="0"/>
              </a:rPr>
            </a:br>
            <a:r>
              <a:rPr lang="en-US" dirty="0">
                <a:solidFill>
                  <a:srgbClr val="000000"/>
                </a:solidFill>
                <a:latin typeface="Arial" charset="0"/>
              </a:rPr>
              <a:t>Analytical SQL in the Database</a:t>
            </a:r>
          </a:p>
        </p:txBody>
      </p:sp>
      <p:pic>
        <p:nvPicPr>
          <p:cNvPr id="14338" name="Picture 2" descr="Arrow1"/>
          <p:cNvPicPr>
            <a:picLocks noChangeAspect="1" noChangeArrowheads="1"/>
          </p:cNvPicPr>
          <p:nvPr/>
        </p:nvPicPr>
        <p:blipFill>
          <a:blip r:embed="rId3" cstate="print">
            <a:extLst>
              <a:ext uri="{28A0092B-C50C-407E-A947-70E740481C1C}">
                <a14:useLocalDpi xmlns:a14="http://schemas.microsoft.com/office/drawing/2010/main" val="0"/>
              </a:ext>
            </a:extLst>
          </a:blip>
          <a:srcRect b="6229"/>
          <a:stretch>
            <a:fillRect/>
          </a:stretch>
        </p:blipFill>
        <p:spPr bwMode="auto">
          <a:xfrm>
            <a:off x="342810" y="1536943"/>
            <a:ext cx="10969943" cy="34057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339" name="TextBox 38"/>
          <p:cNvSpPr txBox="1">
            <a:spLocks noChangeArrowheads="1"/>
          </p:cNvSpPr>
          <p:nvPr/>
        </p:nvSpPr>
        <p:spPr bwMode="auto">
          <a:xfrm>
            <a:off x="598866" y="5878827"/>
            <a:ext cx="833749" cy="292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US" sz="1900" b="1" dirty="0">
                <a:solidFill>
                  <a:srgbClr val="000000"/>
                </a:solidFill>
              </a:rPr>
              <a:t>1998</a:t>
            </a:r>
          </a:p>
        </p:txBody>
      </p:sp>
      <p:sp>
        <p:nvSpPr>
          <p:cNvPr id="14340" name="TextBox 39"/>
          <p:cNvSpPr txBox="1">
            <a:spLocks noChangeArrowheads="1"/>
          </p:cNvSpPr>
          <p:nvPr/>
        </p:nvSpPr>
        <p:spPr bwMode="auto">
          <a:xfrm>
            <a:off x="2018779" y="5878827"/>
            <a:ext cx="833749" cy="292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US" sz="1900" b="1" dirty="0" smtClean="0">
                <a:solidFill>
                  <a:srgbClr val="000000"/>
                </a:solidFill>
              </a:rPr>
              <a:t>1999</a:t>
            </a:r>
            <a:endParaRPr lang="en-US" sz="1900" b="1" dirty="0">
              <a:solidFill>
                <a:srgbClr val="000000"/>
              </a:solidFill>
            </a:endParaRPr>
          </a:p>
        </p:txBody>
      </p:sp>
      <p:sp>
        <p:nvSpPr>
          <p:cNvPr id="14341" name="TextBox 57"/>
          <p:cNvSpPr txBox="1">
            <a:spLocks noChangeArrowheads="1"/>
          </p:cNvSpPr>
          <p:nvPr/>
        </p:nvSpPr>
        <p:spPr bwMode="auto">
          <a:xfrm>
            <a:off x="3438693" y="5878827"/>
            <a:ext cx="833749" cy="292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US" sz="1900" b="1" dirty="0">
                <a:solidFill>
                  <a:srgbClr val="000000"/>
                </a:solidFill>
              </a:rPr>
              <a:t>2002</a:t>
            </a:r>
          </a:p>
        </p:txBody>
      </p:sp>
      <p:sp>
        <p:nvSpPr>
          <p:cNvPr id="14342" name="TextBox 58"/>
          <p:cNvSpPr txBox="1">
            <a:spLocks noChangeArrowheads="1"/>
          </p:cNvSpPr>
          <p:nvPr/>
        </p:nvSpPr>
        <p:spPr bwMode="auto">
          <a:xfrm>
            <a:off x="6276403" y="5878827"/>
            <a:ext cx="833749" cy="292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US" sz="1900" b="1" dirty="0">
                <a:solidFill>
                  <a:srgbClr val="000000"/>
                </a:solidFill>
              </a:rPr>
              <a:t>2005</a:t>
            </a:r>
          </a:p>
        </p:txBody>
      </p:sp>
      <p:sp>
        <p:nvSpPr>
          <p:cNvPr id="14343" name="TextBox 59"/>
          <p:cNvSpPr txBox="1">
            <a:spLocks noChangeArrowheads="1"/>
          </p:cNvSpPr>
          <p:nvPr/>
        </p:nvSpPr>
        <p:spPr bwMode="auto">
          <a:xfrm>
            <a:off x="7696317" y="5878827"/>
            <a:ext cx="833749" cy="292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US" sz="1900" b="1" dirty="0" smtClean="0">
                <a:solidFill>
                  <a:srgbClr val="000000"/>
                </a:solidFill>
              </a:rPr>
              <a:t>2008</a:t>
            </a:r>
            <a:endParaRPr lang="en-US" sz="1900" b="1" dirty="0">
              <a:solidFill>
                <a:srgbClr val="000000"/>
              </a:solidFill>
            </a:endParaRPr>
          </a:p>
        </p:txBody>
      </p:sp>
      <p:grpSp>
        <p:nvGrpSpPr>
          <p:cNvPr id="2" name="Group 12"/>
          <p:cNvGrpSpPr>
            <a:grpSpLocks/>
          </p:cNvGrpSpPr>
          <p:nvPr/>
        </p:nvGrpSpPr>
        <p:grpSpPr bwMode="auto">
          <a:xfrm>
            <a:off x="727949" y="4318985"/>
            <a:ext cx="647531" cy="999067"/>
            <a:chOff x="2361" y="639"/>
            <a:chExt cx="1037" cy="1674"/>
          </a:xfrm>
        </p:grpSpPr>
        <p:grpSp>
          <p:nvGrpSpPr>
            <p:cNvPr id="3" name="Group 10"/>
            <p:cNvGrpSpPr>
              <a:grpSpLocks/>
            </p:cNvGrpSpPr>
            <p:nvPr/>
          </p:nvGrpSpPr>
          <p:grpSpPr bwMode="auto">
            <a:xfrm>
              <a:off x="2361" y="639"/>
              <a:ext cx="1037" cy="1674"/>
              <a:chOff x="2361" y="639"/>
              <a:chExt cx="1037" cy="1674"/>
            </a:xfrm>
          </p:grpSpPr>
          <p:sp>
            <p:nvSpPr>
              <p:cNvPr id="14366" name="Rectangle 4"/>
              <p:cNvSpPr>
                <a:spLocks noChangeArrowheads="1"/>
              </p:cNvSpPr>
              <p:nvPr/>
            </p:nvSpPr>
            <p:spPr bwMode="auto">
              <a:xfrm>
                <a:off x="2399" y="676"/>
                <a:ext cx="969" cy="1599"/>
              </a:xfrm>
              <a:prstGeom prst="rect">
                <a:avLst/>
              </a:prstGeom>
              <a:solidFill>
                <a:srgbClr val="919191"/>
              </a:solidFill>
              <a:ln w="12700">
                <a:solidFill>
                  <a:srgbClr val="919191"/>
                </a:solidFill>
                <a:miter lim="800000"/>
                <a:headEnd/>
                <a:tailEnd/>
              </a:ln>
            </p:spPr>
            <p:txBody>
              <a:bodyPr wrap="none" anchor="ctr"/>
              <a:lstStyle/>
              <a:p>
                <a:endParaRPr lang="en-US">
                  <a:solidFill>
                    <a:srgbClr val="000000"/>
                  </a:solidFill>
                </a:endParaRPr>
              </a:p>
            </p:txBody>
          </p:sp>
          <p:sp>
            <p:nvSpPr>
              <p:cNvPr id="14367" name="AutoShape 5"/>
              <p:cNvSpPr>
                <a:spLocks noChangeArrowheads="1"/>
              </p:cNvSpPr>
              <p:nvPr/>
            </p:nvSpPr>
            <p:spPr bwMode="auto">
              <a:xfrm rot="-5400000" flipH="1" flipV="1">
                <a:off x="2538" y="1454"/>
                <a:ext cx="1674" cy="44"/>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94 w 21600"/>
                  <a:gd name="T13" fmla="*/ 1964 h 21600"/>
                  <a:gd name="T14" fmla="*/ 19406 w 21600"/>
                  <a:gd name="T15" fmla="*/ 19636 h 21600"/>
                </a:gdLst>
                <a:ahLst/>
                <a:cxnLst>
                  <a:cxn ang="T8">
                    <a:pos x="T0" y="T1"/>
                  </a:cxn>
                  <a:cxn ang="T9">
                    <a:pos x="T2" y="T3"/>
                  </a:cxn>
                  <a:cxn ang="T10">
                    <a:pos x="T4" y="T5"/>
                  </a:cxn>
                  <a:cxn ang="T11">
                    <a:pos x="T6" y="T7"/>
                  </a:cxn>
                </a:cxnLst>
                <a:rect l="T12" t="T13" r="T14" b="T15"/>
                <a:pathLst>
                  <a:path w="21600" h="21600">
                    <a:moveTo>
                      <a:pt x="0" y="0"/>
                    </a:moveTo>
                    <a:lnTo>
                      <a:pt x="776" y="21600"/>
                    </a:lnTo>
                    <a:lnTo>
                      <a:pt x="20824" y="21600"/>
                    </a:lnTo>
                    <a:lnTo>
                      <a:pt x="21600" y="0"/>
                    </a:lnTo>
                    <a:lnTo>
                      <a:pt x="0" y="0"/>
                    </a:lnTo>
                    <a:close/>
                  </a:path>
                </a:pathLst>
              </a:custGeom>
              <a:solidFill>
                <a:srgbClr val="4D4D4D"/>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en-US">
                  <a:solidFill>
                    <a:srgbClr val="000000"/>
                  </a:solidFill>
                </a:endParaRPr>
              </a:p>
            </p:txBody>
          </p:sp>
          <p:sp>
            <p:nvSpPr>
              <p:cNvPr id="14368" name="AutoShape 6"/>
              <p:cNvSpPr>
                <a:spLocks noChangeArrowheads="1"/>
              </p:cNvSpPr>
              <p:nvPr/>
            </p:nvSpPr>
            <p:spPr bwMode="auto">
              <a:xfrm rot="10800000" flipH="1" flipV="1">
                <a:off x="2363" y="642"/>
                <a:ext cx="1030" cy="5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223 w 21600"/>
                  <a:gd name="T13" fmla="*/ 2274 h 21600"/>
                  <a:gd name="T14" fmla="*/ 19377 w 21600"/>
                  <a:gd name="T15" fmla="*/ 19326 h 21600"/>
                </a:gdLst>
                <a:ahLst/>
                <a:cxnLst>
                  <a:cxn ang="T8">
                    <a:pos x="T0" y="T1"/>
                  </a:cxn>
                  <a:cxn ang="T9">
                    <a:pos x="T2" y="T3"/>
                  </a:cxn>
                  <a:cxn ang="T10">
                    <a:pos x="T4" y="T5"/>
                  </a:cxn>
                  <a:cxn ang="T11">
                    <a:pos x="T6" y="T7"/>
                  </a:cxn>
                </a:cxnLst>
                <a:rect l="T12" t="T13" r="T14" b="T15"/>
                <a:pathLst>
                  <a:path w="21600" h="21600">
                    <a:moveTo>
                      <a:pt x="0" y="0"/>
                    </a:moveTo>
                    <a:lnTo>
                      <a:pt x="863" y="21600"/>
                    </a:lnTo>
                    <a:lnTo>
                      <a:pt x="20737" y="21600"/>
                    </a:lnTo>
                    <a:lnTo>
                      <a:pt x="21600" y="0"/>
                    </a:lnTo>
                    <a:lnTo>
                      <a:pt x="0" y="0"/>
                    </a:lnTo>
                    <a:close/>
                  </a:path>
                </a:pathLst>
              </a:custGeom>
              <a:solidFill>
                <a:schemeClr val="folHlink"/>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en-US">
                  <a:solidFill>
                    <a:srgbClr val="000000"/>
                  </a:solidFill>
                </a:endParaRPr>
              </a:p>
            </p:txBody>
          </p:sp>
          <p:sp>
            <p:nvSpPr>
              <p:cNvPr id="51" name="AutoShape 7"/>
              <p:cNvSpPr>
                <a:spLocks noChangeArrowheads="1"/>
              </p:cNvSpPr>
              <p:nvPr/>
            </p:nvSpPr>
            <p:spPr bwMode="auto">
              <a:xfrm flipV="1">
                <a:off x="2361" y="2249"/>
                <a:ext cx="1037" cy="64"/>
              </a:xfrm>
              <a:custGeom>
                <a:avLst/>
                <a:gdLst>
                  <a:gd name="T0" fmla="*/ 48 w 21600"/>
                  <a:gd name="T1" fmla="*/ 0 h 21600"/>
                  <a:gd name="T2" fmla="*/ 25 w 21600"/>
                  <a:gd name="T3" fmla="*/ 0 h 21600"/>
                  <a:gd name="T4" fmla="*/ 2 w 21600"/>
                  <a:gd name="T5" fmla="*/ 0 h 21600"/>
                  <a:gd name="T6" fmla="*/ 25 w 21600"/>
                  <a:gd name="T7" fmla="*/ 0 h 21600"/>
                  <a:gd name="T8" fmla="*/ 0 60000 65536"/>
                  <a:gd name="T9" fmla="*/ 0 60000 65536"/>
                  <a:gd name="T10" fmla="*/ 0 60000 65536"/>
                  <a:gd name="T11" fmla="*/ 0 60000 65536"/>
                  <a:gd name="T12" fmla="*/ 2500 w 21600"/>
                  <a:gd name="T13" fmla="*/ 2400 h 21600"/>
                  <a:gd name="T14" fmla="*/ 19100 w 21600"/>
                  <a:gd name="T15" fmla="*/ 19200 h 21600"/>
                </a:gdLst>
                <a:ahLst/>
                <a:cxnLst>
                  <a:cxn ang="T8">
                    <a:pos x="T0" y="T1"/>
                  </a:cxn>
                  <a:cxn ang="T9">
                    <a:pos x="T2" y="T3"/>
                  </a:cxn>
                  <a:cxn ang="T10">
                    <a:pos x="T4" y="T5"/>
                  </a:cxn>
                  <a:cxn ang="T11">
                    <a:pos x="T6" y="T7"/>
                  </a:cxn>
                </a:cxnLst>
                <a:rect l="T12" t="T13" r="T14" b="T15"/>
                <a:pathLst>
                  <a:path w="21600" h="21600">
                    <a:moveTo>
                      <a:pt x="0" y="0"/>
                    </a:moveTo>
                    <a:lnTo>
                      <a:pt x="1381" y="21600"/>
                    </a:lnTo>
                    <a:lnTo>
                      <a:pt x="20219" y="21600"/>
                    </a:lnTo>
                    <a:lnTo>
                      <a:pt x="21600" y="0"/>
                    </a:lnTo>
                    <a:close/>
                  </a:path>
                </a:pathLst>
              </a:custGeom>
              <a:solidFill>
                <a:srgbClr val="4D4D4D"/>
              </a:solidFill>
              <a:ln>
                <a:noFill/>
              </a:ln>
              <a:effectLst>
                <a:outerShdw blurRad="63500" algn="ctr" rotWithShape="0">
                  <a:srgbClr val="000000">
                    <a:alpha val="74997"/>
                  </a:srgbClr>
                </a:outerShdw>
              </a:effectLst>
              <a:extLst>
                <a:ext uri="{91240B29-F687-4f45-9708-019B960494DF}">
                  <a14:hiddenLine xmlns="" xmlns:a14="http://schemas.microsoft.com/office/drawing/2010/main" w="9525">
                    <a:solidFill>
                      <a:srgbClr val="000000"/>
                    </a:solidFill>
                    <a:round/>
                    <a:headEnd/>
                    <a:tailEnd/>
                  </a14:hiddenLine>
                </a:ext>
              </a:extLst>
            </p:spPr>
            <p:txBody>
              <a:bodyPr wrap="none" anchor="ctr"/>
              <a:lstStyle/>
              <a:p>
                <a:pPr>
                  <a:defRPr/>
                </a:pPr>
                <a:endParaRPr lang="en-US">
                  <a:solidFill>
                    <a:srgbClr val="000000"/>
                  </a:solidFill>
                  <a:ea typeface="ＭＳ Ｐゴシック" charset="0"/>
                  <a:cs typeface="ＭＳ Ｐゴシック" charset="0"/>
                </a:endParaRPr>
              </a:p>
            </p:txBody>
          </p:sp>
          <p:sp>
            <p:nvSpPr>
              <p:cNvPr id="14370" name="AutoShape 8"/>
              <p:cNvSpPr>
                <a:spLocks noChangeArrowheads="1"/>
              </p:cNvSpPr>
              <p:nvPr/>
            </p:nvSpPr>
            <p:spPr bwMode="auto">
              <a:xfrm rot="5400000" flipV="1">
                <a:off x="1555" y="1450"/>
                <a:ext cx="1670" cy="54"/>
              </a:xfrm>
              <a:custGeom>
                <a:avLst/>
                <a:gdLst>
                  <a:gd name="T0" fmla="*/ 1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73 w 21600"/>
                  <a:gd name="T13" fmla="*/ 2000 h 21600"/>
                  <a:gd name="T14" fmla="*/ 19427 w 21600"/>
                  <a:gd name="T15" fmla="*/ 19600 h 21600"/>
                </a:gdLst>
                <a:ahLst/>
                <a:cxnLst>
                  <a:cxn ang="T8">
                    <a:pos x="T0" y="T1"/>
                  </a:cxn>
                  <a:cxn ang="T9">
                    <a:pos x="T2" y="T3"/>
                  </a:cxn>
                  <a:cxn ang="T10">
                    <a:pos x="T4" y="T5"/>
                  </a:cxn>
                  <a:cxn ang="T11">
                    <a:pos x="T6" y="T7"/>
                  </a:cxn>
                </a:cxnLst>
                <a:rect l="T12" t="T13" r="T14" b="T15"/>
                <a:pathLst>
                  <a:path w="21600" h="21600">
                    <a:moveTo>
                      <a:pt x="0" y="0"/>
                    </a:moveTo>
                    <a:lnTo>
                      <a:pt x="733" y="21600"/>
                    </a:lnTo>
                    <a:lnTo>
                      <a:pt x="20867" y="21600"/>
                    </a:lnTo>
                    <a:lnTo>
                      <a:pt x="21600" y="0"/>
                    </a:lnTo>
                    <a:lnTo>
                      <a:pt x="0" y="0"/>
                    </a:lnTo>
                    <a:close/>
                  </a:path>
                </a:pathLst>
              </a:custGeom>
              <a:solidFill>
                <a:schemeClr val="folHlink"/>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endParaRPr lang="en-US">
                  <a:solidFill>
                    <a:srgbClr val="000000"/>
                  </a:solidFill>
                </a:endParaRPr>
              </a:p>
            </p:txBody>
          </p:sp>
          <p:sp>
            <p:nvSpPr>
              <p:cNvPr id="14371" name="Rectangle 9"/>
              <p:cNvSpPr>
                <a:spLocks noChangeArrowheads="1"/>
              </p:cNvSpPr>
              <p:nvPr/>
            </p:nvSpPr>
            <p:spPr bwMode="auto">
              <a:xfrm>
                <a:off x="2805" y="2249"/>
                <a:ext cx="588" cy="62"/>
              </a:xfrm>
              <a:prstGeom prst="rect">
                <a:avLst/>
              </a:prstGeom>
              <a:solidFill>
                <a:srgbClr val="4D4D4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a:solidFill>
                    <a:srgbClr val="000000"/>
                  </a:solidFill>
                </a:endParaRPr>
              </a:p>
            </p:txBody>
          </p:sp>
        </p:grpSp>
        <p:pic>
          <p:nvPicPr>
            <p:cNvPr id="14365" name="Picture 1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26" y="698"/>
              <a:ext cx="923" cy="15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14345" name="Picture 6"/>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52472" y="3616252"/>
            <a:ext cx="664460" cy="1066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346" name="Picture 9" descr="D:\Temp\db_b_clr_rev_rgb.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71140" y="2852136"/>
            <a:ext cx="859143" cy="10583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347" name="Picture 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44767" y="2239733"/>
            <a:ext cx="1987032" cy="628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348" name="TextBox 64"/>
          <p:cNvSpPr txBox="1">
            <a:spLocks noChangeArrowheads="1"/>
          </p:cNvSpPr>
          <p:nvPr/>
        </p:nvSpPr>
        <p:spPr bwMode="auto">
          <a:xfrm>
            <a:off x="4858601" y="5878827"/>
            <a:ext cx="831634" cy="292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US" sz="1900" b="1" dirty="0">
                <a:solidFill>
                  <a:srgbClr val="000000"/>
                </a:solidFill>
              </a:rPr>
              <a:t>2004</a:t>
            </a:r>
          </a:p>
        </p:txBody>
      </p:sp>
      <p:sp>
        <p:nvSpPr>
          <p:cNvPr id="14349" name="TextBox 65"/>
          <p:cNvSpPr txBox="1">
            <a:spLocks noChangeArrowheads="1"/>
          </p:cNvSpPr>
          <p:nvPr/>
        </p:nvSpPr>
        <p:spPr bwMode="auto">
          <a:xfrm>
            <a:off x="9116230" y="5878827"/>
            <a:ext cx="833749" cy="292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US" sz="1900" b="1" dirty="0" smtClean="0">
                <a:solidFill>
                  <a:srgbClr val="000000"/>
                </a:solidFill>
              </a:rPr>
              <a:t>2011</a:t>
            </a:r>
            <a:endParaRPr lang="en-US" sz="1900" b="1" dirty="0">
              <a:solidFill>
                <a:srgbClr val="000000"/>
              </a:solidFill>
            </a:endParaRPr>
          </a:p>
        </p:txBody>
      </p:sp>
      <p:sp>
        <p:nvSpPr>
          <p:cNvPr id="14350" name="TextBox 66"/>
          <p:cNvSpPr txBox="1">
            <a:spLocks noChangeArrowheads="1"/>
          </p:cNvSpPr>
          <p:nvPr/>
        </p:nvSpPr>
        <p:spPr bwMode="auto">
          <a:xfrm>
            <a:off x="10536139" y="5840352"/>
            <a:ext cx="124427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US" b="1" dirty="0" smtClean="0">
                <a:solidFill>
                  <a:srgbClr val="000000"/>
                </a:solidFill>
              </a:rPr>
              <a:t>2014</a:t>
            </a:r>
            <a:endParaRPr lang="en-US" b="1" dirty="0">
              <a:solidFill>
                <a:srgbClr val="000000"/>
              </a:solidFill>
            </a:endParaRPr>
          </a:p>
        </p:txBody>
      </p:sp>
      <p:sp>
        <p:nvSpPr>
          <p:cNvPr id="70" name="Striped Right Arrow 69"/>
          <p:cNvSpPr>
            <a:spLocks/>
          </p:cNvSpPr>
          <p:nvPr/>
        </p:nvSpPr>
        <p:spPr bwMode="auto">
          <a:xfrm>
            <a:off x="1438959" y="5878971"/>
            <a:ext cx="573468" cy="292100"/>
          </a:xfrm>
          <a:custGeom>
            <a:avLst/>
            <a:gdLst>
              <a:gd name="T0" fmla="*/ 320674 w 429925"/>
              <a:gd name="T1" fmla="*/ 0 h 218932"/>
              <a:gd name="T2" fmla="*/ 0 w 429925"/>
              <a:gd name="T3" fmla="*/ 109538 h 218932"/>
              <a:gd name="T4" fmla="*/ 320674 w 429925"/>
              <a:gd name="T5" fmla="*/ 219075 h 218932"/>
              <a:gd name="T6" fmla="*/ 430213 w 429925"/>
              <a:gd name="T7" fmla="*/ 109538 h 218932"/>
              <a:gd name="T8" fmla="*/ 17694720 60000 65536"/>
              <a:gd name="T9" fmla="*/ 11796480 60000 65536"/>
              <a:gd name="T10" fmla="*/ 5898240 60000 65536"/>
              <a:gd name="T11" fmla="*/ 0 60000 65536"/>
              <a:gd name="T12" fmla="*/ 34208 w 429925"/>
              <a:gd name="T13" fmla="*/ 50753 h 218932"/>
              <a:gd name="T14" fmla="*/ 371212 w 429925"/>
              <a:gd name="T15" fmla="*/ 168179 h 218932"/>
            </a:gdLst>
            <a:ahLst/>
            <a:cxnLst>
              <a:cxn ang="T8">
                <a:pos x="T0" y="T1"/>
              </a:cxn>
              <a:cxn ang="T9">
                <a:pos x="T2" y="T3"/>
              </a:cxn>
              <a:cxn ang="T10">
                <a:pos x="T4" y="T5"/>
              </a:cxn>
              <a:cxn ang="T11">
                <a:pos x="T6" y="T7"/>
              </a:cxn>
            </a:cxnLst>
            <a:rect l="T12" t="T13" r="T14" b="T15"/>
            <a:pathLst>
              <a:path w="429925" h="218932">
                <a:moveTo>
                  <a:pt x="0" y="50753"/>
                </a:moveTo>
                <a:lnTo>
                  <a:pt x="6842" y="50753"/>
                </a:lnTo>
                <a:lnTo>
                  <a:pt x="6842" y="168179"/>
                </a:lnTo>
                <a:lnTo>
                  <a:pt x="0" y="168179"/>
                </a:lnTo>
                <a:close/>
                <a:moveTo>
                  <a:pt x="13683" y="50753"/>
                </a:moveTo>
                <a:lnTo>
                  <a:pt x="27367" y="50753"/>
                </a:lnTo>
                <a:lnTo>
                  <a:pt x="27367" y="168179"/>
                </a:lnTo>
                <a:lnTo>
                  <a:pt x="13683" y="168179"/>
                </a:lnTo>
                <a:close/>
                <a:moveTo>
                  <a:pt x="34208" y="50753"/>
                </a:moveTo>
                <a:lnTo>
                  <a:pt x="320459" y="50753"/>
                </a:lnTo>
                <a:lnTo>
                  <a:pt x="320459" y="0"/>
                </a:lnTo>
                <a:lnTo>
                  <a:pt x="429925" y="109466"/>
                </a:lnTo>
                <a:lnTo>
                  <a:pt x="320459" y="218932"/>
                </a:lnTo>
                <a:lnTo>
                  <a:pt x="320459" y="168179"/>
                </a:lnTo>
                <a:lnTo>
                  <a:pt x="34208" y="168179"/>
                </a:lnTo>
                <a:close/>
              </a:path>
            </a:pathLst>
          </a:custGeom>
          <a:gradFill rotWithShape="1">
            <a:gsLst>
              <a:gs pos="0">
                <a:srgbClr val="FF7979"/>
              </a:gs>
              <a:gs pos="35001">
                <a:srgbClr val="FFA2A2"/>
              </a:gs>
              <a:gs pos="100000">
                <a:srgbClr val="FFD8D8"/>
              </a:gs>
            </a:gsLst>
            <a:lin ang="16200000" scaled="1"/>
          </a:gradFill>
          <a:ln w="9525" cap="flat" cmpd="sng">
            <a:solidFill>
              <a:srgbClr val="FF0E0E"/>
            </a:solidFill>
            <a:prstDash val="solid"/>
            <a:round/>
            <a:headEnd type="none" w="med" len="med"/>
            <a:tailEnd type="none" w="med" len="med"/>
          </a:ln>
          <a:effectLst>
            <a:outerShdw blurRad="63500" dist="20000" dir="5400000" rotWithShape="0">
              <a:srgbClr val="000000">
                <a:alpha val="37999"/>
              </a:srgbClr>
            </a:outerShdw>
          </a:effectLst>
        </p:spPr>
        <p:txBody>
          <a:bodyPr lIns="122731" tIns="61365" rIns="122731" bIns="61365"/>
          <a:lstStyle/>
          <a:p>
            <a:pPr>
              <a:defRPr/>
            </a:pPr>
            <a:endParaRPr lang="en-US">
              <a:solidFill>
                <a:srgbClr val="000000"/>
              </a:solidFill>
              <a:ea typeface="ＭＳ Ｐゴシック" charset="0"/>
              <a:cs typeface="ＭＳ Ｐゴシック" charset="0"/>
            </a:endParaRPr>
          </a:p>
        </p:txBody>
      </p:sp>
      <p:sp>
        <p:nvSpPr>
          <p:cNvPr id="71" name="Striped Right Arrow 70"/>
          <p:cNvSpPr>
            <a:spLocks/>
          </p:cNvSpPr>
          <p:nvPr/>
        </p:nvSpPr>
        <p:spPr bwMode="auto">
          <a:xfrm>
            <a:off x="2858872" y="5878971"/>
            <a:ext cx="573467" cy="292100"/>
          </a:xfrm>
          <a:custGeom>
            <a:avLst/>
            <a:gdLst>
              <a:gd name="T0" fmla="*/ 320673 w 429925"/>
              <a:gd name="T1" fmla="*/ 0 h 218932"/>
              <a:gd name="T2" fmla="*/ 0 w 429925"/>
              <a:gd name="T3" fmla="*/ 109538 h 218932"/>
              <a:gd name="T4" fmla="*/ 320673 w 429925"/>
              <a:gd name="T5" fmla="*/ 219075 h 218932"/>
              <a:gd name="T6" fmla="*/ 430212 w 429925"/>
              <a:gd name="T7" fmla="*/ 109538 h 218932"/>
              <a:gd name="T8" fmla="*/ 17694720 60000 65536"/>
              <a:gd name="T9" fmla="*/ 11796480 60000 65536"/>
              <a:gd name="T10" fmla="*/ 5898240 60000 65536"/>
              <a:gd name="T11" fmla="*/ 0 60000 65536"/>
              <a:gd name="T12" fmla="*/ 34208 w 429925"/>
              <a:gd name="T13" fmla="*/ 50753 h 218932"/>
              <a:gd name="T14" fmla="*/ 371212 w 429925"/>
              <a:gd name="T15" fmla="*/ 168179 h 218932"/>
            </a:gdLst>
            <a:ahLst/>
            <a:cxnLst>
              <a:cxn ang="T8">
                <a:pos x="T0" y="T1"/>
              </a:cxn>
              <a:cxn ang="T9">
                <a:pos x="T2" y="T3"/>
              </a:cxn>
              <a:cxn ang="T10">
                <a:pos x="T4" y="T5"/>
              </a:cxn>
              <a:cxn ang="T11">
                <a:pos x="T6" y="T7"/>
              </a:cxn>
            </a:cxnLst>
            <a:rect l="T12" t="T13" r="T14" b="T15"/>
            <a:pathLst>
              <a:path w="429925" h="218932">
                <a:moveTo>
                  <a:pt x="0" y="50753"/>
                </a:moveTo>
                <a:lnTo>
                  <a:pt x="6842" y="50753"/>
                </a:lnTo>
                <a:lnTo>
                  <a:pt x="6842" y="168179"/>
                </a:lnTo>
                <a:lnTo>
                  <a:pt x="0" y="168179"/>
                </a:lnTo>
                <a:close/>
                <a:moveTo>
                  <a:pt x="13683" y="50753"/>
                </a:moveTo>
                <a:lnTo>
                  <a:pt x="27367" y="50753"/>
                </a:lnTo>
                <a:lnTo>
                  <a:pt x="27367" y="168179"/>
                </a:lnTo>
                <a:lnTo>
                  <a:pt x="13683" y="168179"/>
                </a:lnTo>
                <a:close/>
                <a:moveTo>
                  <a:pt x="34208" y="50753"/>
                </a:moveTo>
                <a:lnTo>
                  <a:pt x="320459" y="50753"/>
                </a:lnTo>
                <a:lnTo>
                  <a:pt x="320459" y="0"/>
                </a:lnTo>
                <a:lnTo>
                  <a:pt x="429925" y="109466"/>
                </a:lnTo>
                <a:lnTo>
                  <a:pt x="320459" y="218932"/>
                </a:lnTo>
                <a:lnTo>
                  <a:pt x="320459" y="168179"/>
                </a:lnTo>
                <a:lnTo>
                  <a:pt x="34208" y="168179"/>
                </a:lnTo>
                <a:close/>
              </a:path>
            </a:pathLst>
          </a:custGeom>
          <a:gradFill rotWithShape="1">
            <a:gsLst>
              <a:gs pos="0">
                <a:srgbClr val="FF7979"/>
              </a:gs>
              <a:gs pos="35001">
                <a:srgbClr val="FFA2A2"/>
              </a:gs>
              <a:gs pos="100000">
                <a:srgbClr val="FFD8D8"/>
              </a:gs>
            </a:gsLst>
            <a:lin ang="16200000" scaled="1"/>
          </a:gradFill>
          <a:ln w="9525" cap="flat" cmpd="sng">
            <a:solidFill>
              <a:srgbClr val="FF0E0E"/>
            </a:solidFill>
            <a:prstDash val="solid"/>
            <a:round/>
            <a:headEnd type="none" w="med" len="med"/>
            <a:tailEnd type="none" w="med" len="med"/>
          </a:ln>
          <a:effectLst>
            <a:outerShdw blurRad="63500" dist="20000" dir="5400000" rotWithShape="0">
              <a:srgbClr val="000000">
                <a:alpha val="37999"/>
              </a:srgbClr>
            </a:outerShdw>
          </a:effectLst>
        </p:spPr>
        <p:txBody>
          <a:bodyPr lIns="122731" tIns="61365" rIns="122731" bIns="61365"/>
          <a:lstStyle/>
          <a:p>
            <a:pPr>
              <a:defRPr/>
            </a:pPr>
            <a:endParaRPr lang="en-US">
              <a:solidFill>
                <a:srgbClr val="000000"/>
              </a:solidFill>
              <a:ea typeface="ＭＳ Ｐゴシック" charset="0"/>
              <a:cs typeface="ＭＳ Ｐゴシック" charset="0"/>
            </a:endParaRPr>
          </a:p>
        </p:txBody>
      </p:sp>
      <p:sp>
        <p:nvSpPr>
          <p:cNvPr id="72" name="Striped Right Arrow 71"/>
          <p:cNvSpPr>
            <a:spLocks/>
          </p:cNvSpPr>
          <p:nvPr/>
        </p:nvSpPr>
        <p:spPr bwMode="auto">
          <a:xfrm>
            <a:off x="4278790" y="5878971"/>
            <a:ext cx="571351" cy="292100"/>
          </a:xfrm>
          <a:custGeom>
            <a:avLst/>
            <a:gdLst>
              <a:gd name="T0" fmla="*/ 319490 w 429925"/>
              <a:gd name="T1" fmla="*/ 0 h 218932"/>
              <a:gd name="T2" fmla="*/ 0 w 429925"/>
              <a:gd name="T3" fmla="*/ 109538 h 218932"/>
              <a:gd name="T4" fmla="*/ 319490 w 429925"/>
              <a:gd name="T5" fmla="*/ 219075 h 218932"/>
              <a:gd name="T6" fmla="*/ 428625 w 429925"/>
              <a:gd name="T7" fmla="*/ 109538 h 218932"/>
              <a:gd name="T8" fmla="*/ 17694720 60000 65536"/>
              <a:gd name="T9" fmla="*/ 11796480 60000 65536"/>
              <a:gd name="T10" fmla="*/ 5898240 60000 65536"/>
              <a:gd name="T11" fmla="*/ 0 60000 65536"/>
              <a:gd name="T12" fmla="*/ 34208 w 429925"/>
              <a:gd name="T13" fmla="*/ 50753 h 218932"/>
              <a:gd name="T14" fmla="*/ 371212 w 429925"/>
              <a:gd name="T15" fmla="*/ 168179 h 218932"/>
            </a:gdLst>
            <a:ahLst/>
            <a:cxnLst>
              <a:cxn ang="T8">
                <a:pos x="T0" y="T1"/>
              </a:cxn>
              <a:cxn ang="T9">
                <a:pos x="T2" y="T3"/>
              </a:cxn>
              <a:cxn ang="T10">
                <a:pos x="T4" y="T5"/>
              </a:cxn>
              <a:cxn ang="T11">
                <a:pos x="T6" y="T7"/>
              </a:cxn>
            </a:cxnLst>
            <a:rect l="T12" t="T13" r="T14" b="T15"/>
            <a:pathLst>
              <a:path w="429925" h="218932">
                <a:moveTo>
                  <a:pt x="0" y="50753"/>
                </a:moveTo>
                <a:lnTo>
                  <a:pt x="6842" y="50753"/>
                </a:lnTo>
                <a:lnTo>
                  <a:pt x="6842" y="168179"/>
                </a:lnTo>
                <a:lnTo>
                  <a:pt x="0" y="168179"/>
                </a:lnTo>
                <a:close/>
                <a:moveTo>
                  <a:pt x="13683" y="50753"/>
                </a:moveTo>
                <a:lnTo>
                  <a:pt x="27367" y="50753"/>
                </a:lnTo>
                <a:lnTo>
                  <a:pt x="27367" y="168179"/>
                </a:lnTo>
                <a:lnTo>
                  <a:pt x="13683" y="168179"/>
                </a:lnTo>
                <a:close/>
                <a:moveTo>
                  <a:pt x="34208" y="50753"/>
                </a:moveTo>
                <a:lnTo>
                  <a:pt x="320459" y="50753"/>
                </a:lnTo>
                <a:lnTo>
                  <a:pt x="320459" y="0"/>
                </a:lnTo>
                <a:lnTo>
                  <a:pt x="429925" y="109466"/>
                </a:lnTo>
                <a:lnTo>
                  <a:pt x="320459" y="218932"/>
                </a:lnTo>
                <a:lnTo>
                  <a:pt x="320459" y="168179"/>
                </a:lnTo>
                <a:lnTo>
                  <a:pt x="34208" y="168179"/>
                </a:lnTo>
                <a:close/>
              </a:path>
            </a:pathLst>
          </a:custGeom>
          <a:gradFill rotWithShape="1">
            <a:gsLst>
              <a:gs pos="0">
                <a:srgbClr val="FF7979"/>
              </a:gs>
              <a:gs pos="35001">
                <a:srgbClr val="FFA2A2"/>
              </a:gs>
              <a:gs pos="100000">
                <a:srgbClr val="FFD8D8"/>
              </a:gs>
            </a:gsLst>
            <a:lin ang="16200000" scaled="1"/>
          </a:gradFill>
          <a:ln w="9525" cap="flat" cmpd="sng">
            <a:solidFill>
              <a:srgbClr val="FF0E0E"/>
            </a:solidFill>
            <a:prstDash val="solid"/>
            <a:round/>
            <a:headEnd type="none" w="med" len="med"/>
            <a:tailEnd type="none" w="med" len="med"/>
          </a:ln>
          <a:effectLst>
            <a:outerShdw blurRad="63500" dist="20000" dir="5400000" rotWithShape="0">
              <a:srgbClr val="000000">
                <a:alpha val="37999"/>
              </a:srgbClr>
            </a:outerShdw>
          </a:effectLst>
        </p:spPr>
        <p:txBody>
          <a:bodyPr lIns="122731" tIns="61365" rIns="122731" bIns="61365"/>
          <a:lstStyle/>
          <a:p>
            <a:pPr>
              <a:defRPr/>
            </a:pPr>
            <a:endParaRPr lang="en-US">
              <a:solidFill>
                <a:srgbClr val="000000"/>
              </a:solidFill>
              <a:ea typeface="ＭＳ Ｐゴシック" charset="0"/>
              <a:cs typeface="ＭＳ Ｐゴシック" charset="0"/>
            </a:endParaRPr>
          </a:p>
        </p:txBody>
      </p:sp>
      <p:sp>
        <p:nvSpPr>
          <p:cNvPr id="73" name="Striped Right Arrow 72"/>
          <p:cNvSpPr>
            <a:spLocks/>
          </p:cNvSpPr>
          <p:nvPr/>
        </p:nvSpPr>
        <p:spPr bwMode="auto">
          <a:xfrm>
            <a:off x="5696583" y="5878971"/>
            <a:ext cx="573468" cy="292100"/>
          </a:xfrm>
          <a:custGeom>
            <a:avLst/>
            <a:gdLst>
              <a:gd name="T0" fmla="*/ 320674 w 429925"/>
              <a:gd name="T1" fmla="*/ 0 h 218932"/>
              <a:gd name="T2" fmla="*/ 0 w 429925"/>
              <a:gd name="T3" fmla="*/ 109538 h 218932"/>
              <a:gd name="T4" fmla="*/ 320674 w 429925"/>
              <a:gd name="T5" fmla="*/ 219075 h 218932"/>
              <a:gd name="T6" fmla="*/ 430213 w 429925"/>
              <a:gd name="T7" fmla="*/ 109538 h 218932"/>
              <a:gd name="T8" fmla="*/ 17694720 60000 65536"/>
              <a:gd name="T9" fmla="*/ 11796480 60000 65536"/>
              <a:gd name="T10" fmla="*/ 5898240 60000 65536"/>
              <a:gd name="T11" fmla="*/ 0 60000 65536"/>
              <a:gd name="T12" fmla="*/ 34208 w 429925"/>
              <a:gd name="T13" fmla="*/ 50753 h 218932"/>
              <a:gd name="T14" fmla="*/ 371212 w 429925"/>
              <a:gd name="T15" fmla="*/ 168179 h 218932"/>
            </a:gdLst>
            <a:ahLst/>
            <a:cxnLst>
              <a:cxn ang="T8">
                <a:pos x="T0" y="T1"/>
              </a:cxn>
              <a:cxn ang="T9">
                <a:pos x="T2" y="T3"/>
              </a:cxn>
              <a:cxn ang="T10">
                <a:pos x="T4" y="T5"/>
              </a:cxn>
              <a:cxn ang="T11">
                <a:pos x="T6" y="T7"/>
              </a:cxn>
            </a:cxnLst>
            <a:rect l="T12" t="T13" r="T14" b="T15"/>
            <a:pathLst>
              <a:path w="429925" h="218932">
                <a:moveTo>
                  <a:pt x="0" y="50753"/>
                </a:moveTo>
                <a:lnTo>
                  <a:pt x="6842" y="50753"/>
                </a:lnTo>
                <a:lnTo>
                  <a:pt x="6842" y="168179"/>
                </a:lnTo>
                <a:lnTo>
                  <a:pt x="0" y="168179"/>
                </a:lnTo>
                <a:close/>
                <a:moveTo>
                  <a:pt x="13683" y="50753"/>
                </a:moveTo>
                <a:lnTo>
                  <a:pt x="27367" y="50753"/>
                </a:lnTo>
                <a:lnTo>
                  <a:pt x="27367" y="168179"/>
                </a:lnTo>
                <a:lnTo>
                  <a:pt x="13683" y="168179"/>
                </a:lnTo>
                <a:close/>
                <a:moveTo>
                  <a:pt x="34208" y="50753"/>
                </a:moveTo>
                <a:lnTo>
                  <a:pt x="320459" y="50753"/>
                </a:lnTo>
                <a:lnTo>
                  <a:pt x="320459" y="0"/>
                </a:lnTo>
                <a:lnTo>
                  <a:pt x="429925" y="109466"/>
                </a:lnTo>
                <a:lnTo>
                  <a:pt x="320459" y="218932"/>
                </a:lnTo>
                <a:lnTo>
                  <a:pt x="320459" y="168179"/>
                </a:lnTo>
                <a:lnTo>
                  <a:pt x="34208" y="168179"/>
                </a:lnTo>
                <a:close/>
              </a:path>
            </a:pathLst>
          </a:custGeom>
          <a:gradFill rotWithShape="1">
            <a:gsLst>
              <a:gs pos="0">
                <a:srgbClr val="FF7979"/>
              </a:gs>
              <a:gs pos="35001">
                <a:srgbClr val="FFA2A2"/>
              </a:gs>
              <a:gs pos="100000">
                <a:srgbClr val="FFD8D8"/>
              </a:gs>
            </a:gsLst>
            <a:lin ang="16200000" scaled="1"/>
          </a:gradFill>
          <a:ln w="9525" cap="flat" cmpd="sng">
            <a:solidFill>
              <a:srgbClr val="FF0E0E"/>
            </a:solidFill>
            <a:prstDash val="solid"/>
            <a:round/>
            <a:headEnd type="none" w="med" len="med"/>
            <a:tailEnd type="none" w="med" len="med"/>
          </a:ln>
          <a:effectLst>
            <a:outerShdw blurRad="63500" dist="20000" dir="5400000" rotWithShape="0">
              <a:srgbClr val="000000">
                <a:alpha val="37999"/>
              </a:srgbClr>
            </a:outerShdw>
          </a:effectLst>
        </p:spPr>
        <p:txBody>
          <a:bodyPr lIns="122731" tIns="61365" rIns="122731" bIns="61365"/>
          <a:lstStyle/>
          <a:p>
            <a:pPr>
              <a:defRPr/>
            </a:pPr>
            <a:endParaRPr lang="en-US">
              <a:solidFill>
                <a:srgbClr val="000000"/>
              </a:solidFill>
              <a:ea typeface="ＭＳ Ｐゴシック" charset="0"/>
              <a:cs typeface="ＭＳ Ｐゴシック" charset="0"/>
            </a:endParaRPr>
          </a:p>
        </p:txBody>
      </p:sp>
      <p:sp>
        <p:nvSpPr>
          <p:cNvPr id="74" name="Striped Right Arrow 73"/>
          <p:cNvSpPr>
            <a:spLocks/>
          </p:cNvSpPr>
          <p:nvPr/>
        </p:nvSpPr>
        <p:spPr bwMode="auto">
          <a:xfrm>
            <a:off x="7116498" y="5878971"/>
            <a:ext cx="573467" cy="292100"/>
          </a:xfrm>
          <a:custGeom>
            <a:avLst/>
            <a:gdLst>
              <a:gd name="T0" fmla="*/ 320673 w 429925"/>
              <a:gd name="T1" fmla="*/ 0 h 218932"/>
              <a:gd name="T2" fmla="*/ 0 w 429925"/>
              <a:gd name="T3" fmla="*/ 109538 h 218932"/>
              <a:gd name="T4" fmla="*/ 320673 w 429925"/>
              <a:gd name="T5" fmla="*/ 219075 h 218932"/>
              <a:gd name="T6" fmla="*/ 430212 w 429925"/>
              <a:gd name="T7" fmla="*/ 109538 h 218932"/>
              <a:gd name="T8" fmla="*/ 17694720 60000 65536"/>
              <a:gd name="T9" fmla="*/ 11796480 60000 65536"/>
              <a:gd name="T10" fmla="*/ 5898240 60000 65536"/>
              <a:gd name="T11" fmla="*/ 0 60000 65536"/>
              <a:gd name="T12" fmla="*/ 34208 w 429925"/>
              <a:gd name="T13" fmla="*/ 50753 h 218932"/>
              <a:gd name="T14" fmla="*/ 371212 w 429925"/>
              <a:gd name="T15" fmla="*/ 168179 h 218932"/>
            </a:gdLst>
            <a:ahLst/>
            <a:cxnLst>
              <a:cxn ang="T8">
                <a:pos x="T0" y="T1"/>
              </a:cxn>
              <a:cxn ang="T9">
                <a:pos x="T2" y="T3"/>
              </a:cxn>
              <a:cxn ang="T10">
                <a:pos x="T4" y="T5"/>
              </a:cxn>
              <a:cxn ang="T11">
                <a:pos x="T6" y="T7"/>
              </a:cxn>
            </a:cxnLst>
            <a:rect l="T12" t="T13" r="T14" b="T15"/>
            <a:pathLst>
              <a:path w="429925" h="218932">
                <a:moveTo>
                  <a:pt x="0" y="50753"/>
                </a:moveTo>
                <a:lnTo>
                  <a:pt x="6842" y="50753"/>
                </a:lnTo>
                <a:lnTo>
                  <a:pt x="6842" y="168179"/>
                </a:lnTo>
                <a:lnTo>
                  <a:pt x="0" y="168179"/>
                </a:lnTo>
                <a:close/>
                <a:moveTo>
                  <a:pt x="13683" y="50753"/>
                </a:moveTo>
                <a:lnTo>
                  <a:pt x="27367" y="50753"/>
                </a:lnTo>
                <a:lnTo>
                  <a:pt x="27367" y="168179"/>
                </a:lnTo>
                <a:lnTo>
                  <a:pt x="13683" y="168179"/>
                </a:lnTo>
                <a:close/>
                <a:moveTo>
                  <a:pt x="34208" y="50753"/>
                </a:moveTo>
                <a:lnTo>
                  <a:pt x="320459" y="50753"/>
                </a:lnTo>
                <a:lnTo>
                  <a:pt x="320459" y="0"/>
                </a:lnTo>
                <a:lnTo>
                  <a:pt x="429925" y="109466"/>
                </a:lnTo>
                <a:lnTo>
                  <a:pt x="320459" y="218932"/>
                </a:lnTo>
                <a:lnTo>
                  <a:pt x="320459" y="168179"/>
                </a:lnTo>
                <a:lnTo>
                  <a:pt x="34208" y="168179"/>
                </a:lnTo>
                <a:close/>
              </a:path>
            </a:pathLst>
          </a:custGeom>
          <a:gradFill rotWithShape="1">
            <a:gsLst>
              <a:gs pos="0">
                <a:srgbClr val="FF7979"/>
              </a:gs>
              <a:gs pos="35001">
                <a:srgbClr val="FFA2A2"/>
              </a:gs>
              <a:gs pos="100000">
                <a:srgbClr val="FFD8D8"/>
              </a:gs>
            </a:gsLst>
            <a:lin ang="16200000" scaled="1"/>
          </a:gradFill>
          <a:ln w="9525" cap="flat" cmpd="sng">
            <a:solidFill>
              <a:srgbClr val="FF0E0E"/>
            </a:solidFill>
            <a:prstDash val="solid"/>
            <a:round/>
            <a:headEnd type="none" w="med" len="med"/>
            <a:tailEnd type="none" w="med" len="med"/>
          </a:ln>
          <a:effectLst>
            <a:outerShdw blurRad="63500" dist="20000" dir="5400000" rotWithShape="0">
              <a:srgbClr val="000000">
                <a:alpha val="37999"/>
              </a:srgbClr>
            </a:outerShdw>
          </a:effectLst>
        </p:spPr>
        <p:txBody>
          <a:bodyPr lIns="122731" tIns="61365" rIns="122731" bIns="61365"/>
          <a:lstStyle/>
          <a:p>
            <a:pPr>
              <a:defRPr/>
            </a:pPr>
            <a:endParaRPr lang="en-US">
              <a:solidFill>
                <a:srgbClr val="000000"/>
              </a:solidFill>
              <a:ea typeface="ＭＳ Ｐゴシック" charset="0"/>
              <a:cs typeface="ＭＳ Ｐゴシック" charset="0"/>
            </a:endParaRPr>
          </a:p>
        </p:txBody>
      </p:sp>
      <p:sp>
        <p:nvSpPr>
          <p:cNvPr id="75" name="Striped Right Arrow 74"/>
          <p:cNvSpPr>
            <a:spLocks/>
          </p:cNvSpPr>
          <p:nvPr/>
        </p:nvSpPr>
        <p:spPr bwMode="auto">
          <a:xfrm>
            <a:off x="8536410" y="5878971"/>
            <a:ext cx="573468" cy="292100"/>
          </a:xfrm>
          <a:custGeom>
            <a:avLst/>
            <a:gdLst>
              <a:gd name="T0" fmla="*/ 320674 w 429925"/>
              <a:gd name="T1" fmla="*/ 0 h 218932"/>
              <a:gd name="T2" fmla="*/ 0 w 429925"/>
              <a:gd name="T3" fmla="*/ 109538 h 218932"/>
              <a:gd name="T4" fmla="*/ 320674 w 429925"/>
              <a:gd name="T5" fmla="*/ 219075 h 218932"/>
              <a:gd name="T6" fmla="*/ 430213 w 429925"/>
              <a:gd name="T7" fmla="*/ 109538 h 218932"/>
              <a:gd name="T8" fmla="*/ 17694720 60000 65536"/>
              <a:gd name="T9" fmla="*/ 11796480 60000 65536"/>
              <a:gd name="T10" fmla="*/ 5898240 60000 65536"/>
              <a:gd name="T11" fmla="*/ 0 60000 65536"/>
              <a:gd name="T12" fmla="*/ 34208 w 429925"/>
              <a:gd name="T13" fmla="*/ 50753 h 218932"/>
              <a:gd name="T14" fmla="*/ 371212 w 429925"/>
              <a:gd name="T15" fmla="*/ 168179 h 218932"/>
            </a:gdLst>
            <a:ahLst/>
            <a:cxnLst>
              <a:cxn ang="T8">
                <a:pos x="T0" y="T1"/>
              </a:cxn>
              <a:cxn ang="T9">
                <a:pos x="T2" y="T3"/>
              </a:cxn>
              <a:cxn ang="T10">
                <a:pos x="T4" y="T5"/>
              </a:cxn>
              <a:cxn ang="T11">
                <a:pos x="T6" y="T7"/>
              </a:cxn>
            </a:cxnLst>
            <a:rect l="T12" t="T13" r="T14" b="T15"/>
            <a:pathLst>
              <a:path w="429925" h="218932">
                <a:moveTo>
                  <a:pt x="0" y="50753"/>
                </a:moveTo>
                <a:lnTo>
                  <a:pt x="6842" y="50753"/>
                </a:lnTo>
                <a:lnTo>
                  <a:pt x="6842" y="168179"/>
                </a:lnTo>
                <a:lnTo>
                  <a:pt x="0" y="168179"/>
                </a:lnTo>
                <a:close/>
                <a:moveTo>
                  <a:pt x="13683" y="50753"/>
                </a:moveTo>
                <a:lnTo>
                  <a:pt x="27367" y="50753"/>
                </a:lnTo>
                <a:lnTo>
                  <a:pt x="27367" y="168179"/>
                </a:lnTo>
                <a:lnTo>
                  <a:pt x="13683" y="168179"/>
                </a:lnTo>
                <a:close/>
                <a:moveTo>
                  <a:pt x="34208" y="50753"/>
                </a:moveTo>
                <a:lnTo>
                  <a:pt x="320459" y="50753"/>
                </a:lnTo>
                <a:lnTo>
                  <a:pt x="320459" y="0"/>
                </a:lnTo>
                <a:lnTo>
                  <a:pt x="429925" y="109466"/>
                </a:lnTo>
                <a:lnTo>
                  <a:pt x="320459" y="218932"/>
                </a:lnTo>
                <a:lnTo>
                  <a:pt x="320459" y="168179"/>
                </a:lnTo>
                <a:lnTo>
                  <a:pt x="34208" y="168179"/>
                </a:lnTo>
                <a:close/>
              </a:path>
            </a:pathLst>
          </a:custGeom>
          <a:gradFill rotWithShape="1">
            <a:gsLst>
              <a:gs pos="0">
                <a:srgbClr val="FF7979"/>
              </a:gs>
              <a:gs pos="35001">
                <a:srgbClr val="FFA2A2"/>
              </a:gs>
              <a:gs pos="100000">
                <a:srgbClr val="FFD8D8"/>
              </a:gs>
            </a:gsLst>
            <a:lin ang="16200000" scaled="1"/>
          </a:gradFill>
          <a:ln w="9525" cap="flat" cmpd="sng">
            <a:solidFill>
              <a:srgbClr val="FF0E0E"/>
            </a:solidFill>
            <a:prstDash val="solid"/>
            <a:round/>
            <a:headEnd type="none" w="med" len="med"/>
            <a:tailEnd type="none" w="med" len="med"/>
          </a:ln>
          <a:effectLst>
            <a:outerShdw blurRad="63500" dist="20000" dir="5400000" rotWithShape="0">
              <a:srgbClr val="000000">
                <a:alpha val="37999"/>
              </a:srgbClr>
            </a:outerShdw>
          </a:effectLst>
        </p:spPr>
        <p:txBody>
          <a:bodyPr lIns="122731" tIns="61365" rIns="122731" bIns="61365"/>
          <a:lstStyle/>
          <a:p>
            <a:pPr>
              <a:defRPr/>
            </a:pPr>
            <a:endParaRPr lang="en-US">
              <a:solidFill>
                <a:srgbClr val="000000"/>
              </a:solidFill>
              <a:ea typeface="ＭＳ Ｐゴシック" charset="0"/>
              <a:cs typeface="ＭＳ Ｐゴシック" charset="0"/>
            </a:endParaRPr>
          </a:p>
        </p:txBody>
      </p:sp>
      <p:sp>
        <p:nvSpPr>
          <p:cNvPr id="76" name="Striped Right Arrow 75"/>
          <p:cNvSpPr>
            <a:spLocks/>
          </p:cNvSpPr>
          <p:nvPr/>
        </p:nvSpPr>
        <p:spPr bwMode="auto">
          <a:xfrm>
            <a:off x="9956325" y="5878971"/>
            <a:ext cx="573467" cy="292100"/>
          </a:xfrm>
          <a:custGeom>
            <a:avLst/>
            <a:gdLst>
              <a:gd name="T0" fmla="*/ 320673 w 429925"/>
              <a:gd name="T1" fmla="*/ 0 h 218932"/>
              <a:gd name="T2" fmla="*/ 0 w 429925"/>
              <a:gd name="T3" fmla="*/ 109538 h 218932"/>
              <a:gd name="T4" fmla="*/ 320673 w 429925"/>
              <a:gd name="T5" fmla="*/ 219075 h 218932"/>
              <a:gd name="T6" fmla="*/ 430212 w 429925"/>
              <a:gd name="T7" fmla="*/ 109538 h 218932"/>
              <a:gd name="T8" fmla="*/ 17694720 60000 65536"/>
              <a:gd name="T9" fmla="*/ 11796480 60000 65536"/>
              <a:gd name="T10" fmla="*/ 5898240 60000 65536"/>
              <a:gd name="T11" fmla="*/ 0 60000 65536"/>
              <a:gd name="T12" fmla="*/ 34208 w 429925"/>
              <a:gd name="T13" fmla="*/ 50753 h 218932"/>
              <a:gd name="T14" fmla="*/ 371212 w 429925"/>
              <a:gd name="T15" fmla="*/ 168179 h 218932"/>
            </a:gdLst>
            <a:ahLst/>
            <a:cxnLst>
              <a:cxn ang="T8">
                <a:pos x="T0" y="T1"/>
              </a:cxn>
              <a:cxn ang="T9">
                <a:pos x="T2" y="T3"/>
              </a:cxn>
              <a:cxn ang="T10">
                <a:pos x="T4" y="T5"/>
              </a:cxn>
              <a:cxn ang="T11">
                <a:pos x="T6" y="T7"/>
              </a:cxn>
            </a:cxnLst>
            <a:rect l="T12" t="T13" r="T14" b="T15"/>
            <a:pathLst>
              <a:path w="429925" h="218932">
                <a:moveTo>
                  <a:pt x="0" y="50753"/>
                </a:moveTo>
                <a:lnTo>
                  <a:pt x="6842" y="50753"/>
                </a:lnTo>
                <a:lnTo>
                  <a:pt x="6842" y="168179"/>
                </a:lnTo>
                <a:lnTo>
                  <a:pt x="0" y="168179"/>
                </a:lnTo>
                <a:close/>
                <a:moveTo>
                  <a:pt x="13683" y="50753"/>
                </a:moveTo>
                <a:lnTo>
                  <a:pt x="27367" y="50753"/>
                </a:lnTo>
                <a:lnTo>
                  <a:pt x="27367" y="168179"/>
                </a:lnTo>
                <a:lnTo>
                  <a:pt x="13683" y="168179"/>
                </a:lnTo>
                <a:close/>
                <a:moveTo>
                  <a:pt x="34208" y="50753"/>
                </a:moveTo>
                <a:lnTo>
                  <a:pt x="320459" y="50753"/>
                </a:lnTo>
                <a:lnTo>
                  <a:pt x="320459" y="0"/>
                </a:lnTo>
                <a:lnTo>
                  <a:pt x="429925" y="109466"/>
                </a:lnTo>
                <a:lnTo>
                  <a:pt x="320459" y="218932"/>
                </a:lnTo>
                <a:lnTo>
                  <a:pt x="320459" y="168179"/>
                </a:lnTo>
                <a:lnTo>
                  <a:pt x="34208" y="168179"/>
                </a:lnTo>
                <a:close/>
              </a:path>
            </a:pathLst>
          </a:custGeom>
          <a:gradFill rotWithShape="1">
            <a:gsLst>
              <a:gs pos="0">
                <a:srgbClr val="FF7979"/>
              </a:gs>
              <a:gs pos="35001">
                <a:srgbClr val="FFA2A2"/>
              </a:gs>
              <a:gs pos="100000">
                <a:srgbClr val="FFD8D8"/>
              </a:gs>
            </a:gsLst>
            <a:lin ang="16200000" scaled="1"/>
          </a:gradFill>
          <a:ln w="9525" cap="flat" cmpd="sng">
            <a:solidFill>
              <a:srgbClr val="FF0E0E"/>
            </a:solidFill>
            <a:prstDash val="solid"/>
            <a:round/>
            <a:headEnd type="none" w="med" len="med"/>
            <a:tailEnd type="none" w="med" len="med"/>
          </a:ln>
          <a:effectLst>
            <a:outerShdw blurRad="63500" dist="20000" dir="5400000" rotWithShape="0">
              <a:srgbClr val="000000">
                <a:alpha val="37999"/>
              </a:srgbClr>
            </a:outerShdw>
          </a:effectLst>
        </p:spPr>
        <p:txBody>
          <a:bodyPr lIns="122731" tIns="61365" rIns="122731" bIns="61365"/>
          <a:lstStyle/>
          <a:p>
            <a:pPr>
              <a:defRPr/>
            </a:pPr>
            <a:endParaRPr lang="en-US">
              <a:solidFill>
                <a:srgbClr val="000000"/>
              </a:solidFill>
              <a:ea typeface="ＭＳ Ｐゴシック" charset="0"/>
              <a:cs typeface="ＭＳ Ｐゴシック" charset="0"/>
            </a:endParaRPr>
          </a:p>
        </p:txBody>
      </p:sp>
      <p:pic>
        <p:nvPicPr>
          <p:cNvPr id="40" name="Picture 39"/>
          <p:cNvPicPr>
            <a:picLocks noChangeAspect="1"/>
          </p:cNvPicPr>
          <p:nvPr/>
        </p:nvPicPr>
        <p:blipFill>
          <a:blip r:embed="rId8" cstate="print"/>
          <a:stretch>
            <a:fillRect/>
          </a:stretch>
        </p:blipFill>
        <p:spPr>
          <a:xfrm>
            <a:off x="9675812" y="990600"/>
            <a:ext cx="2297011" cy="700093"/>
          </a:xfrm>
          <a:prstGeom prst="rect">
            <a:avLst/>
          </a:prstGeom>
          <a:ln>
            <a:noFill/>
          </a:ln>
          <a:effectLst>
            <a:outerShdw blurRad="292100" dist="139700" dir="2700000" algn="tl" rotWithShape="0">
              <a:srgbClr val="333333">
                <a:alpha val="65000"/>
              </a:srgbClr>
            </a:outerShdw>
          </a:effectLst>
        </p:spPr>
      </p:pic>
      <p:sp>
        <p:nvSpPr>
          <p:cNvPr id="13335" name="TextBox 23"/>
          <p:cNvSpPr txBox="1">
            <a:spLocks noChangeArrowheads="1"/>
          </p:cNvSpPr>
          <p:nvPr/>
        </p:nvSpPr>
        <p:spPr bwMode="auto">
          <a:xfrm>
            <a:off x="253769" y="5428124"/>
            <a:ext cx="2003962"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marL="112713" indent="-112713"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spcBef>
                <a:spcPts val="267"/>
              </a:spcBef>
              <a:buFont typeface="Arial" charset="0"/>
              <a:buChar char="•"/>
            </a:pPr>
            <a:r>
              <a:rPr lang="en-US" sz="1500" b="1" i="1" dirty="0" smtClean="0">
                <a:solidFill>
                  <a:srgbClr val="0070C0"/>
                </a:solidFill>
                <a:cs typeface="Arial" charset="0"/>
              </a:rPr>
              <a:t>7 Data Mining “Partners”</a:t>
            </a:r>
            <a:endParaRPr lang="en-US" sz="1500" b="1" i="1" dirty="0">
              <a:solidFill>
                <a:srgbClr val="0070C0"/>
              </a:solidFill>
              <a:cs typeface="Arial" charset="0"/>
            </a:endParaRPr>
          </a:p>
        </p:txBody>
      </p:sp>
      <p:sp>
        <p:nvSpPr>
          <p:cNvPr id="13336" name="TextBox 22"/>
          <p:cNvSpPr txBox="1">
            <a:spLocks noChangeArrowheads="1"/>
          </p:cNvSpPr>
          <p:nvPr/>
        </p:nvSpPr>
        <p:spPr bwMode="auto">
          <a:xfrm>
            <a:off x="1617140" y="4785860"/>
            <a:ext cx="2353288" cy="14106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112713" indent="-112713"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spcBef>
                <a:spcPts val="267"/>
              </a:spcBef>
              <a:buFont typeface="Arial" charset="0"/>
              <a:buChar char="•"/>
            </a:pPr>
            <a:r>
              <a:rPr lang="en-US" sz="1500" b="1" i="1" dirty="0" smtClean="0">
                <a:solidFill>
                  <a:srgbClr val="0070C0"/>
                </a:solidFill>
                <a:cs typeface="Arial" charset="0"/>
              </a:rPr>
              <a:t>Oracle acquires </a:t>
            </a:r>
            <a:br>
              <a:rPr lang="en-US" sz="1500" b="1" i="1" dirty="0" smtClean="0">
                <a:solidFill>
                  <a:srgbClr val="0070C0"/>
                </a:solidFill>
                <a:cs typeface="Arial" charset="0"/>
              </a:rPr>
            </a:br>
            <a:r>
              <a:rPr lang="en-US" sz="1500" b="1" i="1" dirty="0" smtClean="0">
                <a:solidFill>
                  <a:srgbClr val="0070C0"/>
                </a:solidFill>
                <a:cs typeface="Arial" charset="0"/>
              </a:rPr>
              <a:t>Thinking Machine Corp’s dev. team + “Darwin” data </a:t>
            </a:r>
            <a:br>
              <a:rPr lang="en-US" sz="1500" b="1" i="1" dirty="0" smtClean="0">
                <a:solidFill>
                  <a:srgbClr val="0070C0"/>
                </a:solidFill>
                <a:cs typeface="Arial" charset="0"/>
              </a:rPr>
            </a:br>
            <a:r>
              <a:rPr lang="en-US" sz="1500" b="1" i="1" dirty="0" smtClean="0">
                <a:solidFill>
                  <a:srgbClr val="0070C0"/>
                </a:solidFill>
                <a:cs typeface="Arial" charset="0"/>
              </a:rPr>
              <a:t>mining software</a:t>
            </a:r>
            <a:endParaRPr lang="en-US" sz="1500" b="1" i="1" dirty="0">
              <a:solidFill>
                <a:srgbClr val="0070C0"/>
              </a:solidFill>
              <a:cs typeface="Arial" charset="0"/>
            </a:endParaRPr>
          </a:p>
          <a:p>
            <a:pPr algn="ctr" eaLnBrk="1" hangingPunct="1">
              <a:spcBef>
                <a:spcPts val="267"/>
              </a:spcBef>
              <a:buFont typeface="Arial" charset="0"/>
              <a:buChar char="•"/>
            </a:pPr>
            <a:endParaRPr lang="en-US" sz="1500" b="1" i="1" dirty="0">
              <a:solidFill>
                <a:srgbClr val="0070C0"/>
              </a:solidFill>
              <a:cs typeface="Arial" charset="0"/>
            </a:endParaRPr>
          </a:p>
        </p:txBody>
      </p:sp>
      <p:sp>
        <p:nvSpPr>
          <p:cNvPr id="13337" name="TextBox 35"/>
          <p:cNvSpPr txBox="1">
            <a:spLocks noChangeArrowheads="1"/>
          </p:cNvSpPr>
          <p:nvPr/>
        </p:nvSpPr>
        <p:spPr bwMode="auto">
          <a:xfrm>
            <a:off x="5346189" y="3948849"/>
            <a:ext cx="2087789" cy="18851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112713" indent="-112713"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spcBef>
                <a:spcPts val="267"/>
              </a:spcBef>
              <a:buFont typeface="Arial" charset="0"/>
              <a:buChar char="•"/>
            </a:pPr>
            <a:r>
              <a:rPr lang="en-US" sz="1500" b="1" i="1" dirty="0" smtClean="0">
                <a:solidFill>
                  <a:srgbClr val="0070C0"/>
                </a:solidFill>
                <a:cs typeface="Arial" charset="0"/>
              </a:rPr>
              <a:t>Oracle Data Mining 10gR2 SQL - 7 new SQL dm algorithms and new Oracle Data Miner “Classic” wizards driven GUI</a:t>
            </a:r>
          </a:p>
          <a:p>
            <a:pPr eaLnBrk="1" hangingPunct="1">
              <a:spcBef>
                <a:spcPts val="267"/>
              </a:spcBef>
              <a:buFont typeface="Arial" charset="0"/>
              <a:buChar char="•"/>
            </a:pPr>
            <a:r>
              <a:rPr lang="en-US" sz="1500" b="1" i="1" dirty="0" smtClean="0">
                <a:solidFill>
                  <a:srgbClr val="0070C0"/>
                </a:solidFill>
                <a:cs typeface="Arial" charset="0"/>
              </a:rPr>
              <a:t>SQL statistical functions introduced</a:t>
            </a:r>
            <a:endParaRPr lang="en-US" sz="1500" b="1" i="1" dirty="0">
              <a:solidFill>
                <a:srgbClr val="0070C0"/>
              </a:solidFill>
              <a:cs typeface="Arial" charset="0"/>
            </a:endParaRPr>
          </a:p>
        </p:txBody>
      </p:sp>
      <p:sp>
        <p:nvSpPr>
          <p:cNvPr id="13339" name="TextBox 35"/>
          <p:cNvSpPr txBox="1">
            <a:spLocks noChangeArrowheads="1"/>
          </p:cNvSpPr>
          <p:nvPr/>
        </p:nvSpPr>
        <p:spPr bwMode="auto">
          <a:xfrm>
            <a:off x="9856871" y="1828800"/>
            <a:ext cx="2181141" cy="41549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112713" indent="-112713"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spcBef>
                <a:spcPts val="267"/>
              </a:spcBef>
              <a:buFont typeface="Arial" charset="0"/>
              <a:buChar char="•"/>
            </a:pPr>
            <a:r>
              <a:rPr lang="en-US" sz="1500" b="1" i="1" dirty="0" smtClean="0">
                <a:solidFill>
                  <a:srgbClr val="0070C0"/>
                </a:solidFill>
                <a:cs typeface="Arial" charset="0"/>
              </a:rPr>
              <a:t>New algorithms (EM, PCA, SVD)</a:t>
            </a:r>
          </a:p>
          <a:p>
            <a:pPr eaLnBrk="1" hangingPunct="1">
              <a:spcBef>
                <a:spcPts val="267"/>
              </a:spcBef>
              <a:buFont typeface="Arial" charset="0"/>
              <a:buChar char="•"/>
            </a:pPr>
            <a:r>
              <a:rPr lang="en-US" sz="1500" b="1" i="1" dirty="0" smtClean="0">
                <a:solidFill>
                  <a:srgbClr val="0070C0"/>
                </a:solidFill>
                <a:cs typeface="Arial" charset="0"/>
              </a:rPr>
              <a:t>Predictive Queries</a:t>
            </a:r>
          </a:p>
          <a:p>
            <a:pPr eaLnBrk="1" hangingPunct="1">
              <a:spcBef>
                <a:spcPts val="267"/>
              </a:spcBef>
              <a:buFont typeface="Arial" charset="0"/>
              <a:buChar char="•"/>
            </a:pPr>
            <a:r>
              <a:rPr lang="en-US" sz="1500" b="1" i="1" dirty="0" smtClean="0">
                <a:solidFill>
                  <a:srgbClr val="0070C0"/>
                </a:solidFill>
                <a:cs typeface="Arial" charset="0"/>
              </a:rPr>
              <a:t>SQLDEV/Oracle Data Miner 4.0 SQL script generation and SQL Query node </a:t>
            </a:r>
            <a:r>
              <a:rPr lang="en-US" sz="1100" b="1" i="1" dirty="0" smtClean="0">
                <a:solidFill>
                  <a:srgbClr val="0070C0"/>
                </a:solidFill>
                <a:cs typeface="Arial" charset="0"/>
              </a:rPr>
              <a:t>(R integration)</a:t>
            </a:r>
            <a:endParaRPr lang="en-US" sz="1500" b="1" i="1" dirty="0" smtClean="0">
              <a:solidFill>
                <a:srgbClr val="0070C0"/>
              </a:solidFill>
              <a:cs typeface="Arial" charset="0"/>
            </a:endParaRPr>
          </a:p>
          <a:p>
            <a:pPr eaLnBrk="1" hangingPunct="1">
              <a:spcBef>
                <a:spcPts val="267"/>
              </a:spcBef>
              <a:buFont typeface="Arial" charset="0"/>
              <a:buChar char="•"/>
            </a:pPr>
            <a:r>
              <a:rPr lang="en-US" sz="1500" b="1" i="1" dirty="0" smtClean="0">
                <a:solidFill>
                  <a:srgbClr val="0070C0"/>
                </a:solidFill>
                <a:cs typeface="Arial" charset="0"/>
              </a:rPr>
              <a:t>OAA/ORE 1.3 + 1.4 adds NN, Stepwise, scalable R algorithms</a:t>
            </a:r>
          </a:p>
          <a:p>
            <a:pPr eaLnBrk="1" hangingPunct="1">
              <a:spcBef>
                <a:spcPts val="267"/>
              </a:spcBef>
              <a:buFont typeface="Arial" charset="0"/>
              <a:buChar char="•"/>
            </a:pPr>
            <a:r>
              <a:rPr lang="en-US" sz="1500" b="1" i="1" dirty="0" smtClean="0">
                <a:solidFill>
                  <a:srgbClr val="0070C0"/>
                </a:solidFill>
                <a:cs typeface="Arial" charset="0"/>
              </a:rPr>
              <a:t>Oracle Adv. Analytics for Hadoop Connector launched with scalable BDA algorithms</a:t>
            </a:r>
          </a:p>
          <a:p>
            <a:pPr eaLnBrk="1" hangingPunct="1">
              <a:spcBef>
                <a:spcPts val="267"/>
              </a:spcBef>
              <a:buFont typeface="Arial" charset="0"/>
              <a:buChar char="•"/>
            </a:pPr>
            <a:endParaRPr lang="en-US" sz="1500" b="1" i="1" dirty="0" smtClean="0">
              <a:solidFill>
                <a:srgbClr val="0070C0"/>
              </a:solidFill>
              <a:cs typeface="Arial" charset="0"/>
            </a:endParaRPr>
          </a:p>
          <a:p>
            <a:pPr eaLnBrk="1" hangingPunct="1">
              <a:spcBef>
                <a:spcPts val="267"/>
              </a:spcBef>
              <a:buFont typeface="Arial" charset="0"/>
              <a:buChar char="•"/>
            </a:pPr>
            <a:endParaRPr lang="en-US" sz="1500" b="1" i="1" dirty="0">
              <a:solidFill>
                <a:srgbClr val="0070C0"/>
              </a:solidFill>
              <a:cs typeface="Arial" charset="0"/>
            </a:endParaRPr>
          </a:p>
        </p:txBody>
      </p:sp>
      <p:sp>
        <p:nvSpPr>
          <p:cNvPr id="37" name="TextBox 35"/>
          <p:cNvSpPr txBox="1">
            <a:spLocks noChangeArrowheads="1"/>
          </p:cNvSpPr>
          <p:nvPr/>
        </p:nvSpPr>
        <p:spPr bwMode="auto">
          <a:xfrm>
            <a:off x="3511830" y="4675361"/>
            <a:ext cx="1846426" cy="1154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112713" indent="-112713"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spcBef>
                <a:spcPts val="267"/>
              </a:spcBef>
              <a:buFont typeface="Arial" charset="0"/>
              <a:buChar char="•"/>
            </a:pPr>
            <a:r>
              <a:rPr lang="en-US" sz="1500" b="1" i="1" dirty="0" smtClean="0">
                <a:solidFill>
                  <a:srgbClr val="0070C0"/>
                </a:solidFill>
                <a:cs typeface="Arial" charset="0"/>
              </a:rPr>
              <a:t>Oracle Data Mining 9.2i launched – 2 algorithms (NB and AR) via Java API</a:t>
            </a:r>
            <a:endParaRPr lang="en-US" sz="1500" b="1" i="1" dirty="0">
              <a:solidFill>
                <a:srgbClr val="0070C0"/>
              </a:solidFill>
              <a:cs typeface="Arial" charset="0"/>
            </a:endParaRPr>
          </a:p>
        </p:txBody>
      </p:sp>
      <p:sp>
        <p:nvSpPr>
          <p:cNvPr id="38" name="TextBox 35"/>
          <p:cNvSpPr txBox="1">
            <a:spLocks noChangeArrowheads="1"/>
          </p:cNvSpPr>
          <p:nvPr/>
        </p:nvSpPr>
        <p:spPr bwMode="auto">
          <a:xfrm>
            <a:off x="7385705" y="3045737"/>
            <a:ext cx="2654992" cy="28854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112713" indent="-112713"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spcBef>
                <a:spcPts val="267"/>
              </a:spcBef>
              <a:buFont typeface="Arial" charset="0"/>
              <a:buChar char="•"/>
            </a:pPr>
            <a:r>
              <a:rPr lang="en-US" sz="1500" b="1" i="1" dirty="0" smtClean="0">
                <a:solidFill>
                  <a:srgbClr val="0070C0"/>
                </a:solidFill>
                <a:cs typeface="Arial" charset="0"/>
              </a:rPr>
              <a:t>ODM 11g &amp; 11gR2 adds </a:t>
            </a:r>
            <a:r>
              <a:rPr lang="en-US" sz="1500" b="1" i="1" dirty="0" err="1" smtClean="0">
                <a:solidFill>
                  <a:srgbClr val="0070C0"/>
                </a:solidFill>
                <a:cs typeface="Arial" charset="0"/>
              </a:rPr>
              <a:t>AutoDataPrep</a:t>
            </a:r>
            <a:r>
              <a:rPr lang="en-US" sz="1500" b="1" i="1" dirty="0" smtClean="0">
                <a:solidFill>
                  <a:srgbClr val="0070C0"/>
                </a:solidFill>
                <a:cs typeface="Arial" charset="0"/>
              </a:rPr>
              <a:t> (ADP), text mining, </a:t>
            </a:r>
            <a:r>
              <a:rPr lang="en-US" sz="1500" b="1" i="1" dirty="0" err="1" smtClean="0">
                <a:solidFill>
                  <a:srgbClr val="0070C0"/>
                </a:solidFill>
                <a:cs typeface="Arial" charset="0"/>
              </a:rPr>
              <a:t>perf</a:t>
            </a:r>
            <a:r>
              <a:rPr lang="en-US" sz="1500" b="1" i="1" dirty="0" smtClean="0">
                <a:solidFill>
                  <a:srgbClr val="0070C0"/>
                </a:solidFill>
                <a:cs typeface="Arial" charset="0"/>
              </a:rPr>
              <a:t>. improvements</a:t>
            </a:r>
          </a:p>
          <a:p>
            <a:pPr eaLnBrk="1" hangingPunct="1">
              <a:spcBef>
                <a:spcPts val="267"/>
              </a:spcBef>
              <a:buFont typeface="Arial" charset="0"/>
              <a:buChar char="•"/>
            </a:pPr>
            <a:r>
              <a:rPr lang="en-US" sz="1500" b="1" i="1" dirty="0" smtClean="0">
                <a:solidFill>
                  <a:srgbClr val="0070C0"/>
                </a:solidFill>
                <a:cs typeface="Arial" charset="0"/>
              </a:rPr>
              <a:t>SQLDEV/Oracle Data Miner 3.2 “work flow” GUI launched</a:t>
            </a:r>
          </a:p>
          <a:p>
            <a:pPr eaLnBrk="1" hangingPunct="1">
              <a:spcBef>
                <a:spcPts val="267"/>
              </a:spcBef>
              <a:buFont typeface="Arial" charset="0"/>
              <a:buChar char="•"/>
            </a:pPr>
            <a:r>
              <a:rPr lang="en-US" sz="1500" b="1" i="1" dirty="0" smtClean="0">
                <a:solidFill>
                  <a:srgbClr val="0070C0"/>
                </a:solidFill>
                <a:cs typeface="Arial" charset="0"/>
              </a:rPr>
              <a:t>Integration with “R” and introduction/addition of Oracle R Enterprise</a:t>
            </a:r>
          </a:p>
          <a:p>
            <a:pPr eaLnBrk="1" hangingPunct="1">
              <a:spcBef>
                <a:spcPts val="267"/>
              </a:spcBef>
              <a:buFont typeface="Arial" charset="0"/>
              <a:buChar char="•"/>
            </a:pPr>
            <a:r>
              <a:rPr lang="en-US" sz="1500" b="1" i="1" dirty="0" smtClean="0">
                <a:solidFill>
                  <a:srgbClr val="0070C0"/>
                </a:solidFill>
                <a:cs typeface="Arial" charset="0"/>
              </a:rPr>
              <a:t>Product renamed “Oracle Advanced Analytics (ODM + ORE)</a:t>
            </a:r>
            <a:endParaRPr lang="en-US" sz="1500" b="1" i="1" dirty="0">
              <a:solidFill>
                <a:srgbClr val="0070C0"/>
              </a:solidFill>
              <a:cs typeface="Arial" charset="0"/>
            </a:endParaRPr>
          </a:p>
        </p:txBody>
      </p:sp>
      <p:pic>
        <p:nvPicPr>
          <p:cNvPr id="39" name="Picture 2"/>
          <p:cNvPicPr>
            <a:picLocks noChangeAspect="1" noChangeArrowheads="1"/>
          </p:cNvPicPr>
          <p:nvPr/>
        </p:nvPicPr>
        <p:blipFill>
          <a:blip r:embed="rId9" cstate="print"/>
          <a:srcRect/>
          <a:stretch>
            <a:fillRect/>
          </a:stretch>
        </p:blipFill>
        <p:spPr bwMode="auto">
          <a:xfrm>
            <a:off x="7503006" y="1295400"/>
            <a:ext cx="2041494" cy="880741"/>
          </a:xfrm>
          <a:prstGeom prst="rect">
            <a:avLst/>
          </a:prstGeom>
          <a:noFill/>
          <a:ln w="9525">
            <a:noFill/>
            <a:miter lim="800000"/>
            <a:headEnd/>
            <a:tailEnd/>
          </a:ln>
        </p:spPr>
      </p:pic>
      <p:pic>
        <p:nvPicPr>
          <p:cNvPr id="84994" name="Picture 2" descr="http://readwrite.com/files/_hadoopelephant_rgb1.png"/>
          <p:cNvPicPr>
            <a:picLocks noChangeAspect="1" noChangeArrowheads="1"/>
          </p:cNvPicPr>
          <p:nvPr/>
        </p:nvPicPr>
        <p:blipFill>
          <a:blip r:embed="rId10" cstate="print"/>
          <a:srcRect/>
          <a:stretch>
            <a:fillRect/>
          </a:stretch>
        </p:blipFill>
        <p:spPr bwMode="auto">
          <a:xfrm>
            <a:off x="10514012" y="5410200"/>
            <a:ext cx="1337517" cy="316405"/>
          </a:xfrm>
          <a:prstGeom prst="rect">
            <a:avLst/>
          </a:prstGeom>
          <a:noFill/>
        </p:spPr>
      </p:pic>
      <p:pic>
        <p:nvPicPr>
          <p:cNvPr id="84996" name="Picture 4" descr="R logo"/>
          <p:cNvPicPr>
            <a:picLocks noChangeAspect="1" noChangeArrowheads="1"/>
          </p:cNvPicPr>
          <p:nvPr/>
        </p:nvPicPr>
        <p:blipFill>
          <a:blip r:embed="rId11" cstate="print"/>
          <a:srcRect/>
          <a:stretch>
            <a:fillRect/>
          </a:stretch>
        </p:blipFill>
        <p:spPr bwMode="auto">
          <a:xfrm>
            <a:off x="9268334" y="2560291"/>
            <a:ext cx="608142" cy="462308"/>
          </a:xfrm>
          <a:prstGeom prst="rect">
            <a:avLst/>
          </a:prstGeom>
          <a:noFill/>
        </p:spPr>
      </p:pic>
      <p:grpSp>
        <p:nvGrpSpPr>
          <p:cNvPr id="4" name="Group 40"/>
          <p:cNvGrpSpPr/>
          <p:nvPr/>
        </p:nvGrpSpPr>
        <p:grpSpPr>
          <a:xfrm>
            <a:off x="1217612" y="1143000"/>
            <a:ext cx="1894112" cy="1514475"/>
            <a:chOff x="9218612" y="381000"/>
            <a:chExt cx="1894112" cy="1514475"/>
          </a:xfrm>
        </p:grpSpPr>
        <p:grpSp>
          <p:nvGrpSpPr>
            <p:cNvPr id="5" name="Group 15"/>
            <p:cNvGrpSpPr/>
            <p:nvPr/>
          </p:nvGrpSpPr>
          <p:grpSpPr>
            <a:xfrm>
              <a:off x="9752012" y="762000"/>
              <a:ext cx="1123950" cy="1133475"/>
              <a:chOff x="5562600" y="1905000"/>
              <a:chExt cx="1123950" cy="1133475"/>
            </a:xfrm>
          </p:grpSpPr>
          <p:pic>
            <p:nvPicPr>
              <p:cNvPr id="46" name="Picture 9"/>
              <p:cNvPicPr>
                <a:picLocks noChangeAspect="1" noChangeArrowheads="1"/>
              </p:cNvPicPr>
              <p:nvPr/>
            </p:nvPicPr>
            <p:blipFill>
              <a:blip r:embed="rId12" cstate="print"/>
              <a:srcRect/>
              <a:stretch>
                <a:fillRect/>
              </a:stretch>
            </p:blipFill>
            <p:spPr bwMode="auto">
              <a:xfrm>
                <a:off x="5562600" y="1905000"/>
                <a:ext cx="1123950" cy="1133475"/>
              </a:xfrm>
              <a:prstGeom prst="rect">
                <a:avLst/>
              </a:prstGeom>
              <a:noFill/>
              <a:ln w="9525">
                <a:noFill/>
                <a:miter lim="800000"/>
                <a:headEnd/>
                <a:tailEnd/>
              </a:ln>
            </p:spPr>
          </p:pic>
          <p:sp>
            <p:nvSpPr>
              <p:cNvPr id="47" name="Oval 46"/>
              <p:cNvSpPr/>
              <p:nvPr/>
            </p:nvSpPr>
            <p:spPr>
              <a:xfrm>
                <a:off x="5943600" y="2286000"/>
                <a:ext cx="685800" cy="685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8" name="Picture 10"/>
              <p:cNvPicPr>
                <a:picLocks noChangeAspect="1" noChangeArrowheads="1"/>
              </p:cNvPicPr>
              <p:nvPr/>
            </p:nvPicPr>
            <p:blipFill>
              <a:blip r:embed="rId13" cstate="print"/>
              <a:srcRect/>
              <a:stretch>
                <a:fillRect/>
              </a:stretch>
            </p:blipFill>
            <p:spPr bwMode="auto">
              <a:xfrm>
                <a:off x="6019800" y="2438400"/>
                <a:ext cx="533400" cy="314325"/>
              </a:xfrm>
              <a:prstGeom prst="rect">
                <a:avLst/>
              </a:prstGeom>
              <a:noFill/>
              <a:ln w="9525">
                <a:noFill/>
                <a:miter lim="800000"/>
                <a:headEnd/>
                <a:tailEnd/>
              </a:ln>
            </p:spPr>
          </p:pic>
        </p:grpSp>
        <p:pic>
          <p:nvPicPr>
            <p:cNvPr id="43" name="48A3F5A6-995C-459E-801B-04ED0F67E9FA" descr="E68B87C3-4119-4E3E-ADD4-C40DF263F308@us"/>
            <p:cNvPicPr>
              <a:picLocks noChangeAspect="1" noChangeArrowheads="1"/>
            </p:cNvPicPr>
            <p:nvPr/>
          </p:nvPicPr>
          <p:blipFill>
            <a:blip r:embed="rId14" cstate="print"/>
            <a:srcRect/>
            <a:stretch>
              <a:fillRect/>
            </a:stretch>
          </p:blipFill>
          <p:spPr bwMode="auto">
            <a:xfrm>
              <a:off x="10285412" y="533400"/>
              <a:ext cx="609600" cy="609600"/>
            </a:xfrm>
            <a:prstGeom prst="rect">
              <a:avLst/>
            </a:prstGeom>
            <a:noFill/>
            <a:ln w="9525">
              <a:noFill/>
              <a:miter lim="800000"/>
              <a:headEnd/>
              <a:tailEnd/>
            </a:ln>
          </p:spPr>
        </p:pic>
        <p:pic>
          <p:nvPicPr>
            <p:cNvPr id="44" name="Picture 9"/>
            <p:cNvPicPr>
              <a:picLocks noChangeAspect="1" noChangeArrowheads="1"/>
            </p:cNvPicPr>
            <p:nvPr/>
          </p:nvPicPr>
          <p:blipFill>
            <a:blip r:embed="rId12" cstate="print"/>
            <a:srcRect/>
            <a:stretch>
              <a:fillRect/>
            </a:stretch>
          </p:blipFill>
          <p:spPr bwMode="auto">
            <a:xfrm>
              <a:off x="9218612" y="381000"/>
              <a:ext cx="1123950" cy="1133475"/>
            </a:xfrm>
            <a:prstGeom prst="rect">
              <a:avLst/>
            </a:prstGeom>
            <a:noFill/>
            <a:ln w="9525">
              <a:noFill/>
              <a:miter lim="800000"/>
              <a:headEnd/>
              <a:tailEnd/>
            </a:ln>
          </p:spPr>
        </p:pic>
        <p:pic>
          <p:nvPicPr>
            <p:cNvPr id="45" name="Picture 4"/>
            <p:cNvPicPr>
              <a:picLocks noChangeAspect="1" noChangeArrowheads="1"/>
            </p:cNvPicPr>
            <p:nvPr/>
          </p:nvPicPr>
          <p:blipFill>
            <a:blip r:embed="rId15" cstate="print"/>
            <a:srcRect/>
            <a:stretch>
              <a:fillRect/>
            </a:stretch>
          </p:blipFill>
          <p:spPr bwMode="auto">
            <a:xfrm>
              <a:off x="10666412" y="1066800"/>
              <a:ext cx="446312" cy="419098"/>
            </a:xfrm>
            <a:prstGeom prst="rect">
              <a:avLst/>
            </a:prstGeom>
            <a:noFill/>
            <a:ln w="9525">
              <a:noFill/>
              <a:miter lim="800000"/>
              <a:headEnd/>
              <a:tailEnd/>
            </a:ln>
          </p:spPr>
        </p:pic>
      </p:grpSp>
    </p:spTree>
    <p:extLst>
      <p:ext uri="{BB962C8B-B14F-4D97-AF65-F5344CB8AC3E}">
        <p14:creationId xmlns:p14="http://schemas.microsoft.com/office/powerpoint/2010/main" val="2149243455"/>
      </p:ext>
    </p:extLst>
  </p:cSld>
  <p:clrMapOvr>
    <a:masterClrMapping/>
  </p:clrMapOvr>
  <p:transition spd="med"/>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r-HR" dirty="0" err="1" smtClean="0"/>
              <a:t>Agenda</a:t>
            </a:r>
            <a:endParaRPr lang="en-US" dirty="0"/>
          </a:p>
        </p:txBody>
      </p:sp>
      <p:sp>
        <p:nvSpPr>
          <p:cNvPr id="3" name="Content Placeholder 2"/>
          <p:cNvSpPr>
            <a:spLocks noGrp="1"/>
          </p:cNvSpPr>
          <p:nvPr>
            <p:ph idx="1"/>
          </p:nvPr>
        </p:nvSpPr>
        <p:spPr/>
        <p:txBody>
          <a:bodyPr/>
          <a:lstStyle/>
          <a:p>
            <a:r>
              <a:rPr lang="hr-HR" dirty="0"/>
              <a:t>Prema mnogim studijama "Data </a:t>
            </a:r>
            <a:r>
              <a:rPr lang="hr-HR" dirty="0" err="1"/>
              <a:t>Scientist</a:t>
            </a:r>
            <a:r>
              <a:rPr lang="hr-HR" dirty="0"/>
              <a:t>" je jedan od onih poslova budućnosti za koje već sada nedostaje veliki broj obrazovanih </a:t>
            </a:r>
            <a:r>
              <a:rPr lang="hr-HR" dirty="0" smtClean="0"/>
              <a:t>stručnjaka.</a:t>
            </a:r>
          </a:p>
          <a:p>
            <a:r>
              <a:rPr lang="hr-HR" dirty="0" smtClean="0"/>
              <a:t>Djelatnost </a:t>
            </a:r>
            <a:r>
              <a:rPr lang="hr-HR" dirty="0"/>
              <a:t>"Data </a:t>
            </a:r>
            <a:r>
              <a:rPr lang="hr-HR" dirty="0" err="1"/>
              <a:t>Scientista</a:t>
            </a:r>
            <a:r>
              <a:rPr lang="hr-HR" dirty="0"/>
              <a:t>" je usko vezana uz područje </a:t>
            </a:r>
            <a:r>
              <a:rPr lang="hr-HR" dirty="0" err="1"/>
              <a:t>Machine</a:t>
            </a:r>
            <a:r>
              <a:rPr lang="hr-HR" dirty="0"/>
              <a:t> </a:t>
            </a:r>
            <a:r>
              <a:rPr lang="hr-HR" dirty="0" err="1"/>
              <a:t>Learning</a:t>
            </a:r>
            <a:r>
              <a:rPr lang="hr-HR" dirty="0"/>
              <a:t>-a (ML</a:t>
            </a:r>
            <a:r>
              <a:rPr lang="hr-HR" dirty="0" smtClean="0"/>
              <a:t>)</a:t>
            </a:r>
            <a:endParaRPr lang="hr-HR" dirty="0"/>
          </a:p>
          <a:p>
            <a:r>
              <a:rPr lang="hr-HR" dirty="0" smtClean="0"/>
              <a:t>Što </a:t>
            </a:r>
            <a:r>
              <a:rPr lang="hr-HR" dirty="0"/>
              <a:t>je ML i gdje se sve koristi? </a:t>
            </a:r>
            <a:endParaRPr lang="hr-HR" dirty="0" smtClean="0"/>
          </a:p>
          <a:p>
            <a:r>
              <a:rPr lang="hr-HR" dirty="0" smtClean="0"/>
              <a:t>Koje </a:t>
            </a:r>
            <a:r>
              <a:rPr lang="hr-HR" dirty="0"/>
              <a:t>poslove obavljaju "Data </a:t>
            </a:r>
            <a:r>
              <a:rPr lang="hr-HR" dirty="0" err="1"/>
              <a:t>Scientisti</a:t>
            </a:r>
            <a:r>
              <a:rPr lang="hr-HR" dirty="0" smtClean="0"/>
              <a:t>"?</a:t>
            </a:r>
          </a:p>
          <a:p>
            <a:r>
              <a:rPr lang="hr-HR" dirty="0" smtClean="0"/>
              <a:t>Kako </a:t>
            </a:r>
            <a:r>
              <a:rPr lang="hr-HR" dirty="0"/>
              <a:t>možemo primijeniti ML u obrazovanju? </a:t>
            </a:r>
            <a:endParaRPr lang="hr-HR" dirty="0" smtClean="0"/>
          </a:p>
          <a:p>
            <a:r>
              <a:rPr lang="hr-HR" dirty="0" smtClean="0"/>
              <a:t>Primjere </a:t>
            </a:r>
            <a:r>
              <a:rPr lang="hr-HR" dirty="0"/>
              <a:t>implementacija ML u Hrvatskoj u financijskom </a:t>
            </a:r>
            <a:r>
              <a:rPr lang="hr-HR" dirty="0" smtClean="0"/>
              <a:t>sektoru</a:t>
            </a:r>
            <a:endParaRPr lang="hr-HR" dirty="0"/>
          </a:p>
          <a:p>
            <a:endParaRPr lang="en-US" dirty="0"/>
          </a:p>
        </p:txBody>
      </p:sp>
    </p:spTree>
    <p:extLst>
      <p:ext uri="{BB962C8B-B14F-4D97-AF65-F5344CB8AC3E}">
        <p14:creationId xmlns:p14="http://schemas.microsoft.com/office/powerpoint/2010/main" val="377137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hine Learning</a:t>
            </a:r>
            <a:endParaRPr lang="en-US" dirty="0"/>
          </a:p>
        </p:txBody>
      </p:sp>
      <p:sp>
        <p:nvSpPr>
          <p:cNvPr id="3" name="Content Placeholder 2"/>
          <p:cNvSpPr>
            <a:spLocks noGrp="1"/>
          </p:cNvSpPr>
          <p:nvPr>
            <p:ph idx="1"/>
          </p:nvPr>
        </p:nvSpPr>
        <p:spPr>
          <a:xfrm>
            <a:off x="531153" y="1524000"/>
            <a:ext cx="8687459" cy="4571999"/>
          </a:xfrm>
        </p:spPr>
        <p:txBody>
          <a:bodyPr/>
          <a:lstStyle/>
          <a:p>
            <a:r>
              <a:rPr lang="en-US" dirty="0" smtClean="0"/>
              <a:t>Machine learning is a type of </a:t>
            </a:r>
            <a:r>
              <a:rPr lang="en-US" b="1" dirty="0" smtClean="0"/>
              <a:t>artificial intelligence</a:t>
            </a:r>
            <a:r>
              <a:rPr lang="en-US" dirty="0" smtClean="0"/>
              <a:t> (AI) that provides computers with the ability to learn </a:t>
            </a:r>
            <a:r>
              <a:rPr lang="en-US" b="1" dirty="0" smtClean="0"/>
              <a:t>without being explicitly programmed. </a:t>
            </a:r>
          </a:p>
          <a:p>
            <a:r>
              <a:rPr lang="en-US" dirty="0" smtClean="0"/>
              <a:t>Machine learning focuses on the development of </a:t>
            </a:r>
            <a:r>
              <a:rPr lang="en-US" b="1" dirty="0" smtClean="0"/>
              <a:t>computer</a:t>
            </a:r>
            <a:r>
              <a:rPr lang="en-US" dirty="0" smtClean="0"/>
              <a:t> programs that </a:t>
            </a:r>
            <a:r>
              <a:rPr lang="en-US" b="1" dirty="0" smtClean="0"/>
              <a:t>can teach themselves</a:t>
            </a:r>
            <a:r>
              <a:rPr lang="en-US" dirty="0" smtClean="0"/>
              <a:t> to grow and change when exposed to new data.</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75612" y="3733800"/>
            <a:ext cx="3312763" cy="2057400"/>
          </a:xfrm>
          <a:prstGeom prst="rect">
            <a:avLst/>
          </a:prstGeom>
        </p:spPr>
      </p:pic>
    </p:spTree>
    <p:extLst>
      <p:ext uri="{BB962C8B-B14F-4D97-AF65-F5344CB8AC3E}">
        <p14:creationId xmlns:p14="http://schemas.microsoft.com/office/powerpoint/2010/main" val="77949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212" y="339608"/>
            <a:ext cx="10969924" cy="1025071"/>
          </a:xfrm>
        </p:spPr>
        <p:txBody>
          <a:bodyPr anchor="t" anchorCtr="0"/>
          <a:lstStyle/>
          <a:p>
            <a:r>
              <a:rPr lang="hr-HR" dirty="0" err="1" smtClean="0"/>
              <a:t>Machine</a:t>
            </a:r>
            <a:r>
              <a:rPr lang="hr-HR" dirty="0" smtClean="0"/>
              <a:t> </a:t>
            </a:r>
            <a:r>
              <a:rPr lang="hr-HR" dirty="0" err="1" smtClean="0"/>
              <a:t>Learning</a:t>
            </a:r>
            <a:r>
              <a:rPr lang="hr-HR" dirty="0" smtClean="0"/>
              <a:t> </a:t>
            </a:r>
            <a:r>
              <a:rPr lang="hr-HR" dirty="0" err="1" smtClean="0"/>
              <a:t>in</a:t>
            </a:r>
            <a:r>
              <a:rPr lang="hr-HR" dirty="0" smtClean="0"/>
              <a:t> </a:t>
            </a:r>
            <a:r>
              <a:rPr lang="hr-HR" dirty="0" err="1" smtClean="0"/>
              <a:t>commercial</a:t>
            </a:r>
            <a:r>
              <a:rPr lang="hr-HR" dirty="0" smtClean="0"/>
              <a:t> </a:t>
            </a:r>
            <a:r>
              <a:rPr lang="hr-HR" dirty="0" err="1" smtClean="0"/>
              <a:t>sector</a:t>
            </a:r>
            <a:endParaRPr lang="en-US" dirty="0">
              <a:solidFill>
                <a:schemeClr val="tx1"/>
              </a:solidFill>
            </a:endParaRPr>
          </a:p>
        </p:txBody>
      </p:sp>
      <p:sp>
        <p:nvSpPr>
          <p:cNvPr id="3" name="Content Placeholder 2"/>
          <p:cNvSpPr>
            <a:spLocks noGrp="1"/>
          </p:cNvSpPr>
          <p:nvPr>
            <p:ph sz="quarter" idx="12"/>
          </p:nvPr>
        </p:nvSpPr>
        <p:spPr>
          <a:xfrm>
            <a:off x="1072183" y="1510159"/>
            <a:ext cx="10969943" cy="4083475"/>
          </a:xfrm>
        </p:spPr>
        <p:txBody>
          <a:bodyPr/>
          <a:lstStyle/>
          <a:p>
            <a:pPr marL="167188" indent="-304747">
              <a:spcBef>
                <a:spcPts val="1100"/>
              </a:spcBef>
            </a:pPr>
            <a:r>
              <a:rPr lang="en-US" sz="2400" dirty="0" smtClean="0"/>
              <a:t>Targeting the right customer with the right offer</a:t>
            </a:r>
          </a:p>
          <a:p>
            <a:pPr marL="167188" indent="-304747">
              <a:spcBef>
                <a:spcPts val="1100"/>
              </a:spcBef>
            </a:pPr>
            <a:r>
              <a:rPr lang="en-US" sz="2400" dirty="0" smtClean="0"/>
              <a:t>How is a customer likely to respond to an offer?</a:t>
            </a:r>
          </a:p>
          <a:p>
            <a:pPr marL="167188" indent="-304747">
              <a:spcBef>
                <a:spcPts val="1100"/>
              </a:spcBef>
            </a:pPr>
            <a:r>
              <a:rPr lang="en-US" sz="2400" dirty="0" smtClean="0">
                <a:sym typeface="Wingdings" pitchFamily="2" charset="2"/>
              </a:rPr>
              <a:t>Finding the most profitable growth opportunities</a:t>
            </a:r>
          </a:p>
          <a:p>
            <a:pPr marL="167188" indent="-304747">
              <a:spcBef>
                <a:spcPts val="1100"/>
              </a:spcBef>
            </a:pPr>
            <a:r>
              <a:rPr lang="en-US" sz="2400" dirty="0" smtClean="0">
                <a:sym typeface="Wingdings" pitchFamily="2" charset="2"/>
              </a:rPr>
              <a:t>Finding and preventing customer churn </a:t>
            </a:r>
          </a:p>
          <a:p>
            <a:pPr marL="167188" indent="-304747">
              <a:spcBef>
                <a:spcPts val="1100"/>
              </a:spcBef>
            </a:pPr>
            <a:r>
              <a:rPr lang="en-US" sz="2400" dirty="0" smtClean="0">
                <a:sym typeface="Wingdings" pitchFamily="2" charset="2"/>
              </a:rPr>
              <a:t>Maximizing cross-business impact</a:t>
            </a:r>
          </a:p>
          <a:p>
            <a:pPr marL="167188" indent="-304747">
              <a:spcBef>
                <a:spcPts val="1100"/>
              </a:spcBef>
            </a:pPr>
            <a:r>
              <a:rPr lang="en-US" sz="2400" dirty="0" smtClean="0">
                <a:sym typeface="Wingdings" pitchFamily="2" charset="2"/>
              </a:rPr>
              <a:t>Security and suspicious activity detection</a:t>
            </a:r>
          </a:p>
          <a:p>
            <a:pPr marL="167188" indent="-304747">
              <a:spcBef>
                <a:spcPts val="1100"/>
              </a:spcBef>
            </a:pPr>
            <a:r>
              <a:rPr lang="en-US" sz="2400" dirty="0" smtClean="0">
                <a:sym typeface="Wingdings" pitchFamily="2" charset="2"/>
              </a:rPr>
              <a:t>Understanding sentiments in customer conversations</a:t>
            </a:r>
          </a:p>
          <a:p>
            <a:pPr marL="167188" indent="-304747">
              <a:spcBef>
                <a:spcPts val="1100"/>
              </a:spcBef>
            </a:pPr>
            <a:r>
              <a:rPr lang="en-US" sz="2400" dirty="0" smtClean="0">
                <a:sym typeface="Wingdings" pitchFamily="2" charset="2"/>
              </a:rPr>
              <a:t>Reducing medical errors &amp; improving quality of health</a:t>
            </a:r>
          </a:p>
          <a:p>
            <a:pPr marL="167188" indent="-304747">
              <a:spcBef>
                <a:spcPts val="1100"/>
              </a:spcBef>
            </a:pPr>
            <a:r>
              <a:rPr lang="en-US" sz="2400" dirty="0" smtClean="0">
                <a:sym typeface="Wingdings" pitchFamily="2" charset="2"/>
              </a:rPr>
              <a:t>Understanding influencers in social networks</a:t>
            </a:r>
            <a:endParaRPr lang="hr-HR" sz="2400" dirty="0" smtClean="0">
              <a:sym typeface="Wingdings" pitchFamily="2" charset="2"/>
            </a:endParaRPr>
          </a:p>
          <a:p>
            <a:pPr marL="167188" indent="-304747">
              <a:spcBef>
                <a:spcPts val="1100"/>
              </a:spcBef>
            </a:pPr>
            <a:r>
              <a:rPr lang="hr-HR" sz="2400" dirty="0" err="1" smtClean="0">
                <a:sym typeface="Wingdings" pitchFamily="2" charset="2"/>
              </a:rPr>
              <a:t>Spam</a:t>
            </a:r>
            <a:r>
              <a:rPr lang="hr-HR" sz="2400" dirty="0" smtClean="0">
                <a:sym typeface="Wingdings" pitchFamily="2" charset="2"/>
              </a:rPr>
              <a:t> </a:t>
            </a:r>
            <a:r>
              <a:rPr lang="hr-HR" sz="2400" dirty="0" err="1" smtClean="0">
                <a:sym typeface="Wingdings" pitchFamily="2" charset="2"/>
              </a:rPr>
              <a:t>filtering</a:t>
            </a:r>
            <a:endParaRPr lang="en-US" sz="2400" dirty="0" smtClean="0">
              <a:sym typeface="Wingdings" pitchFamily="2" charset="2"/>
            </a:endParaRPr>
          </a:p>
        </p:txBody>
      </p:sp>
      <p:sp>
        <p:nvSpPr>
          <p:cNvPr id="10" name="Freeform 17"/>
          <p:cNvSpPr>
            <a:spLocks noEditPoints="1"/>
          </p:cNvSpPr>
          <p:nvPr/>
        </p:nvSpPr>
        <p:spPr bwMode="auto">
          <a:xfrm>
            <a:off x="9517414" y="3261893"/>
            <a:ext cx="541279" cy="486440"/>
          </a:xfrm>
          <a:custGeom>
            <a:avLst/>
            <a:gdLst>
              <a:gd name="T0" fmla="*/ 212 w 303"/>
              <a:gd name="T1" fmla="*/ 114 h 294"/>
              <a:gd name="T2" fmla="*/ 160 w 303"/>
              <a:gd name="T3" fmla="*/ 18 h 294"/>
              <a:gd name="T4" fmla="*/ 95 w 303"/>
              <a:gd name="T5" fmla="*/ 115 h 294"/>
              <a:gd name="T6" fmla="*/ 128 w 303"/>
              <a:gd name="T7" fmla="*/ 11 h 294"/>
              <a:gd name="T8" fmla="*/ 11 w 303"/>
              <a:gd name="T9" fmla="*/ 113 h 294"/>
              <a:gd name="T10" fmla="*/ 5 w 303"/>
              <a:gd name="T11" fmla="*/ 129 h 294"/>
              <a:gd name="T12" fmla="*/ 19 w 303"/>
              <a:gd name="T13" fmla="*/ 131 h 294"/>
              <a:gd name="T14" fmla="*/ 55 w 303"/>
              <a:gd name="T15" fmla="*/ 272 h 294"/>
              <a:gd name="T16" fmla="*/ 72 w 303"/>
              <a:gd name="T17" fmla="*/ 288 h 294"/>
              <a:gd name="T18" fmla="*/ 75 w 303"/>
              <a:gd name="T19" fmla="*/ 291 h 294"/>
              <a:gd name="T20" fmla="*/ 87 w 303"/>
              <a:gd name="T21" fmla="*/ 288 h 294"/>
              <a:gd name="T22" fmla="*/ 90 w 303"/>
              <a:gd name="T23" fmla="*/ 272 h 294"/>
              <a:gd name="T24" fmla="*/ 214 w 303"/>
              <a:gd name="T25" fmla="*/ 290 h 294"/>
              <a:gd name="T26" fmla="*/ 218 w 303"/>
              <a:gd name="T27" fmla="*/ 294 h 294"/>
              <a:gd name="T28" fmla="*/ 229 w 303"/>
              <a:gd name="T29" fmla="*/ 290 h 294"/>
              <a:gd name="T30" fmla="*/ 232 w 303"/>
              <a:gd name="T31" fmla="*/ 272 h 294"/>
              <a:gd name="T32" fmla="*/ 260 w 303"/>
              <a:gd name="T33" fmla="*/ 266 h 294"/>
              <a:gd name="T34" fmla="*/ 290 w 303"/>
              <a:gd name="T35" fmla="*/ 128 h 294"/>
              <a:gd name="T36" fmla="*/ 32 w 303"/>
              <a:gd name="T37" fmla="*/ 128 h 294"/>
              <a:gd name="T38" fmla="*/ 59 w 303"/>
              <a:gd name="T39" fmla="*/ 185 h 294"/>
              <a:gd name="T40" fmla="*/ 32 w 303"/>
              <a:gd name="T41" fmla="*/ 128 h 294"/>
              <a:gd name="T42" fmla="*/ 54 w 303"/>
              <a:gd name="T43" fmla="*/ 254 h 294"/>
              <a:gd name="T44" fmla="*/ 60 w 303"/>
              <a:gd name="T45" fmla="*/ 194 h 294"/>
              <a:gd name="T46" fmla="*/ 89 w 303"/>
              <a:gd name="T47" fmla="*/ 255 h 294"/>
              <a:gd name="T48" fmla="*/ 71 w 303"/>
              <a:gd name="T49" fmla="*/ 194 h 294"/>
              <a:gd name="T50" fmla="*/ 89 w 303"/>
              <a:gd name="T51" fmla="*/ 255 h 294"/>
              <a:gd name="T52" fmla="*/ 72 w 303"/>
              <a:gd name="T53" fmla="*/ 184 h 294"/>
              <a:gd name="T54" fmla="*/ 89 w 303"/>
              <a:gd name="T55" fmla="*/ 129 h 294"/>
              <a:gd name="T56" fmla="*/ 186 w 303"/>
              <a:gd name="T57" fmla="*/ 129 h 294"/>
              <a:gd name="T58" fmla="*/ 204 w 303"/>
              <a:gd name="T59" fmla="*/ 184 h 294"/>
              <a:gd name="T60" fmla="*/ 186 w 303"/>
              <a:gd name="T61" fmla="*/ 129 h 294"/>
              <a:gd name="T62" fmla="*/ 117 w 303"/>
              <a:gd name="T63" fmla="*/ 129 h 294"/>
              <a:gd name="T64" fmla="*/ 99 w 303"/>
              <a:gd name="T65" fmla="*/ 184 h 294"/>
              <a:gd name="T66" fmla="*/ 117 w 303"/>
              <a:gd name="T67" fmla="*/ 255 h 294"/>
              <a:gd name="T68" fmla="*/ 99 w 303"/>
              <a:gd name="T69" fmla="*/ 194 h 294"/>
              <a:gd name="T70" fmla="*/ 117 w 303"/>
              <a:gd name="T71" fmla="*/ 255 h 294"/>
              <a:gd name="T72" fmla="*/ 147 w 303"/>
              <a:gd name="T73" fmla="*/ 129 h 294"/>
              <a:gd name="T74" fmla="*/ 129 w 303"/>
              <a:gd name="T75" fmla="*/ 184 h 294"/>
              <a:gd name="T76" fmla="*/ 147 w 303"/>
              <a:gd name="T77" fmla="*/ 255 h 294"/>
              <a:gd name="T78" fmla="*/ 130 w 303"/>
              <a:gd name="T79" fmla="*/ 194 h 294"/>
              <a:gd name="T80" fmla="*/ 147 w 303"/>
              <a:gd name="T81" fmla="*/ 255 h 294"/>
              <a:gd name="T82" fmla="*/ 157 w 303"/>
              <a:gd name="T83" fmla="*/ 255 h 294"/>
              <a:gd name="T84" fmla="*/ 175 w 303"/>
              <a:gd name="T85" fmla="*/ 194 h 294"/>
              <a:gd name="T86" fmla="*/ 175 w 303"/>
              <a:gd name="T87" fmla="*/ 184 h 294"/>
              <a:gd name="T88" fmla="*/ 157 w 303"/>
              <a:gd name="T89" fmla="*/ 129 h 294"/>
              <a:gd name="T90" fmla="*/ 175 w 303"/>
              <a:gd name="T91" fmla="*/ 184 h 294"/>
              <a:gd name="T92" fmla="*/ 186 w 303"/>
              <a:gd name="T93" fmla="*/ 255 h 294"/>
              <a:gd name="T94" fmla="*/ 204 w 303"/>
              <a:gd name="T95" fmla="*/ 194 h 294"/>
              <a:gd name="T96" fmla="*/ 232 w 303"/>
              <a:gd name="T97" fmla="*/ 255 h 294"/>
              <a:gd name="T98" fmla="*/ 214 w 303"/>
              <a:gd name="T99" fmla="*/ 194 h 294"/>
              <a:gd name="T100" fmla="*/ 232 w 303"/>
              <a:gd name="T101" fmla="*/ 255 h 294"/>
              <a:gd name="T102" fmla="*/ 215 w 303"/>
              <a:gd name="T103" fmla="*/ 184 h 294"/>
              <a:gd name="T104" fmla="*/ 233 w 303"/>
              <a:gd name="T105" fmla="*/ 129 h 294"/>
              <a:gd name="T106" fmla="*/ 249 w 303"/>
              <a:gd name="T107" fmla="*/ 254 h 294"/>
              <a:gd name="T108" fmla="*/ 241 w 303"/>
              <a:gd name="T109" fmla="*/ 194 h 294"/>
              <a:gd name="T110" fmla="*/ 249 w 303"/>
              <a:gd name="T111" fmla="*/ 254 h 294"/>
              <a:gd name="T112" fmla="*/ 242 w 303"/>
              <a:gd name="T113" fmla="*/ 184 h 294"/>
              <a:gd name="T114" fmla="*/ 269 w 303"/>
              <a:gd name="T115" fmla="*/ 12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3" h="294">
                <a:moveTo>
                  <a:pt x="290" y="114"/>
                </a:moveTo>
                <a:cubicBezTo>
                  <a:pt x="212" y="114"/>
                  <a:pt x="212" y="114"/>
                  <a:pt x="212" y="114"/>
                </a:cubicBezTo>
                <a:cubicBezTo>
                  <a:pt x="169" y="11"/>
                  <a:pt x="169" y="11"/>
                  <a:pt x="169" y="11"/>
                </a:cubicBezTo>
                <a:cubicBezTo>
                  <a:pt x="159" y="7"/>
                  <a:pt x="160" y="18"/>
                  <a:pt x="160" y="18"/>
                </a:cubicBezTo>
                <a:cubicBezTo>
                  <a:pt x="197" y="115"/>
                  <a:pt x="197" y="115"/>
                  <a:pt x="197" y="115"/>
                </a:cubicBezTo>
                <a:cubicBezTo>
                  <a:pt x="95" y="115"/>
                  <a:pt x="95" y="115"/>
                  <a:pt x="95" y="115"/>
                </a:cubicBezTo>
                <a:cubicBezTo>
                  <a:pt x="138" y="16"/>
                  <a:pt x="138" y="16"/>
                  <a:pt x="138" y="16"/>
                </a:cubicBezTo>
                <a:cubicBezTo>
                  <a:pt x="139" y="0"/>
                  <a:pt x="128" y="11"/>
                  <a:pt x="128" y="11"/>
                </a:cubicBezTo>
                <a:cubicBezTo>
                  <a:pt x="82" y="113"/>
                  <a:pt x="82" y="113"/>
                  <a:pt x="82" y="113"/>
                </a:cubicBezTo>
                <a:cubicBezTo>
                  <a:pt x="11" y="113"/>
                  <a:pt x="11" y="113"/>
                  <a:pt x="11" y="113"/>
                </a:cubicBezTo>
                <a:cubicBezTo>
                  <a:pt x="5" y="115"/>
                  <a:pt x="5" y="115"/>
                  <a:pt x="5" y="115"/>
                </a:cubicBezTo>
                <a:cubicBezTo>
                  <a:pt x="0" y="122"/>
                  <a:pt x="5" y="129"/>
                  <a:pt x="5" y="129"/>
                </a:cubicBezTo>
                <a:cubicBezTo>
                  <a:pt x="18" y="129"/>
                  <a:pt x="18" y="129"/>
                  <a:pt x="18" y="129"/>
                </a:cubicBezTo>
                <a:cubicBezTo>
                  <a:pt x="19" y="131"/>
                  <a:pt x="19" y="131"/>
                  <a:pt x="19" y="131"/>
                </a:cubicBezTo>
                <a:cubicBezTo>
                  <a:pt x="45" y="266"/>
                  <a:pt x="45" y="266"/>
                  <a:pt x="45" y="266"/>
                </a:cubicBezTo>
                <a:cubicBezTo>
                  <a:pt x="49" y="275"/>
                  <a:pt x="55" y="272"/>
                  <a:pt x="55" y="272"/>
                </a:cubicBezTo>
                <a:cubicBezTo>
                  <a:pt x="72" y="272"/>
                  <a:pt x="72" y="272"/>
                  <a:pt x="72" y="272"/>
                </a:cubicBezTo>
                <a:cubicBezTo>
                  <a:pt x="72" y="288"/>
                  <a:pt x="72" y="288"/>
                  <a:pt x="72" y="288"/>
                </a:cubicBezTo>
                <a:cubicBezTo>
                  <a:pt x="74" y="288"/>
                  <a:pt x="74" y="288"/>
                  <a:pt x="74" y="288"/>
                </a:cubicBezTo>
                <a:cubicBezTo>
                  <a:pt x="75" y="291"/>
                  <a:pt x="75" y="291"/>
                  <a:pt x="75" y="291"/>
                </a:cubicBezTo>
                <a:cubicBezTo>
                  <a:pt x="87" y="291"/>
                  <a:pt x="87" y="291"/>
                  <a:pt x="87" y="291"/>
                </a:cubicBezTo>
                <a:cubicBezTo>
                  <a:pt x="87" y="288"/>
                  <a:pt x="87" y="288"/>
                  <a:pt x="87" y="288"/>
                </a:cubicBezTo>
                <a:cubicBezTo>
                  <a:pt x="90" y="288"/>
                  <a:pt x="90" y="288"/>
                  <a:pt x="90" y="288"/>
                </a:cubicBezTo>
                <a:cubicBezTo>
                  <a:pt x="90" y="272"/>
                  <a:pt x="90" y="272"/>
                  <a:pt x="90" y="272"/>
                </a:cubicBezTo>
                <a:cubicBezTo>
                  <a:pt x="214" y="272"/>
                  <a:pt x="214" y="272"/>
                  <a:pt x="214" y="272"/>
                </a:cubicBezTo>
                <a:cubicBezTo>
                  <a:pt x="214" y="290"/>
                  <a:pt x="214" y="290"/>
                  <a:pt x="214" y="290"/>
                </a:cubicBezTo>
                <a:cubicBezTo>
                  <a:pt x="218" y="290"/>
                  <a:pt x="218" y="290"/>
                  <a:pt x="218" y="290"/>
                </a:cubicBezTo>
                <a:cubicBezTo>
                  <a:pt x="218" y="294"/>
                  <a:pt x="218" y="294"/>
                  <a:pt x="218" y="294"/>
                </a:cubicBezTo>
                <a:cubicBezTo>
                  <a:pt x="229" y="294"/>
                  <a:pt x="229" y="294"/>
                  <a:pt x="229" y="294"/>
                </a:cubicBezTo>
                <a:cubicBezTo>
                  <a:pt x="229" y="290"/>
                  <a:pt x="229" y="290"/>
                  <a:pt x="229" y="290"/>
                </a:cubicBezTo>
                <a:cubicBezTo>
                  <a:pt x="232" y="290"/>
                  <a:pt x="232" y="290"/>
                  <a:pt x="232" y="290"/>
                </a:cubicBezTo>
                <a:cubicBezTo>
                  <a:pt x="232" y="272"/>
                  <a:pt x="232" y="272"/>
                  <a:pt x="232" y="272"/>
                </a:cubicBezTo>
                <a:cubicBezTo>
                  <a:pt x="252" y="272"/>
                  <a:pt x="252" y="272"/>
                  <a:pt x="252" y="272"/>
                </a:cubicBezTo>
                <a:cubicBezTo>
                  <a:pt x="257" y="271"/>
                  <a:pt x="260" y="266"/>
                  <a:pt x="260" y="266"/>
                </a:cubicBezTo>
                <a:cubicBezTo>
                  <a:pt x="282" y="128"/>
                  <a:pt x="282" y="128"/>
                  <a:pt x="282" y="128"/>
                </a:cubicBezTo>
                <a:cubicBezTo>
                  <a:pt x="290" y="128"/>
                  <a:pt x="290" y="128"/>
                  <a:pt x="290" y="128"/>
                </a:cubicBezTo>
                <a:cubicBezTo>
                  <a:pt x="303" y="119"/>
                  <a:pt x="290" y="114"/>
                  <a:pt x="290" y="114"/>
                </a:cubicBezTo>
                <a:close/>
                <a:moveTo>
                  <a:pt x="32" y="128"/>
                </a:moveTo>
                <a:cubicBezTo>
                  <a:pt x="59" y="128"/>
                  <a:pt x="59" y="128"/>
                  <a:pt x="59" y="128"/>
                </a:cubicBezTo>
                <a:cubicBezTo>
                  <a:pt x="59" y="185"/>
                  <a:pt x="59" y="185"/>
                  <a:pt x="59" y="185"/>
                </a:cubicBezTo>
                <a:cubicBezTo>
                  <a:pt x="42" y="185"/>
                  <a:pt x="42" y="185"/>
                  <a:pt x="42" y="185"/>
                </a:cubicBezTo>
                <a:cubicBezTo>
                  <a:pt x="32" y="128"/>
                  <a:pt x="32" y="128"/>
                  <a:pt x="32" y="128"/>
                </a:cubicBezTo>
                <a:close/>
                <a:moveTo>
                  <a:pt x="60" y="254"/>
                </a:moveTo>
                <a:cubicBezTo>
                  <a:pt x="54" y="254"/>
                  <a:pt x="54" y="254"/>
                  <a:pt x="54" y="254"/>
                </a:cubicBezTo>
                <a:cubicBezTo>
                  <a:pt x="44" y="194"/>
                  <a:pt x="44" y="194"/>
                  <a:pt x="44" y="194"/>
                </a:cubicBezTo>
                <a:cubicBezTo>
                  <a:pt x="60" y="194"/>
                  <a:pt x="60" y="194"/>
                  <a:pt x="60" y="194"/>
                </a:cubicBezTo>
                <a:cubicBezTo>
                  <a:pt x="60" y="254"/>
                  <a:pt x="60" y="254"/>
                  <a:pt x="60" y="254"/>
                </a:cubicBezTo>
                <a:close/>
                <a:moveTo>
                  <a:pt x="89" y="255"/>
                </a:moveTo>
                <a:cubicBezTo>
                  <a:pt x="71" y="255"/>
                  <a:pt x="71" y="255"/>
                  <a:pt x="71" y="255"/>
                </a:cubicBezTo>
                <a:cubicBezTo>
                  <a:pt x="71" y="194"/>
                  <a:pt x="71" y="194"/>
                  <a:pt x="71" y="194"/>
                </a:cubicBezTo>
                <a:cubicBezTo>
                  <a:pt x="89" y="194"/>
                  <a:pt x="89" y="194"/>
                  <a:pt x="89" y="194"/>
                </a:cubicBezTo>
                <a:cubicBezTo>
                  <a:pt x="89" y="255"/>
                  <a:pt x="89" y="255"/>
                  <a:pt x="89" y="255"/>
                </a:cubicBezTo>
                <a:close/>
                <a:moveTo>
                  <a:pt x="89" y="184"/>
                </a:moveTo>
                <a:cubicBezTo>
                  <a:pt x="72" y="184"/>
                  <a:pt x="72" y="184"/>
                  <a:pt x="72" y="184"/>
                </a:cubicBezTo>
                <a:cubicBezTo>
                  <a:pt x="72" y="129"/>
                  <a:pt x="72" y="129"/>
                  <a:pt x="72" y="129"/>
                </a:cubicBezTo>
                <a:cubicBezTo>
                  <a:pt x="89" y="129"/>
                  <a:pt x="89" y="129"/>
                  <a:pt x="89" y="129"/>
                </a:cubicBezTo>
                <a:cubicBezTo>
                  <a:pt x="89" y="184"/>
                  <a:pt x="89" y="184"/>
                  <a:pt x="89" y="184"/>
                </a:cubicBezTo>
                <a:close/>
                <a:moveTo>
                  <a:pt x="186" y="129"/>
                </a:moveTo>
                <a:cubicBezTo>
                  <a:pt x="204" y="129"/>
                  <a:pt x="204" y="129"/>
                  <a:pt x="204" y="129"/>
                </a:cubicBezTo>
                <a:cubicBezTo>
                  <a:pt x="204" y="184"/>
                  <a:pt x="204" y="184"/>
                  <a:pt x="204" y="184"/>
                </a:cubicBezTo>
                <a:cubicBezTo>
                  <a:pt x="186" y="184"/>
                  <a:pt x="186" y="184"/>
                  <a:pt x="186" y="184"/>
                </a:cubicBezTo>
                <a:cubicBezTo>
                  <a:pt x="186" y="129"/>
                  <a:pt x="186" y="129"/>
                  <a:pt x="186" y="129"/>
                </a:cubicBezTo>
                <a:close/>
                <a:moveTo>
                  <a:pt x="99" y="129"/>
                </a:moveTo>
                <a:cubicBezTo>
                  <a:pt x="117" y="129"/>
                  <a:pt x="117" y="129"/>
                  <a:pt x="117" y="129"/>
                </a:cubicBezTo>
                <a:cubicBezTo>
                  <a:pt x="117" y="184"/>
                  <a:pt x="117" y="184"/>
                  <a:pt x="117" y="184"/>
                </a:cubicBezTo>
                <a:cubicBezTo>
                  <a:pt x="99" y="184"/>
                  <a:pt x="99" y="184"/>
                  <a:pt x="99" y="184"/>
                </a:cubicBezTo>
                <a:cubicBezTo>
                  <a:pt x="99" y="129"/>
                  <a:pt x="99" y="129"/>
                  <a:pt x="99" y="129"/>
                </a:cubicBezTo>
                <a:close/>
                <a:moveTo>
                  <a:pt x="117" y="255"/>
                </a:moveTo>
                <a:cubicBezTo>
                  <a:pt x="99" y="255"/>
                  <a:pt x="99" y="255"/>
                  <a:pt x="99" y="255"/>
                </a:cubicBezTo>
                <a:cubicBezTo>
                  <a:pt x="99" y="194"/>
                  <a:pt x="99" y="194"/>
                  <a:pt x="99" y="194"/>
                </a:cubicBezTo>
                <a:cubicBezTo>
                  <a:pt x="117" y="194"/>
                  <a:pt x="117" y="194"/>
                  <a:pt x="117" y="194"/>
                </a:cubicBezTo>
                <a:cubicBezTo>
                  <a:pt x="117" y="255"/>
                  <a:pt x="117" y="255"/>
                  <a:pt x="117" y="255"/>
                </a:cubicBezTo>
                <a:close/>
                <a:moveTo>
                  <a:pt x="129" y="129"/>
                </a:moveTo>
                <a:cubicBezTo>
                  <a:pt x="147" y="129"/>
                  <a:pt x="147" y="129"/>
                  <a:pt x="147" y="129"/>
                </a:cubicBezTo>
                <a:cubicBezTo>
                  <a:pt x="147" y="184"/>
                  <a:pt x="147" y="184"/>
                  <a:pt x="147" y="184"/>
                </a:cubicBezTo>
                <a:cubicBezTo>
                  <a:pt x="129" y="184"/>
                  <a:pt x="129" y="184"/>
                  <a:pt x="129" y="184"/>
                </a:cubicBezTo>
                <a:cubicBezTo>
                  <a:pt x="129" y="129"/>
                  <a:pt x="129" y="129"/>
                  <a:pt x="129" y="129"/>
                </a:cubicBezTo>
                <a:close/>
                <a:moveTo>
                  <a:pt x="147" y="255"/>
                </a:moveTo>
                <a:cubicBezTo>
                  <a:pt x="130" y="255"/>
                  <a:pt x="130" y="255"/>
                  <a:pt x="130" y="255"/>
                </a:cubicBezTo>
                <a:cubicBezTo>
                  <a:pt x="130" y="194"/>
                  <a:pt x="130" y="194"/>
                  <a:pt x="130" y="194"/>
                </a:cubicBezTo>
                <a:cubicBezTo>
                  <a:pt x="147" y="194"/>
                  <a:pt x="147" y="194"/>
                  <a:pt x="147" y="194"/>
                </a:cubicBezTo>
                <a:cubicBezTo>
                  <a:pt x="147" y="255"/>
                  <a:pt x="147" y="255"/>
                  <a:pt x="147" y="255"/>
                </a:cubicBezTo>
                <a:close/>
                <a:moveTo>
                  <a:pt x="175" y="255"/>
                </a:moveTo>
                <a:cubicBezTo>
                  <a:pt x="157" y="255"/>
                  <a:pt x="157" y="255"/>
                  <a:pt x="157" y="255"/>
                </a:cubicBezTo>
                <a:cubicBezTo>
                  <a:pt x="157" y="194"/>
                  <a:pt x="157" y="194"/>
                  <a:pt x="157" y="194"/>
                </a:cubicBezTo>
                <a:cubicBezTo>
                  <a:pt x="175" y="194"/>
                  <a:pt x="175" y="194"/>
                  <a:pt x="175" y="194"/>
                </a:cubicBezTo>
                <a:cubicBezTo>
                  <a:pt x="175" y="255"/>
                  <a:pt x="175" y="255"/>
                  <a:pt x="175" y="255"/>
                </a:cubicBezTo>
                <a:close/>
                <a:moveTo>
                  <a:pt x="175" y="184"/>
                </a:moveTo>
                <a:cubicBezTo>
                  <a:pt x="157" y="184"/>
                  <a:pt x="157" y="184"/>
                  <a:pt x="157" y="184"/>
                </a:cubicBezTo>
                <a:cubicBezTo>
                  <a:pt x="157" y="129"/>
                  <a:pt x="157" y="129"/>
                  <a:pt x="157" y="129"/>
                </a:cubicBezTo>
                <a:cubicBezTo>
                  <a:pt x="175" y="129"/>
                  <a:pt x="175" y="129"/>
                  <a:pt x="175" y="129"/>
                </a:cubicBezTo>
                <a:cubicBezTo>
                  <a:pt x="175" y="184"/>
                  <a:pt x="175" y="184"/>
                  <a:pt x="175" y="184"/>
                </a:cubicBezTo>
                <a:close/>
                <a:moveTo>
                  <a:pt x="204" y="255"/>
                </a:moveTo>
                <a:cubicBezTo>
                  <a:pt x="186" y="255"/>
                  <a:pt x="186" y="255"/>
                  <a:pt x="186" y="255"/>
                </a:cubicBezTo>
                <a:cubicBezTo>
                  <a:pt x="186" y="194"/>
                  <a:pt x="186" y="194"/>
                  <a:pt x="186" y="194"/>
                </a:cubicBezTo>
                <a:cubicBezTo>
                  <a:pt x="204" y="194"/>
                  <a:pt x="204" y="194"/>
                  <a:pt x="204" y="194"/>
                </a:cubicBezTo>
                <a:cubicBezTo>
                  <a:pt x="204" y="255"/>
                  <a:pt x="204" y="255"/>
                  <a:pt x="204" y="255"/>
                </a:cubicBezTo>
                <a:close/>
                <a:moveTo>
                  <a:pt x="232" y="255"/>
                </a:moveTo>
                <a:cubicBezTo>
                  <a:pt x="214" y="255"/>
                  <a:pt x="214" y="255"/>
                  <a:pt x="214" y="255"/>
                </a:cubicBezTo>
                <a:cubicBezTo>
                  <a:pt x="214" y="194"/>
                  <a:pt x="214" y="194"/>
                  <a:pt x="214" y="194"/>
                </a:cubicBezTo>
                <a:cubicBezTo>
                  <a:pt x="232" y="194"/>
                  <a:pt x="232" y="194"/>
                  <a:pt x="232" y="194"/>
                </a:cubicBezTo>
                <a:cubicBezTo>
                  <a:pt x="232" y="255"/>
                  <a:pt x="232" y="255"/>
                  <a:pt x="232" y="255"/>
                </a:cubicBezTo>
                <a:close/>
                <a:moveTo>
                  <a:pt x="233" y="184"/>
                </a:moveTo>
                <a:cubicBezTo>
                  <a:pt x="215" y="184"/>
                  <a:pt x="215" y="184"/>
                  <a:pt x="215" y="184"/>
                </a:cubicBezTo>
                <a:cubicBezTo>
                  <a:pt x="215" y="129"/>
                  <a:pt x="215" y="129"/>
                  <a:pt x="215" y="129"/>
                </a:cubicBezTo>
                <a:cubicBezTo>
                  <a:pt x="233" y="129"/>
                  <a:pt x="233" y="129"/>
                  <a:pt x="233" y="129"/>
                </a:cubicBezTo>
                <a:cubicBezTo>
                  <a:pt x="233" y="184"/>
                  <a:pt x="233" y="184"/>
                  <a:pt x="233" y="184"/>
                </a:cubicBezTo>
                <a:close/>
                <a:moveTo>
                  <a:pt x="249" y="254"/>
                </a:moveTo>
                <a:cubicBezTo>
                  <a:pt x="241" y="254"/>
                  <a:pt x="241" y="254"/>
                  <a:pt x="241" y="254"/>
                </a:cubicBezTo>
                <a:cubicBezTo>
                  <a:pt x="241" y="194"/>
                  <a:pt x="241" y="194"/>
                  <a:pt x="241" y="194"/>
                </a:cubicBezTo>
                <a:cubicBezTo>
                  <a:pt x="258" y="194"/>
                  <a:pt x="258" y="194"/>
                  <a:pt x="258" y="194"/>
                </a:cubicBezTo>
                <a:cubicBezTo>
                  <a:pt x="249" y="254"/>
                  <a:pt x="249" y="254"/>
                  <a:pt x="249" y="254"/>
                </a:cubicBezTo>
                <a:close/>
                <a:moveTo>
                  <a:pt x="259" y="184"/>
                </a:moveTo>
                <a:cubicBezTo>
                  <a:pt x="242" y="184"/>
                  <a:pt x="242" y="184"/>
                  <a:pt x="242" y="184"/>
                </a:cubicBezTo>
                <a:cubicBezTo>
                  <a:pt x="241" y="128"/>
                  <a:pt x="241" y="128"/>
                  <a:pt x="241" y="128"/>
                </a:cubicBezTo>
                <a:cubicBezTo>
                  <a:pt x="269" y="128"/>
                  <a:pt x="269" y="128"/>
                  <a:pt x="269" y="128"/>
                </a:cubicBezTo>
                <a:cubicBezTo>
                  <a:pt x="259" y="184"/>
                  <a:pt x="259" y="184"/>
                  <a:pt x="259" y="184"/>
                </a:cubicBezTo>
                <a:close/>
              </a:path>
            </a:pathLst>
          </a:custGeom>
          <a:solidFill>
            <a:srgbClr val="FF0000"/>
          </a:solidFill>
          <a:ln>
            <a:noFill/>
          </a:ln>
          <a:effectLst>
            <a:innerShdw blurRad="635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lIns="121872" tIns="60936" rIns="121872" bIns="60936"/>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grpSp>
        <p:nvGrpSpPr>
          <p:cNvPr id="4" name="Group 96"/>
          <p:cNvGrpSpPr>
            <a:grpSpLocks/>
          </p:cNvGrpSpPr>
          <p:nvPr/>
        </p:nvGrpSpPr>
        <p:grpSpPr bwMode="auto">
          <a:xfrm>
            <a:off x="8438941" y="2905666"/>
            <a:ext cx="507868" cy="563033"/>
            <a:chOff x="11788775" y="7639051"/>
            <a:chExt cx="1016000" cy="1128713"/>
          </a:xfrm>
        </p:grpSpPr>
        <p:sp>
          <p:nvSpPr>
            <p:cNvPr id="13" name="Freeform 29"/>
            <p:cNvSpPr>
              <a:spLocks noEditPoints="1"/>
            </p:cNvSpPr>
            <p:nvPr/>
          </p:nvSpPr>
          <p:spPr bwMode="auto">
            <a:xfrm>
              <a:off x="11788775" y="7639051"/>
              <a:ext cx="1016000" cy="1128713"/>
            </a:xfrm>
            <a:custGeom>
              <a:avLst/>
              <a:gdLst>
                <a:gd name="T0" fmla="*/ 266 w 271"/>
                <a:gd name="T1" fmla="*/ 75 h 301"/>
                <a:gd name="T2" fmla="*/ 239 w 271"/>
                <a:gd name="T3" fmla="*/ 150 h 301"/>
                <a:gd name="T4" fmla="*/ 266 w 271"/>
                <a:gd name="T5" fmla="*/ 226 h 301"/>
                <a:gd name="T6" fmla="*/ 187 w 271"/>
                <a:gd name="T7" fmla="*/ 240 h 301"/>
                <a:gd name="T8" fmla="*/ 135 w 271"/>
                <a:gd name="T9" fmla="*/ 301 h 301"/>
                <a:gd name="T10" fmla="*/ 84 w 271"/>
                <a:gd name="T11" fmla="*/ 240 h 301"/>
                <a:gd name="T12" fmla="*/ 5 w 271"/>
                <a:gd name="T13" fmla="*/ 225 h 301"/>
                <a:gd name="T14" fmla="*/ 32 w 271"/>
                <a:gd name="T15" fmla="*/ 150 h 301"/>
                <a:gd name="T16" fmla="*/ 5 w 271"/>
                <a:gd name="T17" fmla="*/ 75 h 301"/>
                <a:gd name="T18" fmla="*/ 84 w 271"/>
                <a:gd name="T19" fmla="*/ 61 h 301"/>
                <a:gd name="T20" fmla="*/ 135 w 271"/>
                <a:gd name="T21" fmla="*/ 0 h 301"/>
                <a:gd name="T22" fmla="*/ 187 w 271"/>
                <a:gd name="T23" fmla="*/ 61 h 301"/>
                <a:gd name="T24" fmla="*/ 37 w 271"/>
                <a:gd name="T25" fmla="*/ 65 h 301"/>
                <a:gd name="T26" fmla="*/ 13 w 271"/>
                <a:gd name="T27" fmla="*/ 108 h 301"/>
                <a:gd name="T28" fmla="*/ 73 w 271"/>
                <a:gd name="T29" fmla="*/ 114 h 301"/>
                <a:gd name="T30" fmla="*/ 37 w 271"/>
                <a:gd name="T31" fmla="*/ 65 h 301"/>
                <a:gd name="T32" fmla="*/ 13 w 271"/>
                <a:gd name="T33" fmla="*/ 193 h 301"/>
                <a:gd name="T34" fmla="*/ 37 w 271"/>
                <a:gd name="T35" fmla="*/ 235 h 301"/>
                <a:gd name="T36" fmla="*/ 73 w 271"/>
                <a:gd name="T37" fmla="*/ 187 h 301"/>
                <a:gd name="T38" fmla="*/ 45 w 271"/>
                <a:gd name="T39" fmla="*/ 150 h 301"/>
                <a:gd name="T40" fmla="*/ 71 w 271"/>
                <a:gd name="T41" fmla="*/ 150 h 301"/>
                <a:gd name="T42" fmla="*/ 72 w 271"/>
                <a:gd name="T43" fmla="*/ 127 h 301"/>
                <a:gd name="T44" fmla="*/ 108 w 271"/>
                <a:gd name="T45" fmla="*/ 198 h 301"/>
                <a:gd name="T46" fmla="*/ 163 w 271"/>
                <a:gd name="T47" fmla="*/ 198 h 301"/>
                <a:gd name="T48" fmla="*/ 190 w 271"/>
                <a:gd name="T49" fmla="*/ 150 h 301"/>
                <a:gd name="T50" fmla="*/ 163 w 271"/>
                <a:gd name="T51" fmla="*/ 103 h 301"/>
                <a:gd name="T52" fmla="*/ 108 w 271"/>
                <a:gd name="T53" fmla="*/ 103 h 301"/>
                <a:gd name="T54" fmla="*/ 81 w 271"/>
                <a:gd name="T55" fmla="*/ 150 h 301"/>
                <a:gd name="T56" fmla="*/ 108 w 271"/>
                <a:gd name="T57" fmla="*/ 198 h 301"/>
                <a:gd name="T58" fmla="*/ 124 w 271"/>
                <a:gd name="T59" fmla="*/ 84 h 301"/>
                <a:gd name="T60" fmla="*/ 83 w 271"/>
                <a:gd name="T61" fmla="*/ 107 h 301"/>
                <a:gd name="T62" fmla="*/ 124 w 271"/>
                <a:gd name="T63" fmla="*/ 217 h 301"/>
                <a:gd name="T64" fmla="*/ 84 w 271"/>
                <a:gd name="T65" fmla="*/ 194 h 301"/>
                <a:gd name="T66" fmla="*/ 124 w 271"/>
                <a:gd name="T67" fmla="*/ 217 h 301"/>
                <a:gd name="T68" fmla="*/ 179 w 271"/>
                <a:gd name="T69" fmla="*/ 63 h 301"/>
                <a:gd name="T70" fmla="*/ 135 w 271"/>
                <a:gd name="T71" fmla="*/ 8 h 301"/>
                <a:gd name="T72" fmla="*/ 92 w 271"/>
                <a:gd name="T73" fmla="*/ 63 h 301"/>
                <a:gd name="T74" fmla="*/ 136 w 271"/>
                <a:gd name="T75" fmla="*/ 222 h 301"/>
                <a:gd name="T76" fmla="*/ 111 w 271"/>
                <a:gd name="T77" fmla="*/ 278 h 301"/>
                <a:gd name="T78" fmla="*/ 160 w 271"/>
                <a:gd name="T79" fmla="*/ 278 h 301"/>
                <a:gd name="T80" fmla="*/ 136 w 271"/>
                <a:gd name="T81" fmla="*/ 222 h 301"/>
                <a:gd name="T82" fmla="*/ 147 w 271"/>
                <a:gd name="T83" fmla="*/ 217 h 301"/>
                <a:gd name="T84" fmla="*/ 188 w 271"/>
                <a:gd name="T85" fmla="*/ 194 h 301"/>
                <a:gd name="T86" fmla="*/ 181 w 271"/>
                <a:gd name="T87" fmla="*/ 71 h 301"/>
                <a:gd name="T88" fmla="*/ 168 w 271"/>
                <a:gd name="T89" fmla="*/ 95 h 301"/>
                <a:gd name="T90" fmla="*/ 181 w 271"/>
                <a:gd name="T91" fmla="*/ 71 h 301"/>
                <a:gd name="T92" fmla="*/ 258 w 271"/>
                <a:gd name="T93" fmla="*/ 108 h 301"/>
                <a:gd name="T94" fmla="*/ 234 w 271"/>
                <a:gd name="T95" fmla="*/ 66 h 301"/>
                <a:gd name="T96" fmla="*/ 198 w 271"/>
                <a:gd name="T97" fmla="*/ 115 h 301"/>
                <a:gd name="T98" fmla="*/ 234 w 271"/>
                <a:gd name="T99" fmla="*/ 235 h 301"/>
                <a:gd name="T100" fmla="*/ 258 w 271"/>
                <a:gd name="T101" fmla="*/ 193 h 301"/>
                <a:gd name="T102" fmla="*/ 198 w 271"/>
                <a:gd name="T103" fmla="*/ 187 h 301"/>
                <a:gd name="T104" fmla="*/ 234 w 271"/>
                <a:gd name="T105" fmla="*/ 235 h 301"/>
                <a:gd name="T106" fmla="*/ 226 w 271"/>
                <a:gd name="T107" fmla="*/ 150 h 301"/>
                <a:gd name="T108" fmla="*/ 200 w 271"/>
                <a:gd name="T109" fmla="*/ 150 h 301"/>
                <a:gd name="T110" fmla="*/ 214 w 271"/>
                <a:gd name="T111" fmla="*/ 16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1" h="301">
                  <a:moveTo>
                    <a:pt x="237" y="58"/>
                  </a:moveTo>
                  <a:cubicBezTo>
                    <a:pt x="251" y="60"/>
                    <a:pt x="261" y="66"/>
                    <a:pt x="266" y="75"/>
                  </a:cubicBezTo>
                  <a:cubicBezTo>
                    <a:pt x="271" y="84"/>
                    <a:pt x="271" y="96"/>
                    <a:pt x="266" y="109"/>
                  </a:cubicBezTo>
                  <a:cubicBezTo>
                    <a:pt x="261" y="122"/>
                    <a:pt x="252" y="136"/>
                    <a:pt x="239" y="150"/>
                  </a:cubicBezTo>
                  <a:cubicBezTo>
                    <a:pt x="252" y="165"/>
                    <a:pt x="261" y="179"/>
                    <a:pt x="266" y="192"/>
                  </a:cubicBezTo>
                  <a:cubicBezTo>
                    <a:pt x="271" y="205"/>
                    <a:pt x="271" y="216"/>
                    <a:pt x="266" y="226"/>
                  </a:cubicBezTo>
                  <a:cubicBezTo>
                    <a:pt x="260" y="235"/>
                    <a:pt x="251" y="240"/>
                    <a:pt x="237" y="243"/>
                  </a:cubicBezTo>
                  <a:cubicBezTo>
                    <a:pt x="223" y="245"/>
                    <a:pt x="206" y="244"/>
                    <a:pt x="187" y="240"/>
                  </a:cubicBezTo>
                  <a:cubicBezTo>
                    <a:pt x="181" y="258"/>
                    <a:pt x="174" y="273"/>
                    <a:pt x="165" y="284"/>
                  </a:cubicBezTo>
                  <a:cubicBezTo>
                    <a:pt x="156" y="295"/>
                    <a:pt x="146" y="301"/>
                    <a:pt x="135" y="301"/>
                  </a:cubicBezTo>
                  <a:cubicBezTo>
                    <a:pt x="125" y="301"/>
                    <a:pt x="115" y="295"/>
                    <a:pt x="106" y="284"/>
                  </a:cubicBezTo>
                  <a:cubicBezTo>
                    <a:pt x="97" y="273"/>
                    <a:pt x="90" y="258"/>
                    <a:pt x="84" y="240"/>
                  </a:cubicBezTo>
                  <a:cubicBezTo>
                    <a:pt x="65" y="244"/>
                    <a:pt x="48" y="245"/>
                    <a:pt x="34" y="243"/>
                  </a:cubicBezTo>
                  <a:cubicBezTo>
                    <a:pt x="20" y="240"/>
                    <a:pt x="11" y="235"/>
                    <a:pt x="5" y="225"/>
                  </a:cubicBezTo>
                  <a:cubicBezTo>
                    <a:pt x="0" y="216"/>
                    <a:pt x="0" y="205"/>
                    <a:pt x="5" y="192"/>
                  </a:cubicBezTo>
                  <a:cubicBezTo>
                    <a:pt x="10" y="179"/>
                    <a:pt x="19" y="165"/>
                    <a:pt x="32" y="150"/>
                  </a:cubicBezTo>
                  <a:cubicBezTo>
                    <a:pt x="19" y="136"/>
                    <a:pt x="10" y="122"/>
                    <a:pt x="5" y="109"/>
                  </a:cubicBezTo>
                  <a:cubicBezTo>
                    <a:pt x="0" y="96"/>
                    <a:pt x="0" y="84"/>
                    <a:pt x="5" y="75"/>
                  </a:cubicBezTo>
                  <a:cubicBezTo>
                    <a:pt x="11" y="66"/>
                    <a:pt x="20" y="60"/>
                    <a:pt x="34" y="58"/>
                  </a:cubicBezTo>
                  <a:cubicBezTo>
                    <a:pt x="48" y="56"/>
                    <a:pt x="65" y="57"/>
                    <a:pt x="84" y="61"/>
                  </a:cubicBezTo>
                  <a:cubicBezTo>
                    <a:pt x="90" y="43"/>
                    <a:pt x="97" y="28"/>
                    <a:pt x="106" y="17"/>
                  </a:cubicBezTo>
                  <a:cubicBezTo>
                    <a:pt x="115" y="6"/>
                    <a:pt x="125" y="0"/>
                    <a:pt x="135" y="0"/>
                  </a:cubicBezTo>
                  <a:cubicBezTo>
                    <a:pt x="146" y="0"/>
                    <a:pt x="156" y="6"/>
                    <a:pt x="165" y="17"/>
                  </a:cubicBezTo>
                  <a:cubicBezTo>
                    <a:pt x="174" y="28"/>
                    <a:pt x="181" y="42"/>
                    <a:pt x="187" y="61"/>
                  </a:cubicBezTo>
                  <a:cubicBezTo>
                    <a:pt x="206" y="57"/>
                    <a:pt x="223" y="56"/>
                    <a:pt x="237" y="58"/>
                  </a:cubicBezTo>
                  <a:close/>
                  <a:moveTo>
                    <a:pt x="37" y="65"/>
                  </a:moveTo>
                  <a:cubicBezTo>
                    <a:pt x="25" y="67"/>
                    <a:pt x="16" y="71"/>
                    <a:pt x="12" y="79"/>
                  </a:cubicBezTo>
                  <a:cubicBezTo>
                    <a:pt x="7" y="87"/>
                    <a:pt x="8" y="96"/>
                    <a:pt x="13" y="108"/>
                  </a:cubicBezTo>
                  <a:cubicBezTo>
                    <a:pt x="18" y="119"/>
                    <a:pt x="26" y="131"/>
                    <a:pt x="38" y="144"/>
                  </a:cubicBezTo>
                  <a:cubicBezTo>
                    <a:pt x="48" y="134"/>
                    <a:pt x="60" y="124"/>
                    <a:pt x="73" y="114"/>
                  </a:cubicBezTo>
                  <a:cubicBezTo>
                    <a:pt x="75" y="99"/>
                    <a:pt x="77" y="84"/>
                    <a:pt x="81" y="69"/>
                  </a:cubicBezTo>
                  <a:cubicBezTo>
                    <a:pt x="64" y="65"/>
                    <a:pt x="50" y="64"/>
                    <a:pt x="37" y="65"/>
                  </a:cubicBezTo>
                  <a:close/>
                  <a:moveTo>
                    <a:pt x="38" y="157"/>
                  </a:moveTo>
                  <a:cubicBezTo>
                    <a:pt x="26" y="169"/>
                    <a:pt x="18" y="182"/>
                    <a:pt x="13" y="193"/>
                  </a:cubicBezTo>
                  <a:cubicBezTo>
                    <a:pt x="8" y="205"/>
                    <a:pt x="8" y="214"/>
                    <a:pt x="12" y="222"/>
                  </a:cubicBezTo>
                  <a:cubicBezTo>
                    <a:pt x="16" y="229"/>
                    <a:pt x="25" y="234"/>
                    <a:pt x="37" y="235"/>
                  </a:cubicBezTo>
                  <a:cubicBezTo>
                    <a:pt x="50" y="237"/>
                    <a:pt x="64" y="235"/>
                    <a:pt x="81" y="231"/>
                  </a:cubicBezTo>
                  <a:cubicBezTo>
                    <a:pt x="77" y="217"/>
                    <a:pt x="75" y="202"/>
                    <a:pt x="73" y="187"/>
                  </a:cubicBezTo>
                  <a:cubicBezTo>
                    <a:pt x="60" y="177"/>
                    <a:pt x="48" y="167"/>
                    <a:pt x="38" y="157"/>
                  </a:cubicBezTo>
                  <a:close/>
                  <a:moveTo>
                    <a:pt x="45" y="150"/>
                  </a:moveTo>
                  <a:cubicBezTo>
                    <a:pt x="52" y="158"/>
                    <a:pt x="61" y="166"/>
                    <a:pt x="72" y="174"/>
                  </a:cubicBezTo>
                  <a:cubicBezTo>
                    <a:pt x="71" y="167"/>
                    <a:pt x="71" y="159"/>
                    <a:pt x="71" y="150"/>
                  </a:cubicBezTo>
                  <a:cubicBezTo>
                    <a:pt x="71" y="146"/>
                    <a:pt x="71" y="143"/>
                    <a:pt x="71" y="139"/>
                  </a:cubicBezTo>
                  <a:cubicBezTo>
                    <a:pt x="71" y="135"/>
                    <a:pt x="72" y="131"/>
                    <a:pt x="72" y="127"/>
                  </a:cubicBezTo>
                  <a:cubicBezTo>
                    <a:pt x="61" y="135"/>
                    <a:pt x="52" y="143"/>
                    <a:pt x="45" y="150"/>
                  </a:cubicBezTo>
                  <a:close/>
                  <a:moveTo>
                    <a:pt x="108" y="198"/>
                  </a:moveTo>
                  <a:cubicBezTo>
                    <a:pt x="117" y="203"/>
                    <a:pt x="126" y="208"/>
                    <a:pt x="136" y="212"/>
                  </a:cubicBezTo>
                  <a:cubicBezTo>
                    <a:pt x="145" y="208"/>
                    <a:pt x="154" y="203"/>
                    <a:pt x="163" y="198"/>
                  </a:cubicBezTo>
                  <a:cubicBezTo>
                    <a:pt x="173" y="192"/>
                    <a:pt x="181" y="187"/>
                    <a:pt x="189" y="181"/>
                  </a:cubicBezTo>
                  <a:cubicBezTo>
                    <a:pt x="190" y="172"/>
                    <a:pt x="190" y="162"/>
                    <a:pt x="190" y="150"/>
                  </a:cubicBezTo>
                  <a:cubicBezTo>
                    <a:pt x="190" y="139"/>
                    <a:pt x="190" y="128"/>
                    <a:pt x="189" y="119"/>
                  </a:cubicBezTo>
                  <a:cubicBezTo>
                    <a:pt x="181" y="114"/>
                    <a:pt x="172" y="109"/>
                    <a:pt x="163" y="103"/>
                  </a:cubicBezTo>
                  <a:cubicBezTo>
                    <a:pt x="154" y="98"/>
                    <a:pt x="145" y="93"/>
                    <a:pt x="136" y="89"/>
                  </a:cubicBezTo>
                  <a:cubicBezTo>
                    <a:pt x="126" y="93"/>
                    <a:pt x="117" y="98"/>
                    <a:pt x="108" y="103"/>
                  </a:cubicBezTo>
                  <a:cubicBezTo>
                    <a:pt x="98" y="109"/>
                    <a:pt x="90" y="114"/>
                    <a:pt x="82" y="120"/>
                  </a:cubicBezTo>
                  <a:cubicBezTo>
                    <a:pt x="81" y="128"/>
                    <a:pt x="81" y="139"/>
                    <a:pt x="81" y="150"/>
                  </a:cubicBezTo>
                  <a:cubicBezTo>
                    <a:pt x="81" y="162"/>
                    <a:pt x="81" y="172"/>
                    <a:pt x="82" y="181"/>
                  </a:cubicBezTo>
                  <a:cubicBezTo>
                    <a:pt x="89" y="186"/>
                    <a:pt x="98" y="192"/>
                    <a:pt x="108" y="198"/>
                  </a:cubicBezTo>
                  <a:close/>
                  <a:moveTo>
                    <a:pt x="103" y="95"/>
                  </a:moveTo>
                  <a:cubicBezTo>
                    <a:pt x="110" y="91"/>
                    <a:pt x="117" y="87"/>
                    <a:pt x="124" y="84"/>
                  </a:cubicBezTo>
                  <a:cubicBezTo>
                    <a:pt x="112" y="79"/>
                    <a:pt x="101" y="75"/>
                    <a:pt x="90" y="71"/>
                  </a:cubicBezTo>
                  <a:cubicBezTo>
                    <a:pt x="87" y="83"/>
                    <a:pt x="85" y="95"/>
                    <a:pt x="83" y="107"/>
                  </a:cubicBezTo>
                  <a:cubicBezTo>
                    <a:pt x="89" y="103"/>
                    <a:pt x="96" y="99"/>
                    <a:pt x="103" y="95"/>
                  </a:cubicBezTo>
                  <a:close/>
                  <a:moveTo>
                    <a:pt x="124" y="217"/>
                  </a:moveTo>
                  <a:cubicBezTo>
                    <a:pt x="116" y="213"/>
                    <a:pt x="109" y="210"/>
                    <a:pt x="103" y="206"/>
                  </a:cubicBezTo>
                  <a:cubicBezTo>
                    <a:pt x="97" y="202"/>
                    <a:pt x="90" y="198"/>
                    <a:pt x="84" y="194"/>
                  </a:cubicBezTo>
                  <a:cubicBezTo>
                    <a:pt x="85" y="206"/>
                    <a:pt x="87" y="217"/>
                    <a:pt x="90" y="229"/>
                  </a:cubicBezTo>
                  <a:cubicBezTo>
                    <a:pt x="101" y="226"/>
                    <a:pt x="112" y="222"/>
                    <a:pt x="124" y="217"/>
                  </a:cubicBezTo>
                  <a:close/>
                  <a:moveTo>
                    <a:pt x="136" y="78"/>
                  </a:moveTo>
                  <a:cubicBezTo>
                    <a:pt x="151" y="71"/>
                    <a:pt x="165" y="66"/>
                    <a:pt x="179" y="63"/>
                  </a:cubicBezTo>
                  <a:cubicBezTo>
                    <a:pt x="174" y="46"/>
                    <a:pt x="167" y="33"/>
                    <a:pt x="160" y="23"/>
                  </a:cubicBezTo>
                  <a:cubicBezTo>
                    <a:pt x="152" y="13"/>
                    <a:pt x="144" y="8"/>
                    <a:pt x="135" y="8"/>
                  </a:cubicBezTo>
                  <a:cubicBezTo>
                    <a:pt x="127" y="8"/>
                    <a:pt x="119" y="13"/>
                    <a:pt x="111" y="23"/>
                  </a:cubicBezTo>
                  <a:cubicBezTo>
                    <a:pt x="104" y="33"/>
                    <a:pt x="97" y="46"/>
                    <a:pt x="92" y="63"/>
                  </a:cubicBezTo>
                  <a:cubicBezTo>
                    <a:pt x="106" y="67"/>
                    <a:pt x="121" y="72"/>
                    <a:pt x="136" y="78"/>
                  </a:cubicBezTo>
                  <a:close/>
                  <a:moveTo>
                    <a:pt x="136" y="222"/>
                  </a:moveTo>
                  <a:cubicBezTo>
                    <a:pt x="121" y="229"/>
                    <a:pt x="107" y="234"/>
                    <a:pt x="93" y="238"/>
                  </a:cubicBezTo>
                  <a:cubicBezTo>
                    <a:pt x="97" y="255"/>
                    <a:pt x="104" y="268"/>
                    <a:pt x="111" y="278"/>
                  </a:cubicBezTo>
                  <a:cubicBezTo>
                    <a:pt x="119" y="288"/>
                    <a:pt x="127" y="293"/>
                    <a:pt x="135" y="293"/>
                  </a:cubicBezTo>
                  <a:cubicBezTo>
                    <a:pt x="144" y="293"/>
                    <a:pt x="152" y="288"/>
                    <a:pt x="160" y="278"/>
                  </a:cubicBezTo>
                  <a:cubicBezTo>
                    <a:pt x="167" y="268"/>
                    <a:pt x="174" y="255"/>
                    <a:pt x="179" y="238"/>
                  </a:cubicBezTo>
                  <a:cubicBezTo>
                    <a:pt x="164" y="234"/>
                    <a:pt x="150" y="229"/>
                    <a:pt x="136" y="222"/>
                  </a:cubicBezTo>
                  <a:close/>
                  <a:moveTo>
                    <a:pt x="168" y="206"/>
                  </a:moveTo>
                  <a:cubicBezTo>
                    <a:pt x="160" y="211"/>
                    <a:pt x="153" y="214"/>
                    <a:pt x="147" y="217"/>
                  </a:cubicBezTo>
                  <a:cubicBezTo>
                    <a:pt x="159" y="222"/>
                    <a:pt x="170" y="226"/>
                    <a:pt x="181" y="229"/>
                  </a:cubicBezTo>
                  <a:cubicBezTo>
                    <a:pt x="184" y="219"/>
                    <a:pt x="186" y="207"/>
                    <a:pt x="188" y="194"/>
                  </a:cubicBezTo>
                  <a:cubicBezTo>
                    <a:pt x="181" y="198"/>
                    <a:pt x="175" y="202"/>
                    <a:pt x="168" y="206"/>
                  </a:cubicBezTo>
                  <a:close/>
                  <a:moveTo>
                    <a:pt x="181" y="71"/>
                  </a:moveTo>
                  <a:cubicBezTo>
                    <a:pt x="171" y="74"/>
                    <a:pt x="159" y="78"/>
                    <a:pt x="147" y="84"/>
                  </a:cubicBezTo>
                  <a:cubicBezTo>
                    <a:pt x="155" y="88"/>
                    <a:pt x="162" y="91"/>
                    <a:pt x="168" y="95"/>
                  </a:cubicBezTo>
                  <a:cubicBezTo>
                    <a:pt x="175" y="99"/>
                    <a:pt x="182" y="103"/>
                    <a:pt x="188" y="107"/>
                  </a:cubicBezTo>
                  <a:cubicBezTo>
                    <a:pt x="186" y="95"/>
                    <a:pt x="184" y="83"/>
                    <a:pt x="181" y="71"/>
                  </a:cubicBezTo>
                  <a:close/>
                  <a:moveTo>
                    <a:pt x="233" y="144"/>
                  </a:moveTo>
                  <a:cubicBezTo>
                    <a:pt x="245" y="131"/>
                    <a:pt x="253" y="119"/>
                    <a:pt x="258" y="108"/>
                  </a:cubicBezTo>
                  <a:cubicBezTo>
                    <a:pt x="263" y="96"/>
                    <a:pt x="264" y="87"/>
                    <a:pt x="259" y="79"/>
                  </a:cubicBezTo>
                  <a:cubicBezTo>
                    <a:pt x="255" y="71"/>
                    <a:pt x="246" y="67"/>
                    <a:pt x="234" y="66"/>
                  </a:cubicBezTo>
                  <a:cubicBezTo>
                    <a:pt x="221" y="64"/>
                    <a:pt x="207" y="65"/>
                    <a:pt x="190" y="69"/>
                  </a:cubicBezTo>
                  <a:cubicBezTo>
                    <a:pt x="194" y="83"/>
                    <a:pt x="196" y="98"/>
                    <a:pt x="198" y="115"/>
                  </a:cubicBezTo>
                  <a:cubicBezTo>
                    <a:pt x="211" y="124"/>
                    <a:pt x="222" y="134"/>
                    <a:pt x="233" y="144"/>
                  </a:cubicBezTo>
                  <a:close/>
                  <a:moveTo>
                    <a:pt x="234" y="235"/>
                  </a:moveTo>
                  <a:cubicBezTo>
                    <a:pt x="246" y="234"/>
                    <a:pt x="255" y="229"/>
                    <a:pt x="259" y="222"/>
                  </a:cubicBezTo>
                  <a:cubicBezTo>
                    <a:pt x="263" y="214"/>
                    <a:pt x="263" y="205"/>
                    <a:pt x="258" y="193"/>
                  </a:cubicBezTo>
                  <a:cubicBezTo>
                    <a:pt x="253" y="182"/>
                    <a:pt x="245" y="170"/>
                    <a:pt x="233" y="157"/>
                  </a:cubicBezTo>
                  <a:cubicBezTo>
                    <a:pt x="222" y="167"/>
                    <a:pt x="211" y="177"/>
                    <a:pt x="198" y="187"/>
                  </a:cubicBezTo>
                  <a:cubicBezTo>
                    <a:pt x="196" y="202"/>
                    <a:pt x="193" y="217"/>
                    <a:pt x="190" y="231"/>
                  </a:cubicBezTo>
                  <a:cubicBezTo>
                    <a:pt x="207" y="236"/>
                    <a:pt x="221" y="237"/>
                    <a:pt x="234" y="235"/>
                  </a:cubicBezTo>
                  <a:close/>
                  <a:moveTo>
                    <a:pt x="214" y="162"/>
                  </a:moveTo>
                  <a:cubicBezTo>
                    <a:pt x="218" y="158"/>
                    <a:pt x="223" y="154"/>
                    <a:pt x="226" y="150"/>
                  </a:cubicBezTo>
                  <a:cubicBezTo>
                    <a:pt x="219" y="143"/>
                    <a:pt x="210" y="135"/>
                    <a:pt x="199" y="127"/>
                  </a:cubicBezTo>
                  <a:cubicBezTo>
                    <a:pt x="200" y="136"/>
                    <a:pt x="200" y="144"/>
                    <a:pt x="200" y="150"/>
                  </a:cubicBezTo>
                  <a:cubicBezTo>
                    <a:pt x="200" y="158"/>
                    <a:pt x="200" y="166"/>
                    <a:pt x="199" y="175"/>
                  </a:cubicBezTo>
                  <a:cubicBezTo>
                    <a:pt x="204" y="170"/>
                    <a:pt x="209" y="166"/>
                    <a:pt x="214" y="162"/>
                  </a:cubicBezTo>
                  <a:close/>
                </a:path>
              </a:pathLst>
            </a:custGeom>
            <a:solidFill>
              <a:srgbClr val="FF0000"/>
            </a:solidFill>
            <a:ln>
              <a:noFill/>
            </a:ln>
            <a:effectLst>
              <a:innerShdw blurRad="635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sp>
          <p:nvSpPr>
            <p:cNvPr id="14" name="Oval 30"/>
            <p:cNvSpPr>
              <a:spLocks noChangeArrowheads="1"/>
            </p:cNvSpPr>
            <p:nvPr/>
          </p:nvSpPr>
          <p:spPr bwMode="auto">
            <a:xfrm>
              <a:off x="12196763" y="8104188"/>
              <a:ext cx="198438" cy="200025"/>
            </a:xfrm>
            <a:prstGeom prst="ellipse">
              <a:avLst/>
            </a:prstGeom>
            <a:solidFill>
              <a:srgbClr val="FF0000"/>
            </a:solidFill>
            <a:ln w="9525">
              <a:noFill/>
              <a:round/>
              <a:headEnd/>
              <a:tailEnd/>
            </a:ln>
          </p:spPr>
          <p:txBody>
            <a:bodyPr/>
            <a:lstStyle/>
            <a:p>
              <a:pPr>
                <a:lnSpc>
                  <a:spcPct val="80000"/>
                </a:lnSpc>
                <a:spcAft>
                  <a:spcPts val="300"/>
                </a:spcAft>
              </a:pPr>
              <a:endParaRPr lang="en-US" sz="2400" dirty="0">
                <a:solidFill>
                  <a:srgbClr val="000000"/>
                </a:solidFill>
              </a:endParaRPr>
            </a:p>
          </p:txBody>
        </p:sp>
      </p:grpSp>
      <p:grpSp>
        <p:nvGrpSpPr>
          <p:cNvPr id="5" name="Group 95"/>
          <p:cNvGrpSpPr>
            <a:grpSpLocks/>
          </p:cNvGrpSpPr>
          <p:nvPr/>
        </p:nvGrpSpPr>
        <p:grpSpPr bwMode="auto">
          <a:xfrm rot="2502569">
            <a:off x="8433652" y="2029537"/>
            <a:ext cx="518448" cy="529167"/>
            <a:chOff x="11814175" y="4933618"/>
            <a:chExt cx="1035051" cy="1059491"/>
          </a:xfrm>
        </p:grpSpPr>
        <p:sp>
          <p:nvSpPr>
            <p:cNvPr id="16" name="Freeform 51"/>
            <p:cNvSpPr>
              <a:spLocks/>
            </p:cNvSpPr>
            <p:nvPr/>
          </p:nvSpPr>
          <p:spPr bwMode="auto">
            <a:xfrm>
              <a:off x="11814175" y="5029496"/>
              <a:ext cx="963613" cy="963613"/>
            </a:xfrm>
            <a:custGeom>
              <a:avLst/>
              <a:gdLst>
                <a:gd name="T0" fmla="*/ 128 w 257"/>
                <a:gd name="T1" fmla="*/ 0 h 257"/>
                <a:gd name="T2" fmla="*/ 0 w 257"/>
                <a:gd name="T3" fmla="*/ 128 h 257"/>
                <a:gd name="T4" fmla="*/ 128 w 257"/>
                <a:gd name="T5" fmla="*/ 257 h 257"/>
                <a:gd name="T6" fmla="*/ 257 w 257"/>
                <a:gd name="T7" fmla="*/ 128 h 257"/>
                <a:gd name="T8" fmla="*/ 128 w 257"/>
                <a:gd name="T9" fmla="*/ 128 h 257"/>
                <a:gd name="T10" fmla="*/ 128 w 257"/>
                <a:gd name="T11" fmla="*/ 0 h 257"/>
              </a:gdLst>
              <a:ahLst/>
              <a:cxnLst>
                <a:cxn ang="0">
                  <a:pos x="T0" y="T1"/>
                </a:cxn>
                <a:cxn ang="0">
                  <a:pos x="T2" y="T3"/>
                </a:cxn>
                <a:cxn ang="0">
                  <a:pos x="T4" y="T5"/>
                </a:cxn>
                <a:cxn ang="0">
                  <a:pos x="T6" y="T7"/>
                </a:cxn>
                <a:cxn ang="0">
                  <a:pos x="T8" y="T9"/>
                </a:cxn>
                <a:cxn ang="0">
                  <a:pos x="T10" y="T11"/>
                </a:cxn>
              </a:cxnLst>
              <a:rect l="0" t="0" r="r" b="b"/>
              <a:pathLst>
                <a:path w="257" h="257">
                  <a:moveTo>
                    <a:pt x="128" y="0"/>
                  </a:moveTo>
                  <a:cubicBezTo>
                    <a:pt x="57" y="0"/>
                    <a:pt x="0" y="57"/>
                    <a:pt x="0" y="128"/>
                  </a:cubicBezTo>
                  <a:cubicBezTo>
                    <a:pt x="0" y="199"/>
                    <a:pt x="57" y="257"/>
                    <a:pt x="128" y="257"/>
                  </a:cubicBezTo>
                  <a:cubicBezTo>
                    <a:pt x="199" y="257"/>
                    <a:pt x="257" y="199"/>
                    <a:pt x="257" y="128"/>
                  </a:cubicBezTo>
                  <a:cubicBezTo>
                    <a:pt x="128" y="128"/>
                    <a:pt x="128" y="128"/>
                    <a:pt x="128" y="128"/>
                  </a:cubicBezTo>
                  <a:lnTo>
                    <a:pt x="128" y="0"/>
                  </a:lnTo>
                  <a:close/>
                </a:path>
              </a:pathLst>
            </a:custGeom>
            <a:solidFill>
              <a:srgbClr val="FF0000"/>
            </a:solidFill>
            <a:ln>
              <a:noFill/>
            </a:ln>
            <a:effectLst>
              <a:innerShdw blurRad="1270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sp>
          <p:nvSpPr>
            <p:cNvPr id="17" name="Freeform 52"/>
            <p:cNvSpPr>
              <a:spLocks noEditPoints="1"/>
            </p:cNvSpPr>
            <p:nvPr/>
          </p:nvSpPr>
          <p:spPr bwMode="auto">
            <a:xfrm>
              <a:off x="12339638" y="4933618"/>
              <a:ext cx="509588" cy="514350"/>
            </a:xfrm>
            <a:custGeom>
              <a:avLst/>
              <a:gdLst>
                <a:gd name="T0" fmla="*/ 136 w 136"/>
                <a:gd name="T1" fmla="*/ 137 h 137"/>
                <a:gd name="T2" fmla="*/ 0 w 136"/>
                <a:gd name="T3" fmla="*/ 137 h 137"/>
                <a:gd name="T4" fmla="*/ 0 w 136"/>
                <a:gd name="T5" fmla="*/ 0 h 137"/>
                <a:gd name="T6" fmla="*/ 4 w 136"/>
                <a:gd name="T7" fmla="*/ 0 h 137"/>
                <a:gd name="T8" fmla="*/ 136 w 136"/>
                <a:gd name="T9" fmla="*/ 133 h 137"/>
                <a:gd name="T10" fmla="*/ 136 w 136"/>
                <a:gd name="T11" fmla="*/ 137 h 137"/>
                <a:gd name="T12" fmla="*/ 8 w 136"/>
                <a:gd name="T13" fmla="*/ 129 h 137"/>
                <a:gd name="T14" fmla="*/ 128 w 136"/>
                <a:gd name="T15" fmla="*/ 129 h 137"/>
                <a:gd name="T16" fmla="*/ 8 w 136"/>
                <a:gd name="T17" fmla="*/ 8 h 137"/>
                <a:gd name="T18" fmla="*/ 8 w 136"/>
                <a:gd name="T19" fmla="*/ 12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7">
                  <a:moveTo>
                    <a:pt x="136" y="137"/>
                  </a:moveTo>
                  <a:cubicBezTo>
                    <a:pt x="0" y="137"/>
                    <a:pt x="0" y="137"/>
                    <a:pt x="0" y="137"/>
                  </a:cubicBezTo>
                  <a:cubicBezTo>
                    <a:pt x="0" y="0"/>
                    <a:pt x="0" y="0"/>
                    <a:pt x="0" y="0"/>
                  </a:cubicBezTo>
                  <a:cubicBezTo>
                    <a:pt x="4" y="0"/>
                    <a:pt x="4" y="0"/>
                    <a:pt x="4" y="0"/>
                  </a:cubicBezTo>
                  <a:cubicBezTo>
                    <a:pt x="77" y="0"/>
                    <a:pt x="136" y="60"/>
                    <a:pt x="136" y="133"/>
                  </a:cubicBezTo>
                  <a:lnTo>
                    <a:pt x="136" y="137"/>
                  </a:lnTo>
                  <a:close/>
                  <a:moveTo>
                    <a:pt x="8" y="129"/>
                  </a:moveTo>
                  <a:cubicBezTo>
                    <a:pt x="128" y="129"/>
                    <a:pt x="128" y="129"/>
                    <a:pt x="128" y="129"/>
                  </a:cubicBezTo>
                  <a:cubicBezTo>
                    <a:pt x="126" y="63"/>
                    <a:pt x="73" y="10"/>
                    <a:pt x="8" y="8"/>
                  </a:cubicBezTo>
                  <a:lnTo>
                    <a:pt x="8" y="129"/>
                  </a:lnTo>
                  <a:close/>
                </a:path>
              </a:pathLst>
            </a:custGeom>
            <a:solidFill>
              <a:srgbClr val="FF0000"/>
            </a:solidFill>
            <a:ln>
              <a:noFill/>
            </a:ln>
            <a:effectLst>
              <a:innerShdw blurRad="1270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grpSp>
      <p:grpSp>
        <p:nvGrpSpPr>
          <p:cNvPr id="6" name="Group 1053"/>
          <p:cNvGrpSpPr>
            <a:grpSpLocks/>
          </p:cNvGrpSpPr>
          <p:nvPr/>
        </p:nvGrpSpPr>
        <p:grpSpPr bwMode="auto">
          <a:xfrm>
            <a:off x="9334145" y="1524000"/>
            <a:ext cx="907814" cy="378883"/>
            <a:chOff x="7010400" y="2124546"/>
            <a:chExt cx="1814513" cy="757238"/>
          </a:xfrm>
        </p:grpSpPr>
        <p:sp>
          <p:nvSpPr>
            <p:cNvPr id="19" name="Freeform 53"/>
            <p:cNvSpPr>
              <a:spLocks noEditPoints="1"/>
            </p:cNvSpPr>
            <p:nvPr/>
          </p:nvSpPr>
          <p:spPr bwMode="auto">
            <a:xfrm>
              <a:off x="7010400" y="2124546"/>
              <a:ext cx="1814513" cy="596900"/>
            </a:xfrm>
            <a:custGeom>
              <a:avLst/>
              <a:gdLst>
                <a:gd name="T0" fmla="*/ 476 w 484"/>
                <a:gd name="T1" fmla="*/ 108 h 159"/>
                <a:gd name="T2" fmla="*/ 474 w 484"/>
                <a:gd name="T3" fmla="*/ 78 h 159"/>
                <a:gd name="T4" fmla="*/ 459 w 484"/>
                <a:gd name="T5" fmla="*/ 36 h 159"/>
                <a:gd name="T6" fmla="*/ 441 w 484"/>
                <a:gd name="T7" fmla="*/ 10 h 159"/>
                <a:gd name="T8" fmla="*/ 423 w 484"/>
                <a:gd name="T9" fmla="*/ 5 h 159"/>
                <a:gd name="T10" fmla="*/ 393 w 484"/>
                <a:gd name="T11" fmla="*/ 0 h 159"/>
                <a:gd name="T12" fmla="*/ 356 w 484"/>
                <a:gd name="T13" fmla="*/ 4 h 159"/>
                <a:gd name="T14" fmla="*/ 289 w 484"/>
                <a:gd name="T15" fmla="*/ 4 h 159"/>
                <a:gd name="T16" fmla="*/ 267 w 484"/>
                <a:gd name="T17" fmla="*/ 4 h 159"/>
                <a:gd name="T18" fmla="*/ 229 w 484"/>
                <a:gd name="T19" fmla="*/ 5 h 159"/>
                <a:gd name="T20" fmla="*/ 206 w 484"/>
                <a:gd name="T21" fmla="*/ 10 h 159"/>
                <a:gd name="T22" fmla="*/ 180 w 484"/>
                <a:gd name="T23" fmla="*/ 27 h 159"/>
                <a:gd name="T24" fmla="*/ 151 w 484"/>
                <a:gd name="T25" fmla="*/ 56 h 159"/>
                <a:gd name="T26" fmla="*/ 98 w 484"/>
                <a:gd name="T27" fmla="*/ 63 h 159"/>
                <a:gd name="T28" fmla="*/ 27 w 484"/>
                <a:gd name="T29" fmla="*/ 71 h 159"/>
                <a:gd name="T30" fmla="*/ 8 w 484"/>
                <a:gd name="T31" fmla="*/ 95 h 159"/>
                <a:gd name="T32" fmla="*/ 1 w 484"/>
                <a:gd name="T33" fmla="*/ 126 h 159"/>
                <a:gd name="T34" fmla="*/ 9 w 484"/>
                <a:gd name="T35" fmla="*/ 143 h 159"/>
                <a:gd name="T36" fmla="*/ 23 w 484"/>
                <a:gd name="T37" fmla="*/ 152 h 159"/>
                <a:gd name="T38" fmla="*/ 83 w 484"/>
                <a:gd name="T39" fmla="*/ 97 h 159"/>
                <a:gd name="T40" fmla="*/ 142 w 484"/>
                <a:gd name="T41" fmla="*/ 159 h 159"/>
                <a:gd name="T42" fmla="*/ 169 w 484"/>
                <a:gd name="T43" fmla="*/ 157 h 159"/>
                <a:gd name="T44" fmla="*/ 255 w 484"/>
                <a:gd name="T45" fmla="*/ 154 h 159"/>
                <a:gd name="T46" fmla="*/ 319 w 484"/>
                <a:gd name="T47" fmla="*/ 152 h 159"/>
                <a:gd name="T48" fmla="*/ 436 w 484"/>
                <a:gd name="T49" fmla="*/ 153 h 159"/>
                <a:gd name="T50" fmla="*/ 445 w 484"/>
                <a:gd name="T51" fmla="*/ 143 h 159"/>
                <a:gd name="T52" fmla="*/ 462 w 484"/>
                <a:gd name="T53" fmla="*/ 143 h 159"/>
                <a:gd name="T54" fmla="*/ 473 w 484"/>
                <a:gd name="T55" fmla="*/ 141 h 159"/>
                <a:gd name="T56" fmla="*/ 483 w 484"/>
                <a:gd name="T57" fmla="*/ 126 h 159"/>
                <a:gd name="T58" fmla="*/ 262 w 484"/>
                <a:gd name="T59" fmla="*/ 32 h 159"/>
                <a:gd name="T60" fmla="*/ 260 w 484"/>
                <a:gd name="T61" fmla="*/ 55 h 159"/>
                <a:gd name="T62" fmla="*/ 251 w 484"/>
                <a:gd name="T63" fmla="*/ 66 h 159"/>
                <a:gd name="T64" fmla="*/ 201 w 484"/>
                <a:gd name="T65" fmla="*/ 67 h 159"/>
                <a:gd name="T66" fmla="*/ 188 w 484"/>
                <a:gd name="T67" fmla="*/ 66 h 159"/>
                <a:gd name="T68" fmla="*/ 188 w 484"/>
                <a:gd name="T69" fmla="*/ 55 h 159"/>
                <a:gd name="T70" fmla="*/ 202 w 484"/>
                <a:gd name="T71" fmla="*/ 38 h 159"/>
                <a:gd name="T72" fmla="*/ 220 w 484"/>
                <a:gd name="T73" fmla="*/ 27 h 159"/>
                <a:gd name="T74" fmla="*/ 255 w 484"/>
                <a:gd name="T75" fmla="*/ 26 h 159"/>
                <a:gd name="T76" fmla="*/ 262 w 484"/>
                <a:gd name="T77" fmla="*/ 27 h 159"/>
                <a:gd name="T78" fmla="*/ 347 w 484"/>
                <a:gd name="T79" fmla="*/ 63 h 159"/>
                <a:gd name="T80" fmla="*/ 286 w 484"/>
                <a:gd name="T81" fmla="*/ 65 h 159"/>
                <a:gd name="T82" fmla="*/ 286 w 484"/>
                <a:gd name="T83" fmla="*/ 65 h 159"/>
                <a:gd name="T84" fmla="*/ 282 w 484"/>
                <a:gd name="T85" fmla="*/ 61 h 159"/>
                <a:gd name="T86" fmla="*/ 287 w 484"/>
                <a:gd name="T87" fmla="*/ 24 h 159"/>
                <a:gd name="T88" fmla="*/ 344 w 484"/>
                <a:gd name="T89" fmla="*/ 29 h 159"/>
                <a:gd name="T90" fmla="*/ 347 w 484"/>
                <a:gd name="T91" fmla="*/ 63 h 159"/>
                <a:gd name="T92" fmla="*/ 373 w 484"/>
                <a:gd name="T93" fmla="*/ 65 h 159"/>
                <a:gd name="T94" fmla="*/ 371 w 484"/>
                <a:gd name="T95" fmla="*/ 61 h 159"/>
                <a:gd name="T96" fmla="*/ 425 w 484"/>
                <a:gd name="T97" fmla="*/ 25 h 159"/>
                <a:gd name="T98" fmla="*/ 441 w 484"/>
                <a:gd name="T99" fmla="*/ 6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4" h="159">
                  <a:moveTo>
                    <a:pt x="479" y="116"/>
                  </a:moveTo>
                  <a:cubicBezTo>
                    <a:pt x="477" y="115"/>
                    <a:pt x="476" y="111"/>
                    <a:pt x="476" y="108"/>
                  </a:cubicBezTo>
                  <a:cubicBezTo>
                    <a:pt x="475" y="92"/>
                    <a:pt x="475" y="92"/>
                    <a:pt x="475" y="92"/>
                  </a:cubicBezTo>
                  <a:cubicBezTo>
                    <a:pt x="475" y="87"/>
                    <a:pt x="474" y="81"/>
                    <a:pt x="474" y="78"/>
                  </a:cubicBezTo>
                  <a:cubicBezTo>
                    <a:pt x="473" y="75"/>
                    <a:pt x="471" y="67"/>
                    <a:pt x="469" y="60"/>
                  </a:cubicBezTo>
                  <a:cubicBezTo>
                    <a:pt x="466" y="54"/>
                    <a:pt x="462" y="43"/>
                    <a:pt x="459" y="36"/>
                  </a:cubicBezTo>
                  <a:cubicBezTo>
                    <a:pt x="456" y="29"/>
                    <a:pt x="451" y="21"/>
                    <a:pt x="449" y="18"/>
                  </a:cubicBezTo>
                  <a:cubicBezTo>
                    <a:pt x="447" y="15"/>
                    <a:pt x="443" y="12"/>
                    <a:pt x="441" y="10"/>
                  </a:cubicBezTo>
                  <a:cubicBezTo>
                    <a:pt x="439" y="9"/>
                    <a:pt x="435" y="7"/>
                    <a:pt x="432" y="6"/>
                  </a:cubicBezTo>
                  <a:cubicBezTo>
                    <a:pt x="429" y="6"/>
                    <a:pt x="425" y="5"/>
                    <a:pt x="423" y="5"/>
                  </a:cubicBezTo>
                  <a:cubicBezTo>
                    <a:pt x="420" y="5"/>
                    <a:pt x="413" y="5"/>
                    <a:pt x="405" y="4"/>
                  </a:cubicBezTo>
                  <a:cubicBezTo>
                    <a:pt x="402" y="2"/>
                    <a:pt x="398" y="0"/>
                    <a:pt x="393" y="0"/>
                  </a:cubicBezTo>
                  <a:cubicBezTo>
                    <a:pt x="388" y="0"/>
                    <a:pt x="384" y="2"/>
                    <a:pt x="382" y="4"/>
                  </a:cubicBezTo>
                  <a:cubicBezTo>
                    <a:pt x="373" y="4"/>
                    <a:pt x="364" y="4"/>
                    <a:pt x="356" y="4"/>
                  </a:cubicBezTo>
                  <a:cubicBezTo>
                    <a:pt x="340" y="4"/>
                    <a:pt x="314" y="4"/>
                    <a:pt x="298" y="4"/>
                  </a:cubicBezTo>
                  <a:cubicBezTo>
                    <a:pt x="295" y="4"/>
                    <a:pt x="292" y="4"/>
                    <a:pt x="289" y="4"/>
                  </a:cubicBezTo>
                  <a:cubicBezTo>
                    <a:pt x="287" y="1"/>
                    <a:pt x="283" y="0"/>
                    <a:pt x="278" y="0"/>
                  </a:cubicBezTo>
                  <a:cubicBezTo>
                    <a:pt x="274" y="0"/>
                    <a:pt x="270" y="1"/>
                    <a:pt x="267" y="4"/>
                  </a:cubicBezTo>
                  <a:cubicBezTo>
                    <a:pt x="262" y="4"/>
                    <a:pt x="257" y="4"/>
                    <a:pt x="254" y="4"/>
                  </a:cubicBezTo>
                  <a:cubicBezTo>
                    <a:pt x="246" y="4"/>
                    <a:pt x="234" y="5"/>
                    <a:pt x="229" y="5"/>
                  </a:cubicBezTo>
                  <a:cubicBezTo>
                    <a:pt x="224" y="5"/>
                    <a:pt x="217" y="6"/>
                    <a:pt x="214" y="7"/>
                  </a:cubicBezTo>
                  <a:cubicBezTo>
                    <a:pt x="212" y="8"/>
                    <a:pt x="209" y="9"/>
                    <a:pt x="206" y="10"/>
                  </a:cubicBezTo>
                  <a:cubicBezTo>
                    <a:pt x="203" y="11"/>
                    <a:pt x="199" y="13"/>
                    <a:pt x="196" y="15"/>
                  </a:cubicBezTo>
                  <a:cubicBezTo>
                    <a:pt x="192" y="17"/>
                    <a:pt x="185" y="23"/>
                    <a:pt x="180" y="27"/>
                  </a:cubicBezTo>
                  <a:cubicBezTo>
                    <a:pt x="175" y="32"/>
                    <a:pt x="167" y="40"/>
                    <a:pt x="163" y="44"/>
                  </a:cubicBezTo>
                  <a:cubicBezTo>
                    <a:pt x="159" y="49"/>
                    <a:pt x="154" y="54"/>
                    <a:pt x="151" y="56"/>
                  </a:cubicBezTo>
                  <a:cubicBezTo>
                    <a:pt x="149" y="57"/>
                    <a:pt x="142" y="59"/>
                    <a:pt x="135" y="59"/>
                  </a:cubicBezTo>
                  <a:cubicBezTo>
                    <a:pt x="127" y="59"/>
                    <a:pt x="111" y="61"/>
                    <a:pt x="98" y="63"/>
                  </a:cubicBezTo>
                  <a:cubicBezTo>
                    <a:pt x="84" y="64"/>
                    <a:pt x="65" y="66"/>
                    <a:pt x="55" y="67"/>
                  </a:cubicBezTo>
                  <a:cubicBezTo>
                    <a:pt x="44" y="68"/>
                    <a:pt x="32" y="70"/>
                    <a:pt x="27" y="71"/>
                  </a:cubicBezTo>
                  <a:cubicBezTo>
                    <a:pt x="22" y="73"/>
                    <a:pt x="16" y="76"/>
                    <a:pt x="14" y="79"/>
                  </a:cubicBezTo>
                  <a:cubicBezTo>
                    <a:pt x="11" y="82"/>
                    <a:pt x="9" y="90"/>
                    <a:pt x="8" y="95"/>
                  </a:cubicBezTo>
                  <a:cubicBezTo>
                    <a:pt x="8" y="100"/>
                    <a:pt x="6" y="109"/>
                    <a:pt x="4" y="113"/>
                  </a:cubicBezTo>
                  <a:cubicBezTo>
                    <a:pt x="3" y="117"/>
                    <a:pt x="1" y="123"/>
                    <a:pt x="1" y="126"/>
                  </a:cubicBezTo>
                  <a:cubicBezTo>
                    <a:pt x="0" y="130"/>
                    <a:pt x="1" y="134"/>
                    <a:pt x="2" y="137"/>
                  </a:cubicBezTo>
                  <a:cubicBezTo>
                    <a:pt x="4" y="139"/>
                    <a:pt x="7" y="142"/>
                    <a:pt x="9" y="143"/>
                  </a:cubicBezTo>
                  <a:cubicBezTo>
                    <a:pt x="12" y="145"/>
                    <a:pt x="15" y="147"/>
                    <a:pt x="17" y="147"/>
                  </a:cubicBezTo>
                  <a:cubicBezTo>
                    <a:pt x="19" y="148"/>
                    <a:pt x="22" y="150"/>
                    <a:pt x="23" y="152"/>
                  </a:cubicBezTo>
                  <a:cubicBezTo>
                    <a:pt x="24" y="152"/>
                    <a:pt x="24" y="152"/>
                    <a:pt x="24" y="152"/>
                  </a:cubicBezTo>
                  <a:cubicBezTo>
                    <a:pt x="26" y="122"/>
                    <a:pt x="52" y="97"/>
                    <a:pt x="83" y="97"/>
                  </a:cubicBezTo>
                  <a:cubicBezTo>
                    <a:pt x="115" y="97"/>
                    <a:pt x="142" y="124"/>
                    <a:pt x="142" y="156"/>
                  </a:cubicBezTo>
                  <a:cubicBezTo>
                    <a:pt x="142" y="157"/>
                    <a:pt x="142" y="158"/>
                    <a:pt x="142" y="159"/>
                  </a:cubicBezTo>
                  <a:cubicBezTo>
                    <a:pt x="143" y="159"/>
                    <a:pt x="145" y="159"/>
                    <a:pt x="146" y="159"/>
                  </a:cubicBezTo>
                  <a:cubicBezTo>
                    <a:pt x="148" y="158"/>
                    <a:pt x="157" y="158"/>
                    <a:pt x="169" y="157"/>
                  </a:cubicBezTo>
                  <a:cubicBezTo>
                    <a:pt x="179" y="156"/>
                    <a:pt x="197" y="155"/>
                    <a:pt x="209" y="155"/>
                  </a:cubicBezTo>
                  <a:cubicBezTo>
                    <a:pt x="220" y="155"/>
                    <a:pt x="241" y="154"/>
                    <a:pt x="255" y="154"/>
                  </a:cubicBezTo>
                  <a:cubicBezTo>
                    <a:pt x="268" y="153"/>
                    <a:pt x="287" y="153"/>
                    <a:pt x="296" y="153"/>
                  </a:cubicBezTo>
                  <a:cubicBezTo>
                    <a:pt x="305" y="152"/>
                    <a:pt x="314" y="152"/>
                    <a:pt x="319" y="152"/>
                  </a:cubicBezTo>
                  <a:cubicBezTo>
                    <a:pt x="321" y="121"/>
                    <a:pt x="347" y="97"/>
                    <a:pt x="378" y="97"/>
                  </a:cubicBezTo>
                  <a:cubicBezTo>
                    <a:pt x="409" y="97"/>
                    <a:pt x="435" y="122"/>
                    <a:pt x="436" y="153"/>
                  </a:cubicBezTo>
                  <a:cubicBezTo>
                    <a:pt x="438" y="152"/>
                    <a:pt x="440" y="151"/>
                    <a:pt x="441" y="149"/>
                  </a:cubicBezTo>
                  <a:cubicBezTo>
                    <a:pt x="443" y="148"/>
                    <a:pt x="444" y="145"/>
                    <a:pt x="445" y="143"/>
                  </a:cubicBezTo>
                  <a:cubicBezTo>
                    <a:pt x="446" y="143"/>
                    <a:pt x="448" y="143"/>
                    <a:pt x="450" y="143"/>
                  </a:cubicBezTo>
                  <a:cubicBezTo>
                    <a:pt x="453" y="143"/>
                    <a:pt x="459" y="143"/>
                    <a:pt x="462" y="143"/>
                  </a:cubicBezTo>
                  <a:cubicBezTo>
                    <a:pt x="462" y="143"/>
                    <a:pt x="462" y="143"/>
                    <a:pt x="462" y="143"/>
                  </a:cubicBezTo>
                  <a:cubicBezTo>
                    <a:pt x="466" y="143"/>
                    <a:pt x="471" y="142"/>
                    <a:pt x="473" y="141"/>
                  </a:cubicBezTo>
                  <a:cubicBezTo>
                    <a:pt x="476" y="139"/>
                    <a:pt x="480" y="136"/>
                    <a:pt x="481" y="133"/>
                  </a:cubicBezTo>
                  <a:cubicBezTo>
                    <a:pt x="482" y="131"/>
                    <a:pt x="483" y="128"/>
                    <a:pt x="483" y="126"/>
                  </a:cubicBezTo>
                  <a:cubicBezTo>
                    <a:pt x="484" y="122"/>
                    <a:pt x="481" y="118"/>
                    <a:pt x="479" y="116"/>
                  </a:cubicBezTo>
                  <a:close/>
                  <a:moveTo>
                    <a:pt x="262" y="32"/>
                  </a:moveTo>
                  <a:cubicBezTo>
                    <a:pt x="262" y="35"/>
                    <a:pt x="262" y="40"/>
                    <a:pt x="261" y="44"/>
                  </a:cubicBezTo>
                  <a:cubicBezTo>
                    <a:pt x="261" y="47"/>
                    <a:pt x="260" y="52"/>
                    <a:pt x="260" y="55"/>
                  </a:cubicBezTo>
                  <a:cubicBezTo>
                    <a:pt x="259" y="58"/>
                    <a:pt x="258" y="62"/>
                    <a:pt x="258" y="64"/>
                  </a:cubicBezTo>
                  <a:cubicBezTo>
                    <a:pt x="258" y="64"/>
                    <a:pt x="255" y="66"/>
                    <a:pt x="251" y="66"/>
                  </a:cubicBezTo>
                  <a:cubicBezTo>
                    <a:pt x="246" y="66"/>
                    <a:pt x="235" y="67"/>
                    <a:pt x="226" y="67"/>
                  </a:cubicBezTo>
                  <a:cubicBezTo>
                    <a:pt x="218" y="67"/>
                    <a:pt x="206" y="67"/>
                    <a:pt x="201" y="67"/>
                  </a:cubicBezTo>
                  <a:cubicBezTo>
                    <a:pt x="199" y="67"/>
                    <a:pt x="199" y="67"/>
                    <a:pt x="199" y="67"/>
                  </a:cubicBezTo>
                  <a:cubicBezTo>
                    <a:pt x="194" y="67"/>
                    <a:pt x="189" y="67"/>
                    <a:pt x="188" y="66"/>
                  </a:cubicBezTo>
                  <a:cubicBezTo>
                    <a:pt x="187" y="66"/>
                    <a:pt x="186" y="65"/>
                    <a:pt x="186" y="62"/>
                  </a:cubicBezTo>
                  <a:cubicBezTo>
                    <a:pt x="187" y="59"/>
                    <a:pt x="187" y="55"/>
                    <a:pt x="188" y="55"/>
                  </a:cubicBezTo>
                  <a:cubicBezTo>
                    <a:pt x="188" y="54"/>
                    <a:pt x="190" y="50"/>
                    <a:pt x="193" y="48"/>
                  </a:cubicBezTo>
                  <a:cubicBezTo>
                    <a:pt x="196" y="45"/>
                    <a:pt x="200" y="41"/>
                    <a:pt x="202" y="38"/>
                  </a:cubicBezTo>
                  <a:cubicBezTo>
                    <a:pt x="204" y="36"/>
                    <a:pt x="208" y="33"/>
                    <a:pt x="211" y="31"/>
                  </a:cubicBezTo>
                  <a:cubicBezTo>
                    <a:pt x="213" y="29"/>
                    <a:pt x="217" y="27"/>
                    <a:pt x="220" y="27"/>
                  </a:cubicBezTo>
                  <a:cubicBezTo>
                    <a:pt x="223" y="27"/>
                    <a:pt x="231" y="26"/>
                    <a:pt x="238" y="26"/>
                  </a:cubicBezTo>
                  <a:cubicBezTo>
                    <a:pt x="244" y="26"/>
                    <a:pt x="250" y="26"/>
                    <a:pt x="255" y="26"/>
                  </a:cubicBezTo>
                  <a:cubicBezTo>
                    <a:pt x="256" y="26"/>
                    <a:pt x="257" y="26"/>
                    <a:pt x="257" y="26"/>
                  </a:cubicBezTo>
                  <a:cubicBezTo>
                    <a:pt x="260" y="26"/>
                    <a:pt x="261" y="26"/>
                    <a:pt x="262" y="27"/>
                  </a:cubicBezTo>
                  <a:cubicBezTo>
                    <a:pt x="262" y="28"/>
                    <a:pt x="262" y="30"/>
                    <a:pt x="262" y="32"/>
                  </a:cubicBezTo>
                  <a:close/>
                  <a:moveTo>
                    <a:pt x="347" y="63"/>
                  </a:moveTo>
                  <a:cubicBezTo>
                    <a:pt x="346" y="63"/>
                    <a:pt x="346" y="64"/>
                    <a:pt x="344" y="64"/>
                  </a:cubicBezTo>
                  <a:cubicBezTo>
                    <a:pt x="286" y="65"/>
                    <a:pt x="286" y="65"/>
                    <a:pt x="286" y="65"/>
                  </a:cubicBezTo>
                  <a:cubicBezTo>
                    <a:pt x="286" y="68"/>
                    <a:pt x="286" y="68"/>
                    <a:pt x="286" y="68"/>
                  </a:cubicBezTo>
                  <a:cubicBezTo>
                    <a:pt x="286" y="65"/>
                    <a:pt x="286" y="65"/>
                    <a:pt x="286" y="65"/>
                  </a:cubicBezTo>
                  <a:cubicBezTo>
                    <a:pt x="284" y="65"/>
                    <a:pt x="283" y="64"/>
                    <a:pt x="283" y="64"/>
                  </a:cubicBezTo>
                  <a:cubicBezTo>
                    <a:pt x="282" y="63"/>
                    <a:pt x="281" y="62"/>
                    <a:pt x="282" y="61"/>
                  </a:cubicBezTo>
                  <a:cubicBezTo>
                    <a:pt x="282" y="29"/>
                    <a:pt x="282" y="29"/>
                    <a:pt x="282" y="29"/>
                  </a:cubicBezTo>
                  <a:cubicBezTo>
                    <a:pt x="282" y="26"/>
                    <a:pt x="284" y="24"/>
                    <a:pt x="287" y="24"/>
                  </a:cubicBezTo>
                  <a:cubicBezTo>
                    <a:pt x="338" y="24"/>
                    <a:pt x="338" y="24"/>
                    <a:pt x="338" y="24"/>
                  </a:cubicBezTo>
                  <a:cubicBezTo>
                    <a:pt x="341" y="24"/>
                    <a:pt x="343" y="26"/>
                    <a:pt x="344" y="29"/>
                  </a:cubicBezTo>
                  <a:cubicBezTo>
                    <a:pt x="348" y="60"/>
                    <a:pt x="348" y="60"/>
                    <a:pt x="348" y="60"/>
                  </a:cubicBezTo>
                  <a:cubicBezTo>
                    <a:pt x="348" y="61"/>
                    <a:pt x="348" y="62"/>
                    <a:pt x="347" y="63"/>
                  </a:cubicBezTo>
                  <a:close/>
                  <a:moveTo>
                    <a:pt x="373" y="62"/>
                  </a:moveTo>
                  <a:cubicBezTo>
                    <a:pt x="373" y="65"/>
                    <a:pt x="373" y="65"/>
                    <a:pt x="373" y="65"/>
                  </a:cubicBezTo>
                  <a:cubicBezTo>
                    <a:pt x="373" y="62"/>
                    <a:pt x="373" y="62"/>
                    <a:pt x="373" y="62"/>
                  </a:cubicBezTo>
                  <a:cubicBezTo>
                    <a:pt x="372" y="62"/>
                    <a:pt x="371" y="61"/>
                    <a:pt x="371" y="61"/>
                  </a:cubicBezTo>
                  <a:cubicBezTo>
                    <a:pt x="363" y="24"/>
                    <a:pt x="363" y="24"/>
                    <a:pt x="363" y="24"/>
                  </a:cubicBezTo>
                  <a:cubicBezTo>
                    <a:pt x="425" y="25"/>
                    <a:pt x="425" y="25"/>
                    <a:pt x="425" y="25"/>
                  </a:cubicBezTo>
                  <a:cubicBezTo>
                    <a:pt x="426" y="25"/>
                    <a:pt x="427" y="26"/>
                    <a:pt x="427" y="26"/>
                  </a:cubicBezTo>
                  <a:cubicBezTo>
                    <a:pt x="441" y="61"/>
                    <a:pt x="441" y="61"/>
                    <a:pt x="441" y="61"/>
                  </a:cubicBezTo>
                  <a:lnTo>
                    <a:pt x="373" y="62"/>
                  </a:lnTo>
                  <a:close/>
                </a:path>
              </a:pathLst>
            </a:custGeom>
            <a:solidFill>
              <a:srgbClr val="FF0000"/>
            </a:solidFill>
            <a:ln>
              <a:noFill/>
            </a:ln>
            <a:effectLst>
              <a:innerShdw blurRad="1270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sp>
          <p:nvSpPr>
            <p:cNvPr id="20" name="Oval 54"/>
            <p:cNvSpPr>
              <a:spLocks noChangeArrowheads="1"/>
            </p:cNvSpPr>
            <p:nvPr/>
          </p:nvSpPr>
          <p:spPr bwMode="auto">
            <a:xfrm>
              <a:off x="7150100" y="2540471"/>
              <a:ext cx="341313" cy="341313"/>
            </a:xfrm>
            <a:prstGeom prst="ellipse">
              <a:avLst/>
            </a:prstGeom>
            <a:solidFill>
              <a:srgbClr val="FF0000"/>
            </a:solidFill>
            <a:ln>
              <a:noFill/>
            </a:ln>
            <a:effectLst>
              <a:innerShdw blurRad="1270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sp>
          <p:nvSpPr>
            <p:cNvPr id="21" name="Oval 55"/>
            <p:cNvSpPr>
              <a:spLocks noChangeArrowheads="1"/>
            </p:cNvSpPr>
            <p:nvPr/>
          </p:nvSpPr>
          <p:spPr bwMode="auto">
            <a:xfrm>
              <a:off x="8251825" y="2540471"/>
              <a:ext cx="341313" cy="341313"/>
            </a:xfrm>
            <a:prstGeom prst="ellipse">
              <a:avLst/>
            </a:prstGeom>
            <a:solidFill>
              <a:srgbClr val="FF0000"/>
            </a:solidFill>
            <a:ln>
              <a:noFill/>
            </a:ln>
            <a:effectLst>
              <a:innerShdw blurRad="1270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grpSp>
      <p:sp>
        <p:nvSpPr>
          <p:cNvPr id="22" name="Freeform 56"/>
          <p:cNvSpPr>
            <a:spLocks noEditPoints="1"/>
          </p:cNvSpPr>
          <p:nvPr/>
        </p:nvSpPr>
        <p:spPr bwMode="auto">
          <a:xfrm>
            <a:off x="9480170" y="2447232"/>
            <a:ext cx="615766" cy="457641"/>
          </a:xfrm>
          <a:custGeom>
            <a:avLst/>
            <a:gdLst>
              <a:gd name="T0" fmla="*/ 312 w 358"/>
              <a:gd name="T1" fmla="*/ 10 h 233"/>
              <a:gd name="T2" fmla="*/ 252 w 358"/>
              <a:gd name="T3" fmla="*/ 0 h 233"/>
              <a:gd name="T4" fmla="*/ 237 w 358"/>
              <a:gd name="T5" fmla="*/ 17 h 233"/>
              <a:gd name="T6" fmla="*/ 161 w 358"/>
              <a:gd name="T7" fmla="*/ 17 h 233"/>
              <a:gd name="T8" fmla="*/ 118 w 358"/>
              <a:gd name="T9" fmla="*/ 9 h 233"/>
              <a:gd name="T10" fmla="*/ 59 w 358"/>
              <a:gd name="T11" fmla="*/ 0 h 233"/>
              <a:gd name="T12" fmla="*/ 6 w 358"/>
              <a:gd name="T13" fmla="*/ 174 h 233"/>
              <a:gd name="T14" fmla="*/ 89 w 358"/>
              <a:gd name="T15" fmla="*/ 197 h 233"/>
              <a:gd name="T16" fmla="*/ 161 w 358"/>
              <a:gd name="T17" fmla="*/ 126 h 233"/>
              <a:gd name="T18" fmla="*/ 246 w 358"/>
              <a:gd name="T19" fmla="*/ 126 h 233"/>
              <a:gd name="T20" fmla="*/ 322 w 358"/>
              <a:gd name="T21" fmla="*/ 227 h 233"/>
              <a:gd name="T22" fmla="*/ 112 w 358"/>
              <a:gd name="T23" fmla="*/ 72 h 233"/>
              <a:gd name="T24" fmla="*/ 97 w 358"/>
              <a:gd name="T25" fmla="*/ 78 h 233"/>
              <a:gd name="T26" fmla="*/ 92 w 358"/>
              <a:gd name="T27" fmla="*/ 93 h 233"/>
              <a:gd name="T28" fmla="*/ 77 w 358"/>
              <a:gd name="T29" fmla="*/ 98 h 233"/>
              <a:gd name="T30" fmla="*/ 72 w 358"/>
              <a:gd name="T31" fmla="*/ 83 h 233"/>
              <a:gd name="T32" fmla="*/ 57 w 358"/>
              <a:gd name="T33" fmla="*/ 78 h 233"/>
              <a:gd name="T34" fmla="*/ 52 w 358"/>
              <a:gd name="T35" fmla="*/ 64 h 233"/>
              <a:gd name="T36" fmla="*/ 67 w 358"/>
              <a:gd name="T37" fmla="*/ 58 h 233"/>
              <a:gd name="T38" fmla="*/ 72 w 358"/>
              <a:gd name="T39" fmla="*/ 43 h 233"/>
              <a:gd name="T40" fmla="*/ 86 w 358"/>
              <a:gd name="T41" fmla="*/ 38 h 233"/>
              <a:gd name="T42" fmla="*/ 92 w 358"/>
              <a:gd name="T43" fmla="*/ 53 h 233"/>
              <a:gd name="T44" fmla="*/ 107 w 358"/>
              <a:gd name="T45" fmla="*/ 58 h 233"/>
              <a:gd name="T46" fmla="*/ 112 w 358"/>
              <a:gd name="T47" fmla="*/ 72 h 233"/>
              <a:gd name="T48" fmla="*/ 242 w 358"/>
              <a:gd name="T49" fmla="*/ 67 h 233"/>
              <a:gd name="T50" fmla="*/ 263 w 358"/>
              <a:gd name="T51" fmla="*/ 67 h 233"/>
              <a:gd name="T52" fmla="*/ 276 w 358"/>
              <a:gd name="T53" fmla="*/ 101 h 233"/>
              <a:gd name="T54" fmla="*/ 276 w 358"/>
              <a:gd name="T55" fmla="*/ 80 h 233"/>
              <a:gd name="T56" fmla="*/ 276 w 358"/>
              <a:gd name="T57" fmla="*/ 101 h 233"/>
              <a:gd name="T58" fmla="*/ 265 w 358"/>
              <a:gd name="T59" fmla="*/ 44 h 233"/>
              <a:gd name="T60" fmla="*/ 286 w 358"/>
              <a:gd name="T61" fmla="*/ 44 h 233"/>
              <a:gd name="T62" fmla="*/ 299 w 358"/>
              <a:gd name="T63" fmla="*/ 78 h 233"/>
              <a:gd name="T64" fmla="*/ 299 w 358"/>
              <a:gd name="T65" fmla="*/ 57 h 233"/>
              <a:gd name="T66" fmla="*/ 299 w 358"/>
              <a:gd name="T6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8" h="233">
                <a:moveTo>
                  <a:pt x="352" y="174"/>
                </a:moveTo>
                <a:cubicBezTo>
                  <a:pt x="339" y="119"/>
                  <a:pt x="327" y="64"/>
                  <a:pt x="312" y="10"/>
                </a:cubicBezTo>
                <a:cubicBezTo>
                  <a:pt x="310" y="4"/>
                  <a:pt x="305" y="0"/>
                  <a:pt x="299" y="0"/>
                </a:cubicBezTo>
                <a:cubicBezTo>
                  <a:pt x="252" y="0"/>
                  <a:pt x="252" y="0"/>
                  <a:pt x="252" y="0"/>
                </a:cubicBezTo>
                <a:cubicBezTo>
                  <a:pt x="247" y="0"/>
                  <a:pt x="242" y="3"/>
                  <a:pt x="240" y="9"/>
                </a:cubicBezTo>
                <a:cubicBezTo>
                  <a:pt x="237" y="17"/>
                  <a:pt x="237" y="17"/>
                  <a:pt x="237" y="17"/>
                </a:cubicBezTo>
                <a:cubicBezTo>
                  <a:pt x="197" y="17"/>
                  <a:pt x="197" y="17"/>
                  <a:pt x="197" y="17"/>
                </a:cubicBezTo>
                <a:cubicBezTo>
                  <a:pt x="161" y="17"/>
                  <a:pt x="161" y="17"/>
                  <a:pt x="161" y="17"/>
                </a:cubicBezTo>
                <a:cubicBezTo>
                  <a:pt x="121" y="17"/>
                  <a:pt x="121" y="17"/>
                  <a:pt x="121" y="17"/>
                </a:cubicBezTo>
                <a:cubicBezTo>
                  <a:pt x="118" y="9"/>
                  <a:pt x="118" y="9"/>
                  <a:pt x="118" y="9"/>
                </a:cubicBezTo>
                <a:cubicBezTo>
                  <a:pt x="116" y="3"/>
                  <a:pt x="111" y="0"/>
                  <a:pt x="106" y="0"/>
                </a:cubicBezTo>
                <a:cubicBezTo>
                  <a:pt x="59" y="0"/>
                  <a:pt x="59" y="0"/>
                  <a:pt x="59" y="0"/>
                </a:cubicBezTo>
                <a:cubicBezTo>
                  <a:pt x="53" y="0"/>
                  <a:pt x="48" y="4"/>
                  <a:pt x="46" y="10"/>
                </a:cubicBezTo>
                <a:cubicBezTo>
                  <a:pt x="31" y="64"/>
                  <a:pt x="19" y="119"/>
                  <a:pt x="6" y="174"/>
                </a:cubicBezTo>
                <a:cubicBezTo>
                  <a:pt x="0" y="197"/>
                  <a:pt x="13" y="221"/>
                  <a:pt x="36" y="227"/>
                </a:cubicBezTo>
                <a:cubicBezTo>
                  <a:pt x="59" y="233"/>
                  <a:pt x="82" y="219"/>
                  <a:pt x="89" y="197"/>
                </a:cubicBezTo>
                <a:cubicBezTo>
                  <a:pt x="111" y="126"/>
                  <a:pt x="111" y="126"/>
                  <a:pt x="111" y="126"/>
                </a:cubicBezTo>
                <a:cubicBezTo>
                  <a:pt x="161" y="126"/>
                  <a:pt x="161" y="126"/>
                  <a:pt x="161" y="126"/>
                </a:cubicBezTo>
                <a:cubicBezTo>
                  <a:pt x="197" y="126"/>
                  <a:pt x="197" y="126"/>
                  <a:pt x="197" y="126"/>
                </a:cubicBezTo>
                <a:cubicBezTo>
                  <a:pt x="246" y="126"/>
                  <a:pt x="246" y="126"/>
                  <a:pt x="246" y="126"/>
                </a:cubicBezTo>
                <a:cubicBezTo>
                  <a:pt x="269" y="197"/>
                  <a:pt x="269" y="197"/>
                  <a:pt x="269" y="197"/>
                </a:cubicBezTo>
                <a:cubicBezTo>
                  <a:pt x="276" y="219"/>
                  <a:pt x="299" y="233"/>
                  <a:pt x="322" y="227"/>
                </a:cubicBezTo>
                <a:cubicBezTo>
                  <a:pt x="345" y="221"/>
                  <a:pt x="358" y="197"/>
                  <a:pt x="352" y="174"/>
                </a:cubicBezTo>
                <a:close/>
                <a:moveTo>
                  <a:pt x="112" y="72"/>
                </a:moveTo>
                <a:cubicBezTo>
                  <a:pt x="112" y="75"/>
                  <a:pt x="110" y="78"/>
                  <a:pt x="107" y="78"/>
                </a:cubicBezTo>
                <a:cubicBezTo>
                  <a:pt x="97" y="78"/>
                  <a:pt x="97" y="78"/>
                  <a:pt x="97" y="78"/>
                </a:cubicBezTo>
                <a:cubicBezTo>
                  <a:pt x="94" y="78"/>
                  <a:pt x="92" y="80"/>
                  <a:pt x="92" y="83"/>
                </a:cubicBezTo>
                <a:cubicBezTo>
                  <a:pt x="92" y="93"/>
                  <a:pt x="92" y="93"/>
                  <a:pt x="92" y="93"/>
                </a:cubicBezTo>
                <a:cubicBezTo>
                  <a:pt x="92" y="96"/>
                  <a:pt x="89" y="98"/>
                  <a:pt x="86" y="98"/>
                </a:cubicBezTo>
                <a:cubicBezTo>
                  <a:pt x="77" y="98"/>
                  <a:pt x="77" y="98"/>
                  <a:pt x="77" y="98"/>
                </a:cubicBezTo>
                <a:cubicBezTo>
                  <a:pt x="74" y="98"/>
                  <a:pt x="72" y="96"/>
                  <a:pt x="72" y="93"/>
                </a:cubicBezTo>
                <a:cubicBezTo>
                  <a:pt x="72" y="83"/>
                  <a:pt x="72" y="83"/>
                  <a:pt x="72" y="83"/>
                </a:cubicBezTo>
                <a:cubicBezTo>
                  <a:pt x="72" y="80"/>
                  <a:pt x="70" y="78"/>
                  <a:pt x="67" y="78"/>
                </a:cubicBezTo>
                <a:cubicBezTo>
                  <a:pt x="57" y="78"/>
                  <a:pt x="57" y="78"/>
                  <a:pt x="57" y="78"/>
                </a:cubicBezTo>
                <a:cubicBezTo>
                  <a:pt x="54" y="78"/>
                  <a:pt x="52" y="75"/>
                  <a:pt x="52" y="72"/>
                </a:cubicBezTo>
                <a:cubicBezTo>
                  <a:pt x="52" y="64"/>
                  <a:pt x="52" y="64"/>
                  <a:pt x="52" y="64"/>
                </a:cubicBezTo>
                <a:cubicBezTo>
                  <a:pt x="52" y="61"/>
                  <a:pt x="54" y="58"/>
                  <a:pt x="57" y="58"/>
                </a:cubicBezTo>
                <a:cubicBezTo>
                  <a:pt x="67" y="58"/>
                  <a:pt x="67" y="58"/>
                  <a:pt x="67" y="58"/>
                </a:cubicBezTo>
                <a:cubicBezTo>
                  <a:pt x="70" y="58"/>
                  <a:pt x="72" y="56"/>
                  <a:pt x="72" y="53"/>
                </a:cubicBezTo>
                <a:cubicBezTo>
                  <a:pt x="72" y="43"/>
                  <a:pt x="72" y="43"/>
                  <a:pt x="72" y="43"/>
                </a:cubicBezTo>
                <a:cubicBezTo>
                  <a:pt x="72" y="40"/>
                  <a:pt x="74" y="38"/>
                  <a:pt x="77" y="38"/>
                </a:cubicBezTo>
                <a:cubicBezTo>
                  <a:pt x="86" y="38"/>
                  <a:pt x="86" y="38"/>
                  <a:pt x="86" y="38"/>
                </a:cubicBezTo>
                <a:cubicBezTo>
                  <a:pt x="89" y="38"/>
                  <a:pt x="92" y="40"/>
                  <a:pt x="92" y="43"/>
                </a:cubicBezTo>
                <a:cubicBezTo>
                  <a:pt x="92" y="53"/>
                  <a:pt x="92" y="53"/>
                  <a:pt x="92" y="53"/>
                </a:cubicBezTo>
                <a:cubicBezTo>
                  <a:pt x="92" y="56"/>
                  <a:pt x="94" y="58"/>
                  <a:pt x="97" y="58"/>
                </a:cubicBezTo>
                <a:cubicBezTo>
                  <a:pt x="107" y="58"/>
                  <a:pt x="107" y="58"/>
                  <a:pt x="107" y="58"/>
                </a:cubicBezTo>
                <a:cubicBezTo>
                  <a:pt x="110" y="58"/>
                  <a:pt x="112" y="61"/>
                  <a:pt x="112" y="64"/>
                </a:cubicBezTo>
                <a:lnTo>
                  <a:pt x="112" y="72"/>
                </a:lnTo>
                <a:close/>
                <a:moveTo>
                  <a:pt x="252" y="78"/>
                </a:moveTo>
                <a:cubicBezTo>
                  <a:pt x="246" y="78"/>
                  <a:pt x="242" y="73"/>
                  <a:pt x="242" y="67"/>
                </a:cubicBezTo>
                <a:cubicBezTo>
                  <a:pt x="242" y="62"/>
                  <a:pt x="246" y="57"/>
                  <a:pt x="252" y="57"/>
                </a:cubicBezTo>
                <a:cubicBezTo>
                  <a:pt x="258" y="57"/>
                  <a:pt x="263" y="62"/>
                  <a:pt x="263" y="67"/>
                </a:cubicBezTo>
                <a:cubicBezTo>
                  <a:pt x="263" y="73"/>
                  <a:pt x="258" y="78"/>
                  <a:pt x="252" y="78"/>
                </a:cubicBezTo>
                <a:close/>
                <a:moveTo>
                  <a:pt x="276" y="101"/>
                </a:moveTo>
                <a:cubicBezTo>
                  <a:pt x="270" y="101"/>
                  <a:pt x="265" y="97"/>
                  <a:pt x="265" y="91"/>
                </a:cubicBezTo>
                <a:cubicBezTo>
                  <a:pt x="265" y="85"/>
                  <a:pt x="270" y="80"/>
                  <a:pt x="276" y="80"/>
                </a:cubicBezTo>
                <a:cubicBezTo>
                  <a:pt x="282" y="80"/>
                  <a:pt x="286" y="85"/>
                  <a:pt x="286" y="91"/>
                </a:cubicBezTo>
                <a:cubicBezTo>
                  <a:pt x="286" y="97"/>
                  <a:pt x="282" y="101"/>
                  <a:pt x="276" y="101"/>
                </a:cubicBezTo>
                <a:close/>
                <a:moveTo>
                  <a:pt x="276" y="54"/>
                </a:moveTo>
                <a:cubicBezTo>
                  <a:pt x="270" y="54"/>
                  <a:pt x="265" y="50"/>
                  <a:pt x="265" y="44"/>
                </a:cubicBezTo>
                <a:cubicBezTo>
                  <a:pt x="265" y="38"/>
                  <a:pt x="270" y="33"/>
                  <a:pt x="276" y="33"/>
                </a:cubicBezTo>
                <a:cubicBezTo>
                  <a:pt x="282" y="33"/>
                  <a:pt x="286" y="38"/>
                  <a:pt x="286" y="44"/>
                </a:cubicBezTo>
                <a:cubicBezTo>
                  <a:pt x="286" y="50"/>
                  <a:pt x="282" y="54"/>
                  <a:pt x="276" y="54"/>
                </a:cubicBezTo>
                <a:close/>
                <a:moveTo>
                  <a:pt x="299" y="78"/>
                </a:moveTo>
                <a:cubicBezTo>
                  <a:pt x="293" y="78"/>
                  <a:pt x="289" y="73"/>
                  <a:pt x="289" y="67"/>
                </a:cubicBezTo>
                <a:cubicBezTo>
                  <a:pt x="289" y="62"/>
                  <a:pt x="293" y="57"/>
                  <a:pt x="299" y="57"/>
                </a:cubicBezTo>
                <a:cubicBezTo>
                  <a:pt x="305" y="57"/>
                  <a:pt x="310" y="62"/>
                  <a:pt x="310" y="67"/>
                </a:cubicBezTo>
                <a:cubicBezTo>
                  <a:pt x="310" y="73"/>
                  <a:pt x="305" y="78"/>
                  <a:pt x="299" y="78"/>
                </a:cubicBezTo>
                <a:close/>
              </a:path>
            </a:pathLst>
          </a:custGeom>
          <a:solidFill>
            <a:srgbClr val="FF0000"/>
          </a:solidFill>
          <a:ln>
            <a:noFill/>
          </a:ln>
          <a:effectLst>
            <a:innerShdw blurRad="1270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lIns="121872" tIns="60936" rIns="121872" bIns="60936"/>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sp>
        <p:nvSpPr>
          <p:cNvPr id="23" name="Freeform 7"/>
          <p:cNvSpPr>
            <a:spLocks/>
          </p:cNvSpPr>
          <p:nvPr/>
        </p:nvSpPr>
        <p:spPr bwMode="auto">
          <a:xfrm rot="10800000">
            <a:off x="8427427" y="3738463"/>
            <a:ext cx="530898" cy="483448"/>
          </a:xfrm>
          <a:custGeom>
            <a:avLst/>
            <a:gdLst>
              <a:gd name="T0" fmla="*/ 581 w 592"/>
              <a:gd name="T1" fmla="*/ 246 h 493"/>
              <a:gd name="T2" fmla="*/ 591 w 592"/>
              <a:gd name="T3" fmla="*/ 153 h 493"/>
              <a:gd name="T4" fmla="*/ 498 w 592"/>
              <a:gd name="T5" fmla="*/ 227 h 493"/>
              <a:gd name="T6" fmla="*/ 423 w 592"/>
              <a:gd name="T7" fmla="*/ 220 h 493"/>
              <a:gd name="T8" fmla="*/ 302 w 592"/>
              <a:gd name="T9" fmla="*/ 219 h 493"/>
              <a:gd name="T10" fmla="*/ 309 w 592"/>
              <a:gd name="T11" fmla="*/ 199 h 493"/>
              <a:gd name="T12" fmla="*/ 316 w 592"/>
              <a:gd name="T13" fmla="*/ 174 h 493"/>
              <a:gd name="T14" fmla="*/ 331 w 592"/>
              <a:gd name="T15" fmla="*/ 132 h 493"/>
              <a:gd name="T16" fmla="*/ 336 w 592"/>
              <a:gd name="T17" fmla="*/ 124 h 493"/>
              <a:gd name="T18" fmla="*/ 375 w 592"/>
              <a:gd name="T19" fmla="*/ 94 h 493"/>
              <a:gd name="T20" fmla="*/ 379 w 592"/>
              <a:gd name="T21" fmla="*/ 52 h 493"/>
              <a:gd name="T22" fmla="*/ 405 w 592"/>
              <a:gd name="T23" fmla="*/ 13 h 493"/>
              <a:gd name="T24" fmla="*/ 427 w 592"/>
              <a:gd name="T25" fmla="*/ 7 h 493"/>
              <a:gd name="T26" fmla="*/ 426 w 592"/>
              <a:gd name="T27" fmla="*/ 2 h 493"/>
              <a:gd name="T28" fmla="*/ 398 w 592"/>
              <a:gd name="T29" fmla="*/ 0 h 493"/>
              <a:gd name="T30" fmla="*/ 372 w 592"/>
              <a:gd name="T31" fmla="*/ 5 h 493"/>
              <a:gd name="T32" fmla="*/ 294 w 592"/>
              <a:gd name="T33" fmla="*/ 66 h 493"/>
              <a:gd name="T34" fmla="*/ 268 w 592"/>
              <a:gd name="T35" fmla="*/ 82 h 493"/>
              <a:gd name="T36" fmla="*/ 292 w 592"/>
              <a:gd name="T37" fmla="*/ 90 h 493"/>
              <a:gd name="T38" fmla="*/ 244 w 592"/>
              <a:gd name="T39" fmla="*/ 144 h 493"/>
              <a:gd name="T40" fmla="*/ 202 w 592"/>
              <a:gd name="T41" fmla="*/ 147 h 493"/>
              <a:gd name="T42" fmla="*/ 220 w 592"/>
              <a:gd name="T43" fmla="*/ 164 h 493"/>
              <a:gd name="T44" fmla="*/ 175 w 592"/>
              <a:gd name="T45" fmla="*/ 219 h 493"/>
              <a:gd name="T46" fmla="*/ 89 w 592"/>
              <a:gd name="T47" fmla="*/ 219 h 493"/>
              <a:gd name="T48" fmla="*/ 6 w 592"/>
              <a:gd name="T49" fmla="*/ 238 h 493"/>
              <a:gd name="T50" fmla="*/ 25 w 592"/>
              <a:gd name="T51" fmla="*/ 264 h 493"/>
              <a:gd name="T52" fmla="*/ 106 w 592"/>
              <a:gd name="T53" fmla="*/ 275 h 493"/>
              <a:gd name="T54" fmla="*/ 178 w 592"/>
              <a:gd name="T55" fmla="*/ 277 h 493"/>
              <a:gd name="T56" fmla="*/ 209 w 592"/>
              <a:gd name="T57" fmla="*/ 332 h 493"/>
              <a:gd name="T58" fmla="*/ 209 w 592"/>
              <a:gd name="T59" fmla="*/ 355 h 493"/>
              <a:gd name="T60" fmla="*/ 254 w 592"/>
              <a:gd name="T61" fmla="*/ 361 h 493"/>
              <a:gd name="T62" fmla="*/ 289 w 592"/>
              <a:gd name="T63" fmla="*/ 405 h 493"/>
              <a:gd name="T64" fmla="*/ 270 w 592"/>
              <a:gd name="T65" fmla="*/ 422 h 493"/>
              <a:gd name="T66" fmla="*/ 313 w 592"/>
              <a:gd name="T67" fmla="*/ 426 h 493"/>
              <a:gd name="T68" fmla="*/ 378 w 592"/>
              <a:gd name="T69" fmla="*/ 490 h 493"/>
              <a:gd name="T70" fmla="*/ 405 w 592"/>
              <a:gd name="T71" fmla="*/ 492 h 493"/>
              <a:gd name="T72" fmla="*/ 433 w 592"/>
              <a:gd name="T73" fmla="*/ 488 h 493"/>
              <a:gd name="T74" fmla="*/ 419 w 592"/>
              <a:gd name="T75" fmla="*/ 484 h 493"/>
              <a:gd name="T76" fmla="*/ 401 w 592"/>
              <a:gd name="T77" fmla="*/ 475 h 493"/>
              <a:gd name="T78" fmla="*/ 375 w 592"/>
              <a:gd name="T79" fmla="*/ 434 h 493"/>
              <a:gd name="T80" fmla="*/ 350 w 592"/>
              <a:gd name="T81" fmla="*/ 393 h 493"/>
              <a:gd name="T82" fmla="*/ 356 w 592"/>
              <a:gd name="T83" fmla="*/ 369 h 493"/>
              <a:gd name="T84" fmla="*/ 326 w 592"/>
              <a:gd name="T85" fmla="*/ 350 h 493"/>
              <a:gd name="T86" fmla="*/ 314 w 592"/>
              <a:gd name="T87" fmla="*/ 314 h 493"/>
              <a:gd name="T88" fmla="*/ 306 w 592"/>
              <a:gd name="T89" fmla="*/ 289 h 493"/>
              <a:gd name="T90" fmla="*/ 404 w 592"/>
              <a:gd name="T91" fmla="*/ 275 h 493"/>
              <a:gd name="T92" fmla="*/ 484 w 592"/>
              <a:gd name="T93" fmla="*/ 269 h 493"/>
              <a:gd name="T94" fmla="*/ 567 w 592"/>
              <a:gd name="T95" fmla="*/ 34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2" h="493">
                <a:moveTo>
                  <a:pt x="592" y="338"/>
                </a:moveTo>
                <a:cubicBezTo>
                  <a:pt x="567" y="251"/>
                  <a:pt x="567" y="251"/>
                  <a:pt x="567" y="251"/>
                </a:cubicBezTo>
                <a:cubicBezTo>
                  <a:pt x="576" y="250"/>
                  <a:pt x="581" y="248"/>
                  <a:pt x="581" y="246"/>
                </a:cubicBezTo>
                <a:cubicBezTo>
                  <a:pt x="581" y="244"/>
                  <a:pt x="576" y="243"/>
                  <a:pt x="567" y="241"/>
                </a:cubicBezTo>
                <a:cubicBezTo>
                  <a:pt x="592" y="154"/>
                  <a:pt x="592" y="154"/>
                  <a:pt x="592" y="154"/>
                </a:cubicBezTo>
                <a:cubicBezTo>
                  <a:pt x="592" y="153"/>
                  <a:pt x="592" y="153"/>
                  <a:pt x="591" y="153"/>
                </a:cubicBezTo>
                <a:cubicBezTo>
                  <a:pt x="567" y="153"/>
                  <a:pt x="567" y="153"/>
                  <a:pt x="567" y="153"/>
                </a:cubicBezTo>
                <a:cubicBezTo>
                  <a:pt x="566" y="153"/>
                  <a:pt x="565" y="153"/>
                  <a:pt x="564" y="154"/>
                </a:cubicBezTo>
                <a:cubicBezTo>
                  <a:pt x="498" y="227"/>
                  <a:pt x="498" y="227"/>
                  <a:pt x="498" y="227"/>
                </a:cubicBezTo>
                <a:cubicBezTo>
                  <a:pt x="492" y="226"/>
                  <a:pt x="486" y="225"/>
                  <a:pt x="482" y="225"/>
                </a:cubicBezTo>
                <a:cubicBezTo>
                  <a:pt x="474" y="223"/>
                  <a:pt x="462" y="222"/>
                  <a:pt x="455" y="221"/>
                </a:cubicBezTo>
                <a:cubicBezTo>
                  <a:pt x="447" y="220"/>
                  <a:pt x="433" y="220"/>
                  <a:pt x="423" y="220"/>
                </a:cubicBezTo>
                <a:cubicBezTo>
                  <a:pt x="401" y="219"/>
                  <a:pt x="401" y="219"/>
                  <a:pt x="401" y="219"/>
                </a:cubicBezTo>
                <a:cubicBezTo>
                  <a:pt x="391" y="219"/>
                  <a:pt x="374" y="219"/>
                  <a:pt x="364" y="219"/>
                </a:cubicBezTo>
                <a:cubicBezTo>
                  <a:pt x="302" y="219"/>
                  <a:pt x="302" y="219"/>
                  <a:pt x="302" y="219"/>
                </a:cubicBezTo>
                <a:cubicBezTo>
                  <a:pt x="307" y="205"/>
                  <a:pt x="307" y="205"/>
                  <a:pt x="307" y="205"/>
                </a:cubicBezTo>
                <a:cubicBezTo>
                  <a:pt x="327" y="198"/>
                  <a:pt x="327" y="198"/>
                  <a:pt x="327" y="198"/>
                </a:cubicBezTo>
                <a:cubicBezTo>
                  <a:pt x="309" y="199"/>
                  <a:pt x="309" y="199"/>
                  <a:pt x="309" y="199"/>
                </a:cubicBezTo>
                <a:cubicBezTo>
                  <a:pt x="315" y="180"/>
                  <a:pt x="315" y="180"/>
                  <a:pt x="315" y="180"/>
                </a:cubicBezTo>
                <a:cubicBezTo>
                  <a:pt x="335" y="174"/>
                  <a:pt x="335" y="174"/>
                  <a:pt x="335" y="174"/>
                </a:cubicBezTo>
                <a:cubicBezTo>
                  <a:pt x="316" y="174"/>
                  <a:pt x="316" y="174"/>
                  <a:pt x="316" y="174"/>
                </a:cubicBezTo>
                <a:cubicBezTo>
                  <a:pt x="327" y="142"/>
                  <a:pt x="327" y="142"/>
                  <a:pt x="327" y="142"/>
                </a:cubicBezTo>
                <a:cubicBezTo>
                  <a:pt x="327" y="140"/>
                  <a:pt x="329" y="137"/>
                  <a:pt x="330" y="135"/>
                </a:cubicBezTo>
                <a:cubicBezTo>
                  <a:pt x="331" y="132"/>
                  <a:pt x="331" y="132"/>
                  <a:pt x="331" y="132"/>
                </a:cubicBezTo>
                <a:cubicBezTo>
                  <a:pt x="355" y="125"/>
                  <a:pt x="355" y="125"/>
                  <a:pt x="355" y="125"/>
                </a:cubicBezTo>
                <a:cubicBezTo>
                  <a:pt x="336" y="125"/>
                  <a:pt x="336" y="125"/>
                  <a:pt x="336" y="125"/>
                </a:cubicBezTo>
                <a:cubicBezTo>
                  <a:pt x="336" y="124"/>
                  <a:pt x="336" y="124"/>
                  <a:pt x="336" y="124"/>
                </a:cubicBezTo>
                <a:cubicBezTo>
                  <a:pt x="337" y="122"/>
                  <a:pt x="339" y="119"/>
                  <a:pt x="340" y="117"/>
                </a:cubicBezTo>
                <a:cubicBezTo>
                  <a:pt x="349" y="102"/>
                  <a:pt x="349" y="102"/>
                  <a:pt x="349" y="102"/>
                </a:cubicBezTo>
                <a:cubicBezTo>
                  <a:pt x="375" y="94"/>
                  <a:pt x="375" y="94"/>
                  <a:pt x="375" y="94"/>
                </a:cubicBezTo>
                <a:cubicBezTo>
                  <a:pt x="354" y="94"/>
                  <a:pt x="354" y="94"/>
                  <a:pt x="354" y="94"/>
                </a:cubicBezTo>
                <a:cubicBezTo>
                  <a:pt x="375" y="58"/>
                  <a:pt x="375" y="58"/>
                  <a:pt x="375" y="58"/>
                </a:cubicBezTo>
                <a:cubicBezTo>
                  <a:pt x="377" y="56"/>
                  <a:pt x="378" y="53"/>
                  <a:pt x="379" y="52"/>
                </a:cubicBezTo>
                <a:cubicBezTo>
                  <a:pt x="398" y="23"/>
                  <a:pt x="398" y="23"/>
                  <a:pt x="398" y="23"/>
                </a:cubicBezTo>
                <a:cubicBezTo>
                  <a:pt x="399" y="21"/>
                  <a:pt x="401" y="19"/>
                  <a:pt x="402" y="17"/>
                </a:cubicBezTo>
                <a:cubicBezTo>
                  <a:pt x="405" y="13"/>
                  <a:pt x="405" y="13"/>
                  <a:pt x="405" y="13"/>
                </a:cubicBezTo>
                <a:cubicBezTo>
                  <a:pt x="406" y="11"/>
                  <a:pt x="409" y="9"/>
                  <a:pt x="411" y="9"/>
                </a:cubicBezTo>
                <a:cubicBezTo>
                  <a:pt x="419" y="9"/>
                  <a:pt x="419" y="9"/>
                  <a:pt x="419" y="9"/>
                </a:cubicBezTo>
                <a:cubicBezTo>
                  <a:pt x="421" y="8"/>
                  <a:pt x="425" y="8"/>
                  <a:pt x="427" y="7"/>
                </a:cubicBezTo>
                <a:cubicBezTo>
                  <a:pt x="434" y="6"/>
                  <a:pt x="434" y="6"/>
                  <a:pt x="434" y="6"/>
                </a:cubicBezTo>
                <a:cubicBezTo>
                  <a:pt x="436" y="5"/>
                  <a:pt x="436" y="4"/>
                  <a:pt x="434" y="4"/>
                </a:cubicBezTo>
                <a:cubicBezTo>
                  <a:pt x="426" y="2"/>
                  <a:pt x="426" y="2"/>
                  <a:pt x="426" y="2"/>
                </a:cubicBezTo>
                <a:cubicBezTo>
                  <a:pt x="424" y="2"/>
                  <a:pt x="421" y="1"/>
                  <a:pt x="419" y="1"/>
                </a:cubicBezTo>
                <a:cubicBezTo>
                  <a:pt x="406" y="0"/>
                  <a:pt x="406" y="0"/>
                  <a:pt x="406" y="0"/>
                </a:cubicBezTo>
                <a:cubicBezTo>
                  <a:pt x="404" y="0"/>
                  <a:pt x="400" y="0"/>
                  <a:pt x="398" y="0"/>
                </a:cubicBezTo>
                <a:cubicBezTo>
                  <a:pt x="387" y="1"/>
                  <a:pt x="387" y="1"/>
                  <a:pt x="387" y="1"/>
                </a:cubicBezTo>
                <a:cubicBezTo>
                  <a:pt x="385" y="1"/>
                  <a:pt x="381" y="2"/>
                  <a:pt x="379" y="2"/>
                </a:cubicBezTo>
                <a:cubicBezTo>
                  <a:pt x="372" y="5"/>
                  <a:pt x="372" y="5"/>
                  <a:pt x="372" y="5"/>
                </a:cubicBezTo>
                <a:cubicBezTo>
                  <a:pt x="370" y="5"/>
                  <a:pt x="367" y="7"/>
                  <a:pt x="366" y="8"/>
                </a:cubicBezTo>
                <a:cubicBezTo>
                  <a:pt x="311" y="70"/>
                  <a:pt x="311" y="70"/>
                  <a:pt x="311" y="70"/>
                </a:cubicBezTo>
                <a:cubicBezTo>
                  <a:pt x="306" y="68"/>
                  <a:pt x="300" y="66"/>
                  <a:pt x="294" y="66"/>
                </a:cubicBezTo>
                <a:cubicBezTo>
                  <a:pt x="276" y="66"/>
                  <a:pt x="276" y="66"/>
                  <a:pt x="276" y="66"/>
                </a:cubicBezTo>
                <a:cubicBezTo>
                  <a:pt x="272" y="66"/>
                  <a:pt x="268" y="69"/>
                  <a:pt x="268" y="74"/>
                </a:cubicBezTo>
                <a:cubicBezTo>
                  <a:pt x="268" y="82"/>
                  <a:pt x="268" y="82"/>
                  <a:pt x="268" y="82"/>
                </a:cubicBezTo>
                <a:cubicBezTo>
                  <a:pt x="268" y="87"/>
                  <a:pt x="272" y="90"/>
                  <a:pt x="276" y="90"/>
                </a:cubicBezTo>
                <a:cubicBezTo>
                  <a:pt x="287" y="90"/>
                  <a:pt x="287" y="90"/>
                  <a:pt x="287" y="90"/>
                </a:cubicBezTo>
                <a:cubicBezTo>
                  <a:pt x="289" y="90"/>
                  <a:pt x="291" y="90"/>
                  <a:pt x="292" y="90"/>
                </a:cubicBezTo>
                <a:cubicBezTo>
                  <a:pt x="260" y="126"/>
                  <a:pt x="260" y="126"/>
                  <a:pt x="260" y="126"/>
                </a:cubicBezTo>
                <a:cubicBezTo>
                  <a:pt x="259" y="128"/>
                  <a:pt x="257" y="130"/>
                  <a:pt x="255" y="132"/>
                </a:cubicBezTo>
                <a:cubicBezTo>
                  <a:pt x="244" y="144"/>
                  <a:pt x="244" y="144"/>
                  <a:pt x="244" y="144"/>
                </a:cubicBezTo>
                <a:cubicBezTo>
                  <a:pt x="240" y="141"/>
                  <a:pt x="234" y="140"/>
                  <a:pt x="227" y="140"/>
                </a:cubicBezTo>
                <a:cubicBezTo>
                  <a:pt x="209" y="140"/>
                  <a:pt x="209" y="140"/>
                  <a:pt x="209" y="140"/>
                </a:cubicBezTo>
                <a:cubicBezTo>
                  <a:pt x="205" y="140"/>
                  <a:pt x="202" y="143"/>
                  <a:pt x="202" y="147"/>
                </a:cubicBezTo>
                <a:cubicBezTo>
                  <a:pt x="202" y="156"/>
                  <a:pt x="202" y="156"/>
                  <a:pt x="202" y="156"/>
                </a:cubicBezTo>
                <a:cubicBezTo>
                  <a:pt x="202" y="160"/>
                  <a:pt x="205" y="164"/>
                  <a:pt x="209" y="164"/>
                </a:cubicBezTo>
                <a:cubicBezTo>
                  <a:pt x="220" y="164"/>
                  <a:pt x="220" y="164"/>
                  <a:pt x="220" y="164"/>
                </a:cubicBezTo>
                <a:cubicBezTo>
                  <a:pt x="222" y="164"/>
                  <a:pt x="224" y="164"/>
                  <a:pt x="225" y="164"/>
                </a:cubicBezTo>
                <a:cubicBezTo>
                  <a:pt x="178" y="215"/>
                  <a:pt x="178" y="215"/>
                  <a:pt x="178" y="215"/>
                </a:cubicBezTo>
                <a:cubicBezTo>
                  <a:pt x="178" y="216"/>
                  <a:pt x="176" y="217"/>
                  <a:pt x="175" y="219"/>
                </a:cubicBezTo>
                <a:cubicBezTo>
                  <a:pt x="142" y="219"/>
                  <a:pt x="142" y="219"/>
                  <a:pt x="142" y="219"/>
                </a:cubicBezTo>
                <a:cubicBezTo>
                  <a:pt x="132" y="219"/>
                  <a:pt x="115" y="219"/>
                  <a:pt x="105" y="219"/>
                </a:cubicBezTo>
                <a:cubicBezTo>
                  <a:pt x="89" y="219"/>
                  <a:pt x="89" y="219"/>
                  <a:pt x="89" y="219"/>
                </a:cubicBezTo>
                <a:cubicBezTo>
                  <a:pt x="79" y="219"/>
                  <a:pt x="64" y="221"/>
                  <a:pt x="56" y="222"/>
                </a:cubicBezTo>
                <a:cubicBezTo>
                  <a:pt x="47" y="223"/>
                  <a:pt x="34" y="227"/>
                  <a:pt x="26" y="229"/>
                </a:cubicBezTo>
                <a:cubicBezTo>
                  <a:pt x="17" y="232"/>
                  <a:pt x="8" y="236"/>
                  <a:pt x="6" y="238"/>
                </a:cubicBezTo>
                <a:cubicBezTo>
                  <a:pt x="3" y="240"/>
                  <a:pt x="0" y="243"/>
                  <a:pt x="0" y="246"/>
                </a:cubicBezTo>
                <a:cubicBezTo>
                  <a:pt x="0" y="248"/>
                  <a:pt x="2" y="252"/>
                  <a:pt x="5" y="255"/>
                </a:cubicBezTo>
                <a:cubicBezTo>
                  <a:pt x="8" y="257"/>
                  <a:pt x="17" y="262"/>
                  <a:pt x="25" y="264"/>
                </a:cubicBezTo>
                <a:cubicBezTo>
                  <a:pt x="32" y="267"/>
                  <a:pt x="46" y="270"/>
                  <a:pt x="54" y="271"/>
                </a:cubicBezTo>
                <a:cubicBezTo>
                  <a:pt x="62" y="273"/>
                  <a:pt x="77" y="274"/>
                  <a:pt x="88" y="274"/>
                </a:cubicBezTo>
                <a:cubicBezTo>
                  <a:pt x="106" y="275"/>
                  <a:pt x="106" y="275"/>
                  <a:pt x="106" y="275"/>
                </a:cubicBezTo>
                <a:cubicBezTo>
                  <a:pt x="116" y="275"/>
                  <a:pt x="133" y="275"/>
                  <a:pt x="143" y="275"/>
                </a:cubicBezTo>
                <a:cubicBezTo>
                  <a:pt x="176" y="275"/>
                  <a:pt x="176" y="275"/>
                  <a:pt x="176" y="275"/>
                </a:cubicBezTo>
                <a:cubicBezTo>
                  <a:pt x="176" y="276"/>
                  <a:pt x="177" y="277"/>
                  <a:pt x="178" y="277"/>
                </a:cubicBezTo>
                <a:cubicBezTo>
                  <a:pt x="227" y="331"/>
                  <a:pt x="227" y="331"/>
                  <a:pt x="227" y="331"/>
                </a:cubicBezTo>
                <a:cubicBezTo>
                  <a:pt x="225" y="331"/>
                  <a:pt x="223" y="331"/>
                  <a:pt x="221" y="332"/>
                </a:cubicBezTo>
                <a:cubicBezTo>
                  <a:pt x="209" y="332"/>
                  <a:pt x="209" y="332"/>
                  <a:pt x="209" y="332"/>
                </a:cubicBezTo>
                <a:cubicBezTo>
                  <a:pt x="205" y="332"/>
                  <a:pt x="202" y="335"/>
                  <a:pt x="202" y="339"/>
                </a:cubicBezTo>
                <a:cubicBezTo>
                  <a:pt x="202" y="348"/>
                  <a:pt x="202" y="348"/>
                  <a:pt x="202" y="348"/>
                </a:cubicBezTo>
                <a:cubicBezTo>
                  <a:pt x="202" y="352"/>
                  <a:pt x="205" y="355"/>
                  <a:pt x="209" y="355"/>
                </a:cubicBezTo>
                <a:cubicBezTo>
                  <a:pt x="227" y="355"/>
                  <a:pt x="227" y="355"/>
                  <a:pt x="227" y="355"/>
                </a:cubicBezTo>
                <a:cubicBezTo>
                  <a:pt x="234" y="355"/>
                  <a:pt x="241" y="354"/>
                  <a:pt x="245" y="351"/>
                </a:cubicBezTo>
                <a:cubicBezTo>
                  <a:pt x="254" y="361"/>
                  <a:pt x="254" y="361"/>
                  <a:pt x="254" y="361"/>
                </a:cubicBezTo>
                <a:cubicBezTo>
                  <a:pt x="256" y="362"/>
                  <a:pt x="258" y="365"/>
                  <a:pt x="259" y="366"/>
                </a:cubicBezTo>
                <a:cubicBezTo>
                  <a:pt x="294" y="405"/>
                  <a:pt x="294" y="405"/>
                  <a:pt x="294" y="405"/>
                </a:cubicBezTo>
                <a:cubicBezTo>
                  <a:pt x="292" y="405"/>
                  <a:pt x="291" y="405"/>
                  <a:pt x="289" y="405"/>
                </a:cubicBezTo>
                <a:cubicBezTo>
                  <a:pt x="278" y="405"/>
                  <a:pt x="278" y="405"/>
                  <a:pt x="278" y="405"/>
                </a:cubicBezTo>
                <a:cubicBezTo>
                  <a:pt x="274" y="405"/>
                  <a:pt x="270" y="409"/>
                  <a:pt x="270" y="413"/>
                </a:cubicBezTo>
                <a:cubicBezTo>
                  <a:pt x="270" y="422"/>
                  <a:pt x="270" y="422"/>
                  <a:pt x="270" y="422"/>
                </a:cubicBezTo>
                <a:cubicBezTo>
                  <a:pt x="270" y="426"/>
                  <a:pt x="274" y="429"/>
                  <a:pt x="278" y="429"/>
                </a:cubicBezTo>
                <a:cubicBezTo>
                  <a:pt x="295" y="429"/>
                  <a:pt x="295" y="429"/>
                  <a:pt x="295" y="429"/>
                </a:cubicBezTo>
                <a:cubicBezTo>
                  <a:pt x="302" y="429"/>
                  <a:pt x="308" y="428"/>
                  <a:pt x="313" y="426"/>
                </a:cubicBezTo>
                <a:cubicBezTo>
                  <a:pt x="365" y="484"/>
                  <a:pt x="365" y="484"/>
                  <a:pt x="365" y="484"/>
                </a:cubicBezTo>
                <a:cubicBezTo>
                  <a:pt x="366" y="485"/>
                  <a:pt x="369" y="487"/>
                  <a:pt x="371" y="488"/>
                </a:cubicBezTo>
                <a:cubicBezTo>
                  <a:pt x="378" y="490"/>
                  <a:pt x="378" y="490"/>
                  <a:pt x="378" y="490"/>
                </a:cubicBezTo>
                <a:cubicBezTo>
                  <a:pt x="380" y="490"/>
                  <a:pt x="384" y="491"/>
                  <a:pt x="386" y="491"/>
                </a:cubicBezTo>
                <a:cubicBezTo>
                  <a:pt x="398" y="492"/>
                  <a:pt x="398" y="492"/>
                  <a:pt x="398" y="492"/>
                </a:cubicBezTo>
                <a:cubicBezTo>
                  <a:pt x="400" y="493"/>
                  <a:pt x="403" y="493"/>
                  <a:pt x="405" y="492"/>
                </a:cubicBezTo>
                <a:cubicBezTo>
                  <a:pt x="418" y="491"/>
                  <a:pt x="418" y="491"/>
                  <a:pt x="418" y="491"/>
                </a:cubicBezTo>
                <a:cubicBezTo>
                  <a:pt x="420" y="491"/>
                  <a:pt x="423" y="491"/>
                  <a:pt x="425" y="490"/>
                </a:cubicBezTo>
                <a:cubicBezTo>
                  <a:pt x="433" y="488"/>
                  <a:pt x="433" y="488"/>
                  <a:pt x="433" y="488"/>
                </a:cubicBezTo>
                <a:cubicBezTo>
                  <a:pt x="435" y="488"/>
                  <a:pt x="435" y="487"/>
                  <a:pt x="433" y="487"/>
                </a:cubicBezTo>
                <a:cubicBezTo>
                  <a:pt x="426" y="485"/>
                  <a:pt x="426" y="485"/>
                  <a:pt x="426" y="485"/>
                </a:cubicBezTo>
                <a:cubicBezTo>
                  <a:pt x="424" y="484"/>
                  <a:pt x="421" y="484"/>
                  <a:pt x="419" y="484"/>
                </a:cubicBezTo>
                <a:cubicBezTo>
                  <a:pt x="410" y="483"/>
                  <a:pt x="410" y="483"/>
                  <a:pt x="410" y="483"/>
                </a:cubicBezTo>
                <a:cubicBezTo>
                  <a:pt x="408" y="483"/>
                  <a:pt x="405" y="481"/>
                  <a:pt x="404" y="480"/>
                </a:cubicBezTo>
                <a:cubicBezTo>
                  <a:pt x="401" y="475"/>
                  <a:pt x="401" y="475"/>
                  <a:pt x="401" y="475"/>
                </a:cubicBezTo>
                <a:cubicBezTo>
                  <a:pt x="400" y="474"/>
                  <a:pt x="398" y="471"/>
                  <a:pt x="397" y="469"/>
                </a:cubicBezTo>
                <a:cubicBezTo>
                  <a:pt x="378" y="441"/>
                  <a:pt x="378" y="441"/>
                  <a:pt x="378" y="441"/>
                </a:cubicBezTo>
                <a:cubicBezTo>
                  <a:pt x="377" y="439"/>
                  <a:pt x="376" y="436"/>
                  <a:pt x="375" y="434"/>
                </a:cubicBezTo>
                <a:cubicBezTo>
                  <a:pt x="354" y="400"/>
                  <a:pt x="354" y="400"/>
                  <a:pt x="354" y="400"/>
                </a:cubicBezTo>
                <a:cubicBezTo>
                  <a:pt x="376" y="401"/>
                  <a:pt x="376" y="401"/>
                  <a:pt x="376" y="401"/>
                </a:cubicBezTo>
                <a:cubicBezTo>
                  <a:pt x="350" y="393"/>
                  <a:pt x="350" y="393"/>
                  <a:pt x="350" y="393"/>
                </a:cubicBezTo>
                <a:cubicBezTo>
                  <a:pt x="339" y="375"/>
                  <a:pt x="339" y="375"/>
                  <a:pt x="339" y="375"/>
                </a:cubicBezTo>
                <a:cubicBezTo>
                  <a:pt x="338" y="374"/>
                  <a:pt x="337" y="371"/>
                  <a:pt x="336" y="369"/>
                </a:cubicBezTo>
                <a:cubicBezTo>
                  <a:pt x="356" y="369"/>
                  <a:pt x="356" y="369"/>
                  <a:pt x="356" y="369"/>
                </a:cubicBezTo>
                <a:cubicBezTo>
                  <a:pt x="331" y="362"/>
                  <a:pt x="331" y="362"/>
                  <a:pt x="331" y="362"/>
                </a:cubicBezTo>
                <a:cubicBezTo>
                  <a:pt x="329" y="357"/>
                  <a:pt x="329" y="357"/>
                  <a:pt x="329" y="357"/>
                </a:cubicBezTo>
                <a:cubicBezTo>
                  <a:pt x="328" y="355"/>
                  <a:pt x="326" y="352"/>
                  <a:pt x="326" y="350"/>
                </a:cubicBezTo>
                <a:cubicBezTo>
                  <a:pt x="316" y="320"/>
                  <a:pt x="316" y="320"/>
                  <a:pt x="316" y="320"/>
                </a:cubicBezTo>
                <a:cubicBezTo>
                  <a:pt x="335" y="321"/>
                  <a:pt x="335" y="321"/>
                  <a:pt x="335" y="321"/>
                </a:cubicBezTo>
                <a:cubicBezTo>
                  <a:pt x="314" y="314"/>
                  <a:pt x="314" y="314"/>
                  <a:pt x="314" y="314"/>
                </a:cubicBezTo>
                <a:cubicBezTo>
                  <a:pt x="308" y="296"/>
                  <a:pt x="308" y="296"/>
                  <a:pt x="308" y="296"/>
                </a:cubicBezTo>
                <a:cubicBezTo>
                  <a:pt x="328" y="296"/>
                  <a:pt x="328" y="296"/>
                  <a:pt x="328" y="296"/>
                </a:cubicBezTo>
                <a:cubicBezTo>
                  <a:pt x="306" y="289"/>
                  <a:pt x="306" y="289"/>
                  <a:pt x="306" y="289"/>
                </a:cubicBezTo>
                <a:cubicBezTo>
                  <a:pt x="302" y="275"/>
                  <a:pt x="302" y="275"/>
                  <a:pt x="302" y="275"/>
                </a:cubicBezTo>
                <a:cubicBezTo>
                  <a:pt x="367" y="275"/>
                  <a:pt x="367" y="275"/>
                  <a:pt x="367" y="275"/>
                </a:cubicBezTo>
                <a:cubicBezTo>
                  <a:pt x="377" y="275"/>
                  <a:pt x="394" y="275"/>
                  <a:pt x="404" y="275"/>
                </a:cubicBezTo>
                <a:cubicBezTo>
                  <a:pt x="425" y="274"/>
                  <a:pt x="425" y="274"/>
                  <a:pt x="425" y="274"/>
                </a:cubicBezTo>
                <a:cubicBezTo>
                  <a:pt x="435" y="274"/>
                  <a:pt x="449" y="273"/>
                  <a:pt x="457" y="272"/>
                </a:cubicBezTo>
                <a:cubicBezTo>
                  <a:pt x="464" y="272"/>
                  <a:pt x="476" y="270"/>
                  <a:pt x="484" y="269"/>
                </a:cubicBezTo>
                <a:cubicBezTo>
                  <a:pt x="487" y="268"/>
                  <a:pt x="493" y="267"/>
                  <a:pt x="499" y="266"/>
                </a:cubicBezTo>
                <a:cubicBezTo>
                  <a:pt x="564" y="339"/>
                  <a:pt x="564" y="339"/>
                  <a:pt x="564" y="339"/>
                </a:cubicBezTo>
                <a:cubicBezTo>
                  <a:pt x="565" y="340"/>
                  <a:pt x="566" y="340"/>
                  <a:pt x="567" y="340"/>
                </a:cubicBezTo>
                <a:cubicBezTo>
                  <a:pt x="591" y="340"/>
                  <a:pt x="591" y="340"/>
                  <a:pt x="591" y="340"/>
                </a:cubicBezTo>
                <a:cubicBezTo>
                  <a:pt x="592" y="340"/>
                  <a:pt x="592" y="339"/>
                  <a:pt x="592" y="338"/>
                </a:cubicBezTo>
                <a:close/>
              </a:path>
            </a:pathLst>
          </a:custGeom>
          <a:solidFill>
            <a:srgbClr val="FF0000"/>
          </a:solidFill>
          <a:ln>
            <a:noFill/>
          </a:ln>
          <a:effectLst>
            <a:innerShdw blurRad="127000" dist="63500" dir="54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lIns="121872" tIns="60936" rIns="121872" bIns="60936"/>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sp>
        <p:nvSpPr>
          <p:cNvPr id="24" name="Freeform 55"/>
          <p:cNvSpPr>
            <a:spLocks noEditPoints="1"/>
          </p:cNvSpPr>
          <p:nvPr/>
        </p:nvSpPr>
        <p:spPr bwMode="auto">
          <a:xfrm>
            <a:off x="9456606" y="4126547"/>
            <a:ext cx="662895" cy="542901"/>
          </a:xfrm>
          <a:custGeom>
            <a:avLst/>
            <a:gdLst>
              <a:gd name="T0" fmla="*/ 546 w 558"/>
              <a:gd name="T1" fmla="*/ 2 h 457"/>
              <a:gd name="T2" fmla="*/ 476 w 558"/>
              <a:gd name="T3" fmla="*/ 15 h 457"/>
              <a:gd name="T4" fmla="*/ 476 w 558"/>
              <a:gd name="T5" fmla="*/ 0 h 457"/>
              <a:gd name="T6" fmla="*/ 288 w 558"/>
              <a:gd name="T7" fmla="*/ 48 h 457"/>
              <a:gd name="T8" fmla="*/ 277 w 558"/>
              <a:gd name="T9" fmla="*/ 50 h 457"/>
              <a:gd name="T10" fmla="*/ 268 w 558"/>
              <a:gd name="T11" fmla="*/ 49 h 457"/>
              <a:gd name="T12" fmla="*/ 81 w 558"/>
              <a:gd name="T13" fmla="*/ 0 h 457"/>
              <a:gd name="T14" fmla="*/ 81 w 558"/>
              <a:gd name="T15" fmla="*/ 18 h 457"/>
              <a:gd name="T16" fmla="*/ 12 w 558"/>
              <a:gd name="T17" fmla="*/ 7 h 457"/>
              <a:gd name="T18" fmla="*/ 0 w 558"/>
              <a:gd name="T19" fmla="*/ 17 h 457"/>
              <a:gd name="T20" fmla="*/ 0 w 558"/>
              <a:gd name="T21" fmla="*/ 427 h 457"/>
              <a:gd name="T22" fmla="*/ 10 w 558"/>
              <a:gd name="T23" fmla="*/ 437 h 457"/>
              <a:gd name="T24" fmla="*/ 12 w 558"/>
              <a:gd name="T25" fmla="*/ 437 h 457"/>
              <a:gd name="T26" fmla="*/ 22 w 558"/>
              <a:gd name="T27" fmla="*/ 436 h 457"/>
              <a:gd name="T28" fmla="*/ 22 w 558"/>
              <a:gd name="T29" fmla="*/ 457 h 457"/>
              <a:gd name="T30" fmla="*/ 81 w 558"/>
              <a:gd name="T31" fmla="*/ 444 h 457"/>
              <a:gd name="T32" fmla="*/ 81 w 558"/>
              <a:gd name="T33" fmla="*/ 455 h 457"/>
              <a:gd name="T34" fmla="*/ 261 w 558"/>
              <a:gd name="T35" fmla="*/ 405 h 457"/>
              <a:gd name="T36" fmla="*/ 277 w 558"/>
              <a:gd name="T37" fmla="*/ 402 h 457"/>
              <a:gd name="T38" fmla="*/ 293 w 558"/>
              <a:gd name="T39" fmla="*/ 405 h 457"/>
              <a:gd name="T40" fmla="*/ 476 w 558"/>
              <a:gd name="T41" fmla="*/ 455 h 457"/>
              <a:gd name="T42" fmla="*/ 476 w 558"/>
              <a:gd name="T43" fmla="*/ 444 h 457"/>
              <a:gd name="T44" fmla="*/ 536 w 558"/>
              <a:gd name="T45" fmla="*/ 457 h 457"/>
              <a:gd name="T46" fmla="*/ 536 w 558"/>
              <a:gd name="T47" fmla="*/ 429 h 457"/>
              <a:gd name="T48" fmla="*/ 546 w 558"/>
              <a:gd name="T49" fmla="*/ 430 h 457"/>
              <a:gd name="T50" fmla="*/ 547 w 558"/>
              <a:gd name="T51" fmla="*/ 431 h 457"/>
              <a:gd name="T52" fmla="*/ 547 w 558"/>
              <a:gd name="T53" fmla="*/ 431 h 457"/>
              <a:gd name="T54" fmla="*/ 558 w 558"/>
              <a:gd name="T55" fmla="*/ 420 h 457"/>
              <a:gd name="T56" fmla="*/ 558 w 558"/>
              <a:gd name="T57" fmla="*/ 12 h 457"/>
              <a:gd name="T58" fmla="*/ 546 w 558"/>
              <a:gd name="T59" fmla="*/ 2 h 457"/>
              <a:gd name="T60" fmla="*/ 81 w 558"/>
              <a:gd name="T61" fmla="*/ 432 h 457"/>
              <a:gd name="T62" fmla="*/ 34 w 558"/>
              <a:gd name="T63" fmla="*/ 442 h 457"/>
              <a:gd name="T64" fmla="*/ 34 w 558"/>
              <a:gd name="T65" fmla="*/ 434 h 457"/>
              <a:gd name="T66" fmla="*/ 34 w 558"/>
              <a:gd name="T67" fmla="*/ 24 h 457"/>
              <a:gd name="T68" fmla="*/ 81 w 558"/>
              <a:gd name="T69" fmla="*/ 31 h 457"/>
              <a:gd name="T70" fmla="*/ 81 w 558"/>
              <a:gd name="T71" fmla="*/ 432 h 457"/>
              <a:gd name="T72" fmla="*/ 91 w 558"/>
              <a:gd name="T73" fmla="*/ 441 h 457"/>
              <a:gd name="T74" fmla="*/ 91 w 558"/>
              <a:gd name="T75" fmla="*/ 430 h 457"/>
              <a:gd name="T76" fmla="*/ 91 w 558"/>
              <a:gd name="T77" fmla="*/ 33 h 457"/>
              <a:gd name="T78" fmla="*/ 91 w 558"/>
              <a:gd name="T79" fmla="*/ 20 h 457"/>
              <a:gd name="T80" fmla="*/ 91 w 558"/>
              <a:gd name="T81" fmla="*/ 14 h 457"/>
              <a:gd name="T82" fmla="*/ 270 w 558"/>
              <a:gd name="T83" fmla="*/ 60 h 457"/>
              <a:gd name="T84" fmla="*/ 270 w 558"/>
              <a:gd name="T85" fmla="*/ 392 h 457"/>
              <a:gd name="T86" fmla="*/ 91 w 558"/>
              <a:gd name="T87" fmla="*/ 441 h 457"/>
              <a:gd name="T88" fmla="*/ 465 w 558"/>
              <a:gd name="T89" fmla="*/ 16 h 457"/>
              <a:gd name="T90" fmla="*/ 465 w 558"/>
              <a:gd name="T91" fmla="*/ 29 h 457"/>
              <a:gd name="T92" fmla="*/ 465 w 558"/>
              <a:gd name="T93" fmla="*/ 430 h 457"/>
              <a:gd name="T94" fmla="*/ 465 w 558"/>
              <a:gd name="T95" fmla="*/ 441 h 457"/>
              <a:gd name="T96" fmla="*/ 283 w 558"/>
              <a:gd name="T97" fmla="*/ 392 h 457"/>
              <a:gd name="T98" fmla="*/ 283 w 558"/>
              <a:gd name="T99" fmla="*/ 60 h 457"/>
              <a:gd name="T100" fmla="*/ 465 w 558"/>
              <a:gd name="T101" fmla="*/ 14 h 457"/>
              <a:gd name="T102" fmla="*/ 465 w 558"/>
              <a:gd name="T103" fmla="*/ 16 h 457"/>
              <a:gd name="T104" fmla="*/ 524 w 558"/>
              <a:gd name="T105" fmla="*/ 428 h 457"/>
              <a:gd name="T106" fmla="*/ 524 w 558"/>
              <a:gd name="T107" fmla="*/ 442 h 457"/>
              <a:gd name="T108" fmla="*/ 476 w 558"/>
              <a:gd name="T109" fmla="*/ 432 h 457"/>
              <a:gd name="T110" fmla="*/ 476 w 558"/>
              <a:gd name="T111" fmla="*/ 27 h 457"/>
              <a:gd name="T112" fmla="*/ 524 w 558"/>
              <a:gd name="T113" fmla="*/ 19 h 457"/>
              <a:gd name="T114" fmla="*/ 524 w 558"/>
              <a:gd name="T115" fmla="*/ 42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8" h="457">
                <a:moveTo>
                  <a:pt x="546" y="2"/>
                </a:moveTo>
                <a:cubicBezTo>
                  <a:pt x="476" y="15"/>
                  <a:pt x="476" y="15"/>
                  <a:pt x="476" y="15"/>
                </a:cubicBezTo>
                <a:cubicBezTo>
                  <a:pt x="476" y="0"/>
                  <a:pt x="476" y="0"/>
                  <a:pt x="476" y="0"/>
                </a:cubicBezTo>
                <a:cubicBezTo>
                  <a:pt x="288" y="48"/>
                  <a:pt x="288" y="48"/>
                  <a:pt x="288" y="48"/>
                </a:cubicBezTo>
                <a:cubicBezTo>
                  <a:pt x="277" y="50"/>
                  <a:pt x="277" y="50"/>
                  <a:pt x="277" y="50"/>
                </a:cubicBezTo>
                <a:cubicBezTo>
                  <a:pt x="268" y="49"/>
                  <a:pt x="268" y="49"/>
                  <a:pt x="268" y="49"/>
                </a:cubicBezTo>
                <a:cubicBezTo>
                  <a:pt x="81" y="0"/>
                  <a:pt x="81" y="0"/>
                  <a:pt x="81" y="0"/>
                </a:cubicBezTo>
                <a:cubicBezTo>
                  <a:pt x="81" y="18"/>
                  <a:pt x="81" y="18"/>
                  <a:pt x="81" y="18"/>
                </a:cubicBezTo>
                <a:cubicBezTo>
                  <a:pt x="12" y="7"/>
                  <a:pt x="12" y="7"/>
                  <a:pt x="12" y="7"/>
                </a:cubicBezTo>
                <a:cubicBezTo>
                  <a:pt x="5" y="5"/>
                  <a:pt x="0" y="10"/>
                  <a:pt x="0" y="17"/>
                </a:cubicBezTo>
                <a:cubicBezTo>
                  <a:pt x="0" y="427"/>
                  <a:pt x="0" y="427"/>
                  <a:pt x="0" y="427"/>
                </a:cubicBezTo>
                <a:cubicBezTo>
                  <a:pt x="0" y="433"/>
                  <a:pt x="5" y="437"/>
                  <a:pt x="10" y="437"/>
                </a:cubicBezTo>
                <a:cubicBezTo>
                  <a:pt x="11" y="437"/>
                  <a:pt x="11" y="437"/>
                  <a:pt x="12" y="437"/>
                </a:cubicBezTo>
                <a:cubicBezTo>
                  <a:pt x="22" y="436"/>
                  <a:pt x="22" y="436"/>
                  <a:pt x="22" y="436"/>
                </a:cubicBezTo>
                <a:cubicBezTo>
                  <a:pt x="22" y="457"/>
                  <a:pt x="22" y="457"/>
                  <a:pt x="22" y="457"/>
                </a:cubicBezTo>
                <a:cubicBezTo>
                  <a:pt x="81" y="444"/>
                  <a:pt x="81" y="444"/>
                  <a:pt x="81" y="444"/>
                </a:cubicBezTo>
                <a:cubicBezTo>
                  <a:pt x="81" y="455"/>
                  <a:pt x="81" y="455"/>
                  <a:pt x="81" y="455"/>
                </a:cubicBezTo>
                <a:cubicBezTo>
                  <a:pt x="261" y="405"/>
                  <a:pt x="261" y="405"/>
                  <a:pt x="261" y="405"/>
                </a:cubicBezTo>
                <a:cubicBezTo>
                  <a:pt x="277" y="402"/>
                  <a:pt x="277" y="402"/>
                  <a:pt x="277" y="402"/>
                </a:cubicBezTo>
                <a:cubicBezTo>
                  <a:pt x="293" y="405"/>
                  <a:pt x="293" y="405"/>
                  <a:pt x="293" y="405"/>
                </a:cubicBezTo>
                <a:cubicBezTo>
                  <a:pt x="476" y="455"/>
                  <a:pt x="476" y="455"/>
                  <a:pt x="476" y="455"/>
                </a:cubicBezTo>
                <a:cubicBezTo>
                  <a:pt x="476" y="444"/>
                  <a:pt x="476" y="444"/>
                  <a:pt x="476" y="444"/>
                </a:cubicBezTo>
                <a:cubicBezTo>
                  <a:pt x="536" y="457"/>
                  <a:pt x="536" y="457"/>
                  <a:pt x="536" y="457"/>
                </a:cubicBezTo>
                <a:cubicBezTo>
                  <a:pt x="536" y="429"/>
                  <a:pt x="536" y="429"/>
                  <a:pt x="536" y="429"/>
                </a:cubicBezTo>
                <a:cubicBezTo>
                  <a:pt x="546" y="430"/>
                  <a:pt x="546" y="430"/>
                  <a:pt x="546" y="430"/>
                </a:cubicBezTo>
                <a:cubicBezTo>
                  <a:pt x="547" y="431"/>
                  <a:pt x="547" y="431"/>
                  <a:pt x="547" y="431"/>
                </a:cubicBezTo>
                <a:cubicBezTo>
                  <a:pt x="547" y="431"/>
                  <a:pt x="547" y="431"/>
                  <a:pt x="547" y="431"/>
                </a:cubicBezTo>
                <a:cubicBezTo>
                  <a:pt x="553" y="431"/>
                  <a:pt x="558" y="426"/>
                  <a:pt x="558" y="420"/>
                </a:cubicBezTo>
                <a:cubicBezTo>
                  <a:pt x="558" y="12"/>
                  <a:pt x="558" y="12"/>
                  <a:pt x="558" y="12"/>
                </a:cubicBezTo>
                <a:cubicBezTo>
                  <a:pt x="558" y="5"/>
                  <a:pt x="552" y="0"/>
                  <a:pt x="546" y="2"/>
                </a:cubicBezTo>
                <a:close/>
                <a:moveTo>
                  <a:pt x="81" y="432"/>
                </a:moveTo>
                <a:cubicBezTo>
                  <a:pt x="34" y="442"/>
                  <a:pt x="34" y="442"/>
                  <a:pt x="34" y="442"/>
                </a:cubicBezTo>
                <a:cubicBezTo>
                  <a:pt x="34" y="434"/>
                  <a:pt x="34" y="434"/>
                  <a:pt x="34" y="434"/>
                </a:cubicBezTo>
                <a:cubicBezTo>
                  <a:pt x="34" y="24"/>
                  <a:pt x="34" y="24"/>
                  <a:pt x="34" y="24"/>
                </a:cubicBezTo>
                <a:cubicBezTo>
                  <a:pt x="81" y="31"/>
                  <a:pt x="81" y="31"/>
                  <a:pt x="81" y="31"/>
                </a:cubicBezTo>
                <a:lnTo>
                  <a:pt x="81" y="432"/>
                </a:lnTo>
                <a:close/>
                <a:moveTo>
                  <a:pt x="91" y="441"/>
                </a:moveTo>
                <a:cubicBezTo>
                  <a:pt x="91" y="430"/>
                  <a:pt x="91" y="430"/>
                  <a:pt x="91" y="430"/>
                </a:cubicBezTo>
                <a:cubicBezTo>
                  <a:pt x="91" y="33"/>
                  <a:pt x="91" y="33"/>
                  <a:pt x="91" y="33"/>
                </a:cubicBezTo>
                <a:cubicBezTo>
                  <a:pt x="91" y="20"/>
                  <a:pt x="91" y="20"/>
                  <a:pt x="91" y="20"/>
                </a:cubicBezTo>
                <a:cubicBezTo>
                  <a:pt x="91" y="14"/>
                  <a:pt x="91" y="14"/>
                  <a:pt x="91" y="14"/>
                </a:cubicBezTo>
                <a:cubicBezTo>
                  <a:pt x="270" y="60"/>
                  <a:pt x="270" y="60"/>
                  <a:pt x="270" y="60"/>
                </a:cubicBezTo>
                <a:cubicBezTo>
                  <a:pt x="270" y="392"/>
                  <a:pt x="270" y="392"/>
                  <a:pt x="270" y="392"/>
                </a:cubicBezTo>
                <a:lnTo>
                  <a:pt x="91" y="441"/>
                </a:lnTo>
                <a:close/>
                <a:moveTo>
                  <a:pt x="465" y="16"/>
                </a:moveTo>
                <a:cubicBezTo>
                  <a:pt x="465" y="29"/>
                  <a:pt x="465" y="29"/>
                  <a:pt x="465" y="29"/>
                </a:cubicBezTo>
                <a:cubicBezTo>
                  <a:pt x="465" y="430"/>
                  <a:pt x="465" y="430"/>
                  <a:pt x="465" y="430"/>
                </a:cubicBezTo>
                <a:cubicBezTo>
                  <a:pt x="465" y="441"/>
                  <a:pt x="465" y="441"/>
                  <a:pt x="465" y="441"/>
                </a:cubicBezTo>
                <a:cubicBezTo>
                  <a:pt x="283" y="392"/>
                  <a:pt x="283" y="392"/>
                  <a:pt x="283" y="392"/>
                </a:cubicBezTo>
                <a:cubicBezTo>
                  <a:pt x="283" y="60"/>
                  <a:pt x="283" y="60"/>
                  <a:pt x="283" y="60"/>
                </a:cubicBezTo>
                <a:cubicBezTo>
                  <a:pt x="465" y="14"/>
                  <a:pt x="465" y="14"/>
                  <a:pt x="465" y="14"/>
                </a:cubicBezTo>
                <a:lnTo>
                  <a:pt x="465" y="16"/>
                </a:lnTo>
                <a:close/>
                <a:moveTo>
                  <a:pt x="524" y="428"/>
                </a:moveTo>
                <a:cubicBezTo>
                  <a:pt x="524" y="442"/>
                  <a:pt x="524" y="442"/>
                  <a:pt x="524" y="442"/>
                </a:cubicBezTo>
                <a:cubicBezTo>
                  <a:pt x="476" y="432"/>
                  <a:pt x="476" y="432"/>
                  <a:pt x="476" y="432"/>
                </a:cubicBezTo>
                <a:cubicBezTo>
                  <a:pt x="476" y="27"/>
                  <a:pt x="476" y="27"/>
                  <a:pt x="476" y="27"/>
                </a:cubicBezTo>
                <a:cubicBezTo>
                  <a:pt x="524" y="19"/>
                  <a:pt x="524" y="19"/>
                  <a:pt x="524" y="19"/>
                </a:cubicBezTo>
                <a:lnTo>
                  <a:pt x="524" y="428"/>
                </a:lnTo>
                <a:close/>
              </a:path>
            </a:pathLst>
          </a:custGeom>
          <a:solidFill>
            <a:schemeClr val="tx2"/>
          </a:solidFill>
          <a:ln>
            <a:noFill/>
          </a:ln>
          <a:effectLst>
            <a:innerShdw blurRad="127000" dist="63500" dir="16200000">
              <a:prstClr val="black">
                <a:alpha val="50000"/>
              </a:prstClr>
            </a:innerShdw>
          </a:effectLst>
        </p:spPr>
        <p:txBody>
          <a:bodyPr lIns="45679" tIns="22839" rIns="45679" bIns="22839"/>
          <a:lstStyle/>
          <a:p>
            <a:pPr>
              <a:defRPr/>
            </a:pPr>
            <a:endParaRPr lang="en-US" sz="2400" dirty="0">
              <a:solidFill>
                <a:srgbClr val="000000"/>
              </a:solidFill>
              <a:latin typeface="Arial" charset="0"/>
              <a:ea typeface="ＭＳ Ｐゴシック" charset="0"/>
              <a:cs typeface="ＭＳ Ｐゴシック" charset="0"/>
            </a:endParaRPr>
          </a:p>
        </p:txBody>
      </p:sp>
      <p:pic>
        <p:nvPicPr>
          <p:cNvPr id="28" name="Picture 3" descr="C:\Users\chberger\Pictures\360-degree-feedback.jpg"/>
          <p:cNvPicPr>
            <a:picLocks noChangeAspect="1" noChangeArrowheads="1"/>
          </p:cNvPicPr>
          <p:nvPr/>
        </p:nvPicPr>
        <p:blipFill>
          <a:blip r:embed="rId3" cstate="print"/>
          <a:srcRect/>
          <a:stretch>
            <a:fillRect/>
          </a:stretch>
        </p:blipFill>
        <p:spPr bwMode="auto">
          <a:xfrm>
            <a:off x="8304212" y="5109207"/>
            <a:ext cx="904511" cy="754703"/>
          </a:xfrm>
          <a:prstGeom prst="rect">
            <a:avLst/>
          </a:prstGeom>
          <a:noFill/>
        </p:spPr>
      </p:pic>
      <p:sp>
        <p:nvSpPr>
          <p:cNvPr id="11" name="Freeform 18"/>
          <p:cNvSpPr>
            <a:spLocks noEditPoints="1"/>
          </p:cNvSpPr>
          <p:nvPr/>
        </p:nvSpPr>
        <p:spPr bwMode="auto">
          <a:xfrm>
            <a:off x="9460759" y="4866563"/>
            <a:ext cx="654588" cy="524669"/>
          </a:xfrm>
          <a:custGeom>
            <a:avLst/>
            <a:gdLst>
              <a:gd name="T0" fmla="*/ 343 w 349"/>
              <a:gd name="T1" fmla="*/ 61 h 280"/>
              <a:gd name="T2" fmla="*/ 316 w 349"/>
              <a:gd name="T3" fmla="*/ 48 h 280"/>
              <a:gd name="T4" fmla="*/ 274 w 349"/>
              <a:gd name="T5" fmla="*/ 48 h 280"/>
              <a:gd name="T6" fmla="*/ 232 w 349"/>
              <a:gd name="T7" fmla="*/ 48 h 280"/>
              <a:gd name="T8" fmla="*/ 232 w 349"/>
              <a:gd name="T9" fmla="*/ 18 h 280"/>
              <a:gd name="T10" fmla="*/ 215 w 349"/>
              <a:gd name="T11" fmla="*/ 0 h 280"/>
              <a:gd name="T12" fmla="*/ 135 w 349"/>
              <a:gd name="T13" fmla="*/ 0 h 280"/>
              <a:gd name="T14" fmla="*/ 120 w 349"/>
              <a:gd name="T15" fmla="*/ 10 h 280"/>
              <a:gd name="T16" fmla="*/ 117 w 349"/>
              <a:gd name="T17" fmla="*/ 30 h 280"/>
              <a:gd name="T18" fmla="*/ 117 w 349"/>
              <a:gd name="T19" fmla="*/ 48 h 280"/>
              <a:gd name="T20" fmla="*/ 75 w 349"/>
              <a:gd name="T21" fmla="*/ 48 h 280"/>
              <a:gd name="T22" fmla="*/ 34 w 349"/>
              <a:gd name="T23" fmla="*/ 48 h 280"/>
              <a:gd name="T24" fmla="*/ 7 w 349"/>
              <a:gd name="T25" fmla="*/ 61 h 280"/>
              <a:gd name="T26" fmla="*/ 0 w 349"/>
              <a:gd name="T27" fmla="*/ 83 h 280"/>
              <a:gd name="T28" fmla="*/ 0 w 349"/>
              <a:gd name="T29" fmla="*/ 244 h 280"/>
              <a:gd name="T30" fmla="*/ 6 w 349"/>
              <a:gd name="T31" fmla="*/ 266 h 280"/>
              <a:gd name="T32" fmla="*/ 34 w 349"/>
              <a:gd name="T33" fmla="*/ 278 h 280"/>
              <a:gd name="T34" fmla="*/ 75 w 349"/>
              <a:gd name="T35" fmla="*/ 279 h 280"/>
              <a:gd name="T36" fmla="*/ 117 w 349"/>
              <a:gd name="T37" fmla="*/ 279 h 280"/>
              <a:gd name="T38" fmla="*/ 172 w 349"/>
              <a:gd name="T39" fmla="*/ 279 h 280"/>
              <a:gd name="T40" fmla="*/ 261 w 349"/>
              <a:gd name="T41" fmla="*/ 279 h 280"/>
              <a:gd name="T42" fmla="*/ 316 w 349"/>
              <a:gd name="T43" fmla="*/ 278 h 280"/>
              <a:gd name="T44" fmla="*/ 343 w 349"/>
              <a:gd name="T45" fmla="*/ 266 h 280"/>
              <a:gd name="T46" fmla="*/ 349 w 349"/>
              <a:gd name="T47" fmla="*/ 243 h 280"/>
              <a:gd name="T48" fmla="*/ 349 w 349"/>
              <a:gd name="T49" fmla="*/ 83 h 280"/>
              <a:gd name="T50" fmla="*/ 343 w 349"/>
              <a:gd name="T51" fmla="*/ 61 h 280"/>
              <a:gd name="T52" fmla="*/ 134 w 349"/>
              <a:gd name="T53" fmla="*/ 28 h 280"/>
              <a:gd name="T54" fmla="*/ 146 w 349"/>
              <a:gd name="T55" fmla="*/ 16 h 280"/>
              <a:gd name="T56" fmla="*/ 172 w 349"/>
              <a:gd name="T57" fmla="*/ 16 h 280"/>
              <a:gd name="T58" fmla="*/ 204 w 349"/>
              <a:gd name="T59" fmla="*/ 16 h 280"/>
              <a:gd name="T60" fmla="*/ 215 w 349"/>
              <a:gd name="T61" fmla="*/ 23 h 280"/>
              <a:gd name="T62" fmla="*/ 218 w 349"/>
              <a:gd name="T63" fmla="*/ 36 h 280"/>
              <a:gd name="T64" fmla="*/ 217 w 349"/>
              <a:gd name="T65" fmla="*/ 47 h 280"/>
              <a:gd name="T66" fmla="*/ 134 w 349"/>
              <a:gd name="T67" fmla="*/ 47 h 280"/>
              <a:gd name="T68" fmla="*/ 134 w 349"/>
              <a:gd name="T69" fmla="*/ 28 h 280"/>
              <a:gd name="T70" fmla="*/ 267 w 349"/>
              <a:gd name="T71" fmla="*/ 185 h 280"/>
              <a:gd name="T72" fmla="*/ 200 w 349"/>
              <a:gd name="T73" fmla="*/ 185 h 280"/>
              <a:gd name="T74" fmla="*/ 200 w 349"/>
              <a:gd name="T75" fmla="*/ 252 h 280"/>
              <a:gd name="T76" fmla="*/ 159 w 349"/>
              <a:gd name="T77" fmla="*/ 252 h 280"/>
              <a:gd name="T78" fmla="*/ 159 w 349"/>
              <a:gd name="T79" fmla="*/ 185 h 280"/>
              <a:gd name="T80" fmla="*/ 92 w 349"/>
              <a:gd name="T81" fmla="*/ 185 h 280"/>
              <a:gd name="T82" fmla="*/ 92 w 349"/>
              <a:gd name="T83" fmla="*/ 144 h 280"/>
              <a:gd name="T84" fmla="*/ 159 w 349"/>
              <a:gd name="T85" fmla="*/ 144 h 280"/>
              <a:gd name="T86" fmla="*/ 159 w 349"/>
              <a:gd name="T87" fmla="*/ 78 h 280"/>
              <a:gd name="T88" fmla="*/ 200 w 349"/>
              <a:gd name="T89" fmla="*/ 78 h 280"/>
              <a:gd name="T90" fmla="*/ 200 w 349"/>
              <a:gd name="T91" fmla="*/ 144 h 280"/>
              <a:gd name="T92" fmla="*/ 267 w 349"/>
              <a:gd name="T93" fmla="*/ 144 h 280"/>
              <a:gd name="T94" fmla="*/ 267 w 349"/>
              <a:gd name="T95" fmla="*/ 18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9" h="280">
                <a:moveTo>
                  <a:pt x="343" y="61"/>
                </a:moveTo>
                <a:cubicBezTo>
                  <a:pt x="339" y="52"/>
                  <a:pt x="330" y="48"/>
                  <a:pt x="316" y="48"/>
                </a:cubicBezTo>
                <a:cubicBezTo>
                  <a:pt x="302" y="48"/>
                  <a:pt x="288" y="48"/>
                  <a:pt x="274" y="48"/>
                </a:cubicBezTo>
                <a:cubicBezTo>
                  <a:pt x="260" y="48"/>
                  <a:pt x="246" y="48"/>
                  <a:pt x="232" y="48"/>
                </a:cubicBezTo>
                <a:cubicBezTo>
                  <a:pt x="234" y="40"/>
                  <a:pt x="233" y="30"/>
                  <a:pt x="232" y="18"/>
                </a:cubicBezTo>
                <a:cubicBezTo>
                  <a:pt x="230" y="6"/>
                  <a:pt x="224" y="0"/>
                  <a:pt x="215" y="0"/>
                </a:cubicBezTo>
                <a:cubicBezTo>
                  <a:pt x="135" y="0"/>
                  <a:pt x="135" y="0"/>
                  <a:pt x="135" y="0"/>
                </a:cubicBezTo>
                <a:cubicBezTo>
                  <a:pt x="128" y="0"/>
                  <a:pt x="123" y="3"/>
                  <a:pt x="120" y="10"/>
                </a:cubicBezTo>
                <a:cubicBezTo>
                  <a:pt x="118" y="17"/>
                  <a:pt x="117" y="23"/>
                  <a:pt x="117" y="30"/>
                </a:cubicBezTo>
                <a:cubicBezTo>
                  <a:pt x="117" y="38"/>
                  <a:pt x="117" y="43"/>
                  <a:pt x="117" y="48"/>
                </a:cubicBezTo>
                <a:cubicBezTo>
                  <a:pt x="103" y="48"/>
                  <a:pt x="89" y="48"/>
                  <a:pt x="75" y="48"/>
                </a:cubicBezTo>
                <a:cubicBezTo>
                  <a:pt x="61" y="48"/>
                  <a:pt x="47" y="48"/>
                  <a:pt x="34" y="48"/>
                </a:cubicBezTo>
                <a:cubicBezTo>
                  <a:pt x="20" y="48"/>
                  <a:pt x="11" y="52"/>
                  <a:pt x="7" y="61"/>
                </a:cubicBezTo>
                <a:cubicBezTo>
                  <a:pt x="2" y="69"/>
                  <a:pt x="0" y="77"/>
                  <a:pt x="0" y="83"/>
                </a:cubicBezTo>
                <a:cubicBezTo>
                  <a:pt x="0" y="244"/>
                  <a:pt x="0" y="244"/>
                  <a:pt x="0" y="244"/>
                </a:cubicBezTo>
                <a:cubicBezTo>
                  <a:pt x="0" y="250"/>
                  <a:pt x="2" y="257"/>
                  <a:pt x="6" y="266"/>
                </a:cubicBezTo>
                <a:cubicBezTo>
                  <a:pt x="11" y="274"/>
                  <a:pt x="20" y="278"/>
                  <a:pt x="34" y="278"/>
                </a:cubicBezTo>
                <a:cubicBezTo>
                  <a:pt x="47" y="278"/>
                  <a:pt x="61" y="279"/>
                  <a:pt x="75" y="279"/>
                </a:cubicBezTo>
                <a:cubicBezTo>
                  <a:pt x="89" y="279"/>
                  <a:pt x="103" y="279"/>
                  <a:pt x="117" y="279"/>
                </a:cubicBezTo>
                <a:cubicBezTo>
                  <a:pt x="117" y="279"/>
                  <a:pt x="136" y="280"/>
                  <a:pt x="172" y="279"/>
                </a:cubicBezTo>
                <a:cubicBezTo>
                  <a:pt x="209" y="279"/>
                  <a:pt x="238" y="279"/>
                  <a:pt x="261" y="279"/>
                </a:cubicBezTo>
                <a:cubicBezTo>
                  <a:pt x="283" y="279"/>
                  <a:pt x="301" y="278"/>
                  <a:pt x="316" y="278"/>
                </a:cubicBezTo>
                <a:cubicBezTo>
                  <a:pt x="330" y="278"/>
                  <a:pt x="339" y="274"/>
                  <a:pt x="343" y="266"/>
                </a:cubicBezTo>
                <a:cubicBezTo>
                  <a:pt x="347" y="257"/>
                  <a:pt x="349" y="249"/>
                  <a:pt x="349" y="243"/>
                </a:cubicBezTo>
                <a:cubicBezTo>
                  <a:pt x="349" y="83"/>
                  <a:pt x="349" y="83"/>
                  <a:pt x="349" y="83"/>
                </a:cubicBezTo>
                <a:cubicBezTo>
                  <a:pt x="349" y="77"/>
                  <a:pt x="347" y="69"/>
                  <a:pt x="343" y="61"/>
                </a:cubicBezTo>
                <a:close/>
                <a:moveTo>
                  <a:pt x="134" y="28"/>
                </a:moveTo>
                <a:cubicBezTo>
                  <a:pt x="135" y="20"/>
                  <a:pt x="139" y="16"/>
                  <a:pt x="146" y="16"/>
                </a:cubicBezTo>
                <a:cubicBezTo>
                  <a:pt x="156" y="16"/>
                  <a:pt x="165" y="16"/>
                  <a:pt x="172" y="16"/>
                </a:cubicBezTo>
                <a:cubicBezTo>
                  <a:pt x="180" y="16"/>
                  <a:pt x="191" y="16"/>
                  <a:pt x="204" y="16"/>
                </a:cubicBezTo>
                <a:cubicBezTo>
                  <a:pt x="210" y="16"/>
                  <a:pt x="213" y="18"/>
                  <a:pt x="215" y="23"/>
                </a:cubicBezTo>
                <a:cubicBezTo>
                  <a:pt x="217" y="27"/>
                  <a:pt x="218" y="32"/>
                  <a:pt x="218" y="36"/>
                </a:cubicBezTo>
                <a:cubicBezTo>
                  <a:pt x="218" y="40"/>
                  <a:pt x="218" y="44"/>
                  <a:pt x="217" y="47"/>
                </a:cubicBezTo>
                <a:cubicBezTo>
                  <a:pt x="134" y="47"/>
                  <a:pt x="134" y="47"/>
                  <a:pt x="134" y="47"/>
                </a:cubicBezTo>
                <a:cubicBezTo>
                  <a:pt x="133" y="42"/>
                  <a:pt x="133" y="35"/>
                  <a:pt x="134" y="28"/>
                </a:cubicBezTo>
                <a:close/>
                <a:moveTo>
                  <a:pt x="267" y="185"/>
                </a:moveTo>
                <a:cubicBezTo>
                  <a:pt x="200" y="185"/>
                  <a:pt x="200" y="185"/>
                  <a:pt x="200" y="185"/>
                </a:cubicBezTo>
                <a:cubicBezTo>
                  <a:pt x="200" y="252"/>
                  <a:pt x="200" y="252"/>
                  <a:pt x="200" y="252"/>
                </a:cubicBezTo>
                <a:cubicBezTo>
                  <a:pt x="159" y="252"/>
                  <a:pt x="159" y="252"/>
                  <a:pt x="159" y="252"/>
                </a:cubicBezTo>
                <a:cubicBezTo>
                  <a:pt x="159" y="185"/>
                  <a:pt x="159" y="185"/>
                  <a:pt x="159" y="185"/>
                </a:cubicBezTo>
                <a:cubicBezTo>
                  <a:pt x="92" y="185"/>
                  <a:pt x="92" y="185"/>
                  <a:pt x="92" y="185"/>
                </a:cubicBezTo>
                <a:cubicBezTo>
                  <a:pt x="92" y="144"/>
                  <a:pt x="92" y="144"/>
                  <a:pt x="92" y="144"/>
                </a:cubicBezTo>
                <a:cubicBezTo>
                  <a:pt x="159" y="144"/>
                  <a:pt x="159" y="144"/>
                  <a:pt x="159" y="144"/>
                </a:cubicBezTo>
                <a:cubicBezTo>
                  <a:pt x="159" y="78"/>
                  <a:pt x="159" y="78"/>
                  <a:pt x="159" y="78"/>
                </a:cubicBezTo>
                <a:cubicBezTo>
                  <a:pt x="200" y="78"/>
                  <a:pt x="200" y="78"/>
                  <a:pt x="200" y="78"/>
                </a:cubicBezTo>
                <a:cubicBezTo>
                  <a:pt x="200" y="144"/>
                  <a:pt x="200" y="144"/>
                  <a:pt x="200" y="144"/>
                </a:cubicBezTo>
                <a:cubicBezTo>
                  <a:pt x="267" y="144"/>
                  <a:pt x="267" y="144"/>
                  <a:pt x="267" y="144"/>
                </a:cubicBezTo>
                <a:lnTo>
                  <a:pt x="267" y="185"/>
                </a:lnTo>
                <a:close/>
              </a:path>
            </a:pathLst>
          </a:custGeom>
          <a:solidFill>
            <a:srgbClr val="FF0000"/>
          </a:solidFill>
          <a:ln>
            <a:noFill/>
          </a:ln>
          <a:effectLst>
            <a:innerShdw blurRad="127000" dist="63500" dir="16200000">
              <a:prstClr val="black">
                <a:alpha val="50000"/>
              </a:prstClr>
            </a:innerShdw>
          </a:effectLst>
          <a:extLst>
            <a:ext uri="{91240B29-F687-4f45-9708-019B960494DF}">
              <a14:hiddenLine xmlns:a14="http://schemas.microsoft.com/office/drawing/2010/main" xmlns="" w="9525">
                <a:solidFill>
                  <a:srgbClr val="000000"/>
                </a:solidFill>
                <a:round/>
                <a:headEnd/>
                <a:tailEnd/>
              </a14:hiddenLine>
            </a:ext>
          </a:extLst>
        </p:spPr>
        <p:txBody>
          <a:bodyPr lIns="121872" tIns="60936" rIns="121872" bIns="60936"/>
          <a:lstStyle/>
          <a:p>
            <a:pPr>
              <a:lnSpc>
                <a:spcPct val="80000"/>
              </a:lnSpc>
              <a:spcAft>
                <a:spcPts val="300"/>
              </a:spcAft>
              <a:defRPr/>
            </a:pPr>
            <a:endParaRPr lang="en-US" sz="2400" dirty="0">
              <a:solidFill>
                <a:srgbClr val="000000"/>
              </a:solidFill>
              <a:latin typeface="Arial" charset="0"/>
              <a:ea typeface="ＭＳ Ｐゴシック" charset="0"/>
              <a:cs typeface="ＭＳ Ｐゴシック" charset="0"/>
            </a:endParaRPr>
          </a:p>
        </p:txBody>
      </p:sp>
      <p:pic>
        <p:nvPicPr>
          <p:cNvPr id="30" name="48A3F5A6-995C-459E-801B-04ED0F67E9FA" descr="E68B87C3-4119-4E3E-ADD4-C40DF263F308@us"/>
          <p:cNvPicPr>
            <a:picLocks noChangeAspect="1" noChangeArrowheads="1"/>
          </p:cNvPicPr>
          <p:nvPr/>
        </p:nvPicPr>
        <p:blipFill>
          <a:blip r:embed="rId4" cstate="print"/>
          <a:srcRect/>
          <a:stretch>
            <a:fillRect/>
          </a:stretch>
        </p:blipFill>
        <p:spPr bwMode="auto">
          <a:xfrm>
            <a:off x="10514012" y="304800"/>
            <a:ext cx="1219200" cy="1219200"/>
          </a:xfrm>
          <a:prstGeom prst="rect">
            <a:avLst/>
          </a:prstGeom>
          <a:noFill/>
          <a:ln w="9525">
            <a:noFill/>
            <a:miter lim="800000"/>
            <a:headEnd/>
            <a:tailEnd/>
          </a:ln>
        </p:spPr>
      </p:pic>
    </p:spTree>
    <p:extLst>
      <p:ext uri="{BB962C8B-B14F-4D97-AF65-F5344CB8AC3E}">
        <p14:creationId xmlns:p14="http://schemas.microsoft.com/office/powerpoint/2010/main" val="1539599350"/>
      </p:ext>
    </p:extLst>
  </p:cSld>
  <p:clrMapOvr>
    <a:masterClrMapping/>
  </p:clrMapOvr>
  <p:transition spd="med" advTm="300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r-HR" dirty="0" smtClean="0"/>
              <a:t>ML </a:t>
            </a:r>
            <a:r>
              <a:rPr lang="hr-HR" dirty="0" err="1" smtClean="0"/>
              <a:t>in</a:t>
            </a:r>
            <a:r>
              <a:rPr lang="hr-HR" dirty="0" smtClean="0"/>
              <a:t> </a:t>
            </a:r>
            <a:r>
              <a:rPr lang="hr-HR" dirty="0" err="1" smtClean="0"/>
              <a:t>Education</a:t>
            </a:r>
            <a:endParaRPr lang="en-US" dirty="0"/>
          </a:p>
        </p:txBody>
      </p:sp>
      <p:sp>
        <p:nvSpPr>
          <p:cNvPr id="3" name="Content Placeholder 2"/>
          <p:cNvSpPr>
            <a:spLocks noGrp="1"/>
          </p:cNvSpPr>
          <p:nvPr>
            <p:ph idx="1"/>
          </p:nvPr>
        </p:nvSpPr>
        <p:spPr/>
        <p:txBody>
          <a:bodyPr/>
          <a:lstStyle/>
          <a:p>
            <a:r>
              <a:rPr lang="en-US" dirty="0"/>
              <a:t>Content analytics that organize and optimize content </a:t>
            </a:r>
            <a:r>
              <a:rPr lang="en-US" dirty="0" smtClean="0"/>
              <a:t>modules </a:t>
            </a:r>
            <a:endParaRPr lang="en-US" dirty="0"/>
          </a:p>
          <a:p>
            <a:r>
              <a:rPr lang="en-US" dirty="0" smtClean="0"/>
              <a:t>Learning </a:t>
            </a:r>
            <a:r>
              <a:rPr lang="en-US" dirty="0"/>
              <a:t>analytics that track student knowledge and recommend next steps: </a:t>
            </a:r>
          </a:p>
          <a:p>
            <a:pPr lvl="1"/>
            <a:r>
              <a:rPr lang="en-US" dirty="0"/>
              <a:t>Adaptive learning </a:t>
            </a:r>
            <a:r>
              <a:rPr lang="en-US" dirty="0" smtClean="0"/>
              <a:t>systems</a:t>
            </a:r>
            <a:endParaRPr lang="en-US" dirty="0"/>
          </a:p>
          <a:p>
            <a:pPr lvl="1"/>
            <a:r>
              <a:rPr lang="en-US" dirty="0"/>
              <a:t>Game-based </a:t>
            </a:r>
            <a:r>
              <a:rPr lang="en-US" dirty="0" smtClean="0"/>
              <a:t>learning</a:t>
            </a:r>
            <a:endParaRPr lang="en-US" dirty="0"/>
          </a:p>
          <a:p>
            <a:r>
              <a:rPr lang="en-US" dirty="0"/>
              <a:t>Dynamic scheduling matches students that need help with teachers that have </a:t>
            </a:r>
            <a:r>
              <a:rPr lang="en-US" dirty="0" smtClean="0"/>
              <a:t>time</a:t>
            </a:r>
            <a:endParaRPr lang="en-US" dirty="0"/>
          </a:p>
          <a:p>
            <a:r>
              <a:rPr lang="en-US" dirty="0" smtClean="0"/>
              <a:t>Grading </a:t>
            </a:r>
            <a:r>
              <a:rPr lang="en-US" dirty="0"/>
              <a:t>systems that assess and score student responses to assessments and computer assignments at large scale, either automatically or via peer </a:t>
            </a:r>
            <a:r>
              <a:rPr lang="en-US" dirty="0" smtClean="0"/>
              <a:t>grading</a:t>
            </a:r>
            <a:endParaRPr lang="en-US" dirty="0"/>
          </a:p>
        </p:txBody>
      </p:sp>
      <p:sp>
        <p:nvSpPr>
          <p:cNvPr id="4" name="Footer Placeholder 3"/>
          <p:cNvSpPr>
            <a:spLocks noGrp="1"/>
          </p:cNvSpPr>
          <p:nvPr>
            <p:ph type="ftr" sz="quarter" idx="11"/>
          </p:nvPr>
        </p:nvSpPr>
        <p:spPr/>
        <p:txBody>
          <a:bodyPr/>
          <a:lstStyle/>
          <a:p>
            <a:r>
              <a:rPr lang="en-US" smtClean="0">
                <a:solidFill>
                  <a:srgbClr val="58595B"/>
                </a:solidFill>
              </a:rPr>
              <a:t>Confidential – Oracle Internal/Restricted/Highly Restricted</a:t>
            </a:r>
            <a:endParaRPr lang="en-US" dirty="0">
              <a:solidFill>
                <a:srgbClr val="58595B"/>
              </a:solidFill>
            </a:endParaRPr>
          </a:p>
        </p:txBody>
      </p:sp>
      <p:sp>
        <p:nvSpPr>
          <p:cNvPr id="5" name="Slide Number Placeholder 4"/>
          <p:cNvSpPr>
            <a:spLocks noGrp="1"/>
          </p:cNvSpPr>
          <p:nvPr>
            <p:ph type="sldNum" sz="quarter" idx="12"/>
          </p:nvPr>
        </p:nvSpPr>
        <p:spPr/>
        <p:txBody>
          <a:bodyPr/>
          <a:lstStyle/>
          <a:p>
            <a:fld id="{C51EAA63-D034-42AE-91FA-B13B9518C7BE}" type="slidenum">
              <a:rPr lang="hr-HR" smtClean="0">
                <a:solidFill>
                  <a:srgbClr val="58595B"/>
                </a:solidFill>
              </a:rPr>
              <a:pPr/>
              <a:t>7</a:t>
            </a:fld>
            <a:endParaRPr lang="hr-HR" dirty="0">
              <a:solidFill>
                <a:srgbClr val="58595B"/>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52012" y="209550"/>
            <a:ext cx="2209800" cy="1657350"/>
          </a:xfrm>
          <a:prstGeom prst="rect">
            <a:avLst/>
          </a:prstGeom>
        </p:spPr>
      </p:pic>
    </p:spTree>
    <p:extLst>
      <p:ext uri="{BB962C8B-B14F-4D97-AF65-F5344CB8AC3E}">
        <p14:creationId xmlns:p14="http://schemas.microsoft.com/office/powerpoint/2010/main" val="367507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1814" y="762000"/>
            <a:ext cx="9211498" cy="5183272"/>
          </a:xfrm>
        </p:spPr>
      </p:pic>
      <p:sp>
        <p:nvSpPr>
          <p:cNvPr id="5" name="Rectangle 4"/>
          <p:cNvSpPr/>
          <p:nvPr/>
        </p:nvSpPr>
        <p:spPr>
          <a:xfrm>
            <a:off x="531814" y="5334000"/>
            <a:ext cx="9296398" cy="7620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6" name="Oval Callout 5"/>
          <p:cNvSpPr/>
          <p:nvPr/>
        </p:nvSpPr>
        <p:spPr>
          <a:xfrm>
            <a:off x="7389812" y="611272"/>
            <a:ext cx="1371600" cy="915776"/>
          </a:xfrm>
          <a:prstGeom prst="wedgeEllipseCallout">
            <a:avLst>
              <a:gd name="adj1" fmla="val -54924"/>
              <a:gd name="adj2" fmla="val 135862"/>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smtClean="0"/>
              <a:t>Model selection</a:t>
            </a:r>
            <a:endParaRPr lang="en-US" sz="1600" dirty="0"/>
          </a:p>
        </p:txBody>
      </p:sp>
      <p:sp>
        <p:nvSpPr>
          <p:cNvPr id="7" name="Oval Callout 6"/>
          <p:cNvSpPr/>
          <p:nvPr/>
        </p:nvSpPr>
        <p:spPr>
          <a:xfrm>
            <a:off x="5789612" y="381000"/>
            <a:ext cx="1600200" cy="915776"/>
          </a:xfrm>
          <a:prstGeom prst="wedgeEllipseCallout">
            <a:avLst>
              <a:gd name="adj1" fmla="val -24752"/>
              <a:gd name="adj2" fmla="val 130189"/>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smtClean="0"/>
              <a:t>„Learning”</a:t>
            </a:r>
            <a:endParaRPr lang="en-US" sz="1600" dirty="0"/>
          </a:p>
        </p:txBody>
      </p:sp>
      <p:sp>
        <p:nvSpPr>
          <p:cNvPr id="8" name="Oval Callout 7"/>
          <p:cNvSpPr/>
          <p:nvPr/>
        </p:nvSpPr>
        <p:spPr>
          <a:xfrm>
            <a:off x="9294812" y="863133"/>
            <a:ext cx="1600200" cy="915776"/>
          </a:xfrm>
          <a:prstGeom prst="wedgeEllipseCallout">
            <a:avLst>
              <a:gd name="adj1" fmla="val -82197"/>
              <a:gd name="adj2" fmla="val 132458"/>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smtClean="0"/>
              <a:t>Evaluation</a:t>
            </a:r>
            <a:endParaRPr lang="en-US" sz="1600" dirty="0"/>
          </a:p>
        </p:txBody>
      </p:sp>
      <p:sp>
        <p:nvSpPr>
          <p:cNvPr id="9" name="Oval Callout 8"/>
          <p:cNvSpPr/>
          <p:nvPr/>
        </p:nvSpPr>
        <p:spPr>
          <a:xfrm>
            <a:off x="8075612" y="5082139"/>
            <a:ext cx="1600200" cy="915776"/>
          </a:xfrm>
          <a:prstGeom prst="wedgeEllipseCallout">
            <a:avLst>
              <a:gd name="adj1" fmla="val -136742"/>
              <a:gd name="adj2" fmla="val -42279"/>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smtClean="0"/>
              <a:t>Prediction</a:t>
            </a:r>
            <a:endParaRPr lang="en-US" sz="1600" dirty="0"/>
          </a:p>
        </p:txBody>
      </p:sp>
      <p:sp>
        <p:nvSpPr>
          <p:cNvPr id="10" name="Oval Callout 9"/>
          <p:cNvSpPr/>
          <p:nvPr/>
        </p:nvSpPr>
        <p:spPr>
          <a:xfrm>
            <a:off x="3656012" y="381000"/>
            <a:ext cx="1600200" cy="915776"/>
          </a:xfrm>
          <a:prstGeom prst="wedgeEllipseCallout">
            <a:avLst>
              <a:gd name="adj1" fmla="val -24752"/>
              <a:gd name="adj2" fmla="val 130189"/>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smtClean="0"/>
              <a:t>Preparing the data</a:t>
            </a:r>
            <a:endParaRPr lang="en-US" sz="1600"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8742604" y="3259720"/>
            <a:ext cx="4090503" cy="1385887"/>
          </a:xfrm>
          <a:prstGeom prst="rect">
            <a:avLst/>
          </a:prstGeom>
        </p:spPr>
      </p:pic>
      <p:sp>
        <p:nvSpPr>
          <p:cNvPr id="12" name="Oval Callout 11"/>
          <p:cNvSpPr/>
          <p:nvPr/>
        </p:nvSpPr>
        <p:spPr>
          <a:xfrm>
            <a:off x="8456612" y="3661353"/>
            <a:ext cx="1981200" cy="863237"/>
          </a:xfrm>
          <a:prstGeom prst="wedgeEllipseCallout">
            <a:avLst>
              <a:gd name="adj1" fmla="val -155162"/>
              <a:gd name="adj2" fmla="val -11662"/>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hr-HR" sz="1600" dirty="0" err="1" smtClean="0"/>
              <a:t>Deployment</a:t>
            </a:r>
            <a:endParaRPr lang="en-US" sz="1600" dirty="0"/>
          </a:p>
        </p:txBody>
      </p:sp>
      <p:sp>
        <p:nvSpPr>
          <p:cNvPr id="13" name="Oval Callout 12"/>
          <p:cNvSpPr/>
          <p:nvPr/>
        </p:nvSpPr>
        <p:spPr>
          <a:xfrm>
            <a:off x="1789112" y="251469"/>
            <a:ext cx="1600200" cy="915776"/>
          </a:xfrm>
          <a:prstGeom prst="wedgeEllipseCallout">
            <a:avLst>
              <a:gd name="adj1" fmla="val -17949"/>
              <a:gd name="adj2" fmla="val 140887"/>
            </a:avLst>
          </a:prstGeom>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dirty="0" smtClean="0"/>
              <a:t>Preparing the data</a:t>
            </a:r>
            <a:endParaRPr lang="en-US" sz="1600" dirty="0"/>
          </a:p>
        </p:txBody>
      </p:sp>
    </p:spTree>
    <p:extLst>
      <p:ext uri="{BB962C8B-B14F-4D97-AF65-F5344CB8AC3E}">
        <p14:creationId xmlns:p14="http://schemas.microsoft.com/office/powerpoint/2010/main" val="113787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2" grpId="0" animBg="1"/>
      <p:bldP spid="1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r-HR" dirty="0" err="1" smtClean="0"/>
              <a:t>Predicting</a:t>
            </a:r>
            <a:r>
              <a:rPr lang="hr-HR" dirty="0" smtClean="0"/>
              <a:t> </a:t>
            </a:r>
            <a:r>
              <a:rPr lang="hr-HR" dirty="0" err="1" smtClean="0"/>
              <a:t>house</a:t>
            </a:r>
            <a:r>
              <a:rPr lang="hr-HR" dirty="0" smtClean="0"/>
              <a:t> </a:t>
            </a:r>
            <a:r>
              <a:rPr lang="hr-HR" dirty="0" err="1" smtClean="0"/>
              <a:t>prices</a:t>
            </a:r>
            <a:r>
              <a:rPr lang="hr-HR" dirty="0" smtClean="0"/>
              <a:t> – model 1 </a:t>
            </a:r>
            <a:r>
              <a:rPr lang="hr-HR" dirty="0" err="1" smtClean="0"/>
              <a:t>linear</a:t>
            </a:r>
            <a:endParaRPr lang="en-US" dirty="0"/>
          </a:p>
        </p:txBody>
      </p:sp>
      <p:grpSp>
        <p:nvGrpSpPr>
          <p:cNvPr id="7" name="Group 6"/>
          <p:cNvGrpSpPr/>
          <p:nvPr/>
        </p:nvGrpSpPr>
        <p:grpSpPr>
          <a:xfrm>
            <a:off x="2360612" y="1676400"/>
            <a:ext cx="6096000" cy="4495800"/>
            <a:chOff x="2589212" y="1295400"/>
            <a:chExt cx="6529895" cy="495300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1612" y="1295400"/>
              <a:ext cx="6377495" cy="4923125"/>
            </a:xfrm>
            <a:prstGeom prst="rect">
              <a:avLst/>
            </a:prstGeom>
          </p:spPr>
        </p:pic>
        <p:sp>
          <p:nvSpPr>
            <p:cNvPr id="6" name="Rectangle 5"/>
            <p:cNvSpPr/>
            <p:nvPr/>
          </p:nvSpPr>
          <p:spPr>
            <a:xfrm>
              <a:off x="2589212" y="5791200"/>
              <a:ext cx="762000" cy="45720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grpSp>
    </p:spTree>
    <p:extLst>
      <p:ext uri="{BB962C8B-B14F-4D97-AF65-F5344CB8AC3E}">
        <p14:creationId xmlns:p14="http://schemas.microsoft.com/office/powerpoint/2010/main" val="380372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MMPROD_SUBSTITUTION_ID" val="{58B6A517-71ED-46C5-B5E0-89AC2090D8B9}"/>
</p:tagLst>
</file>

<file path=ppt/tags/tag11.xml><?xml version="1.0" encoding="utf-8"?>
<p:tagLst xmlns:a="http://schemas.openxmlformats.org/drawingml/2006/main" xmlns:r="http://schemas.openxmlformats.org/officeDocument/2006/relationships" xmlns:p="http://schemas.openxmlformats.org/presentationml/2006/main">
  <p:tag name="MMPROD_SUBSTITUTION_ID" val="{8A4C17CF-F721-44DC-9E9F-BDE2F1CFFDC6}"/>
</p:tagLst>
</file>

<file path=ppt/tags/tag12.xml><?xml version="1.0" encoding="utf-8"?>
<p:tagLst xmlns:a="http://schemas.openxmlformats.org/drawingml/2006/main" xmlns:r="http://schemas.openxmlformats.org/officeDocument/2006/relationships" xmlns:p="http://schemas.openxmlformats.org/presentationml/2006/main">
  <p:tag name="MMPROD_SUBSTITUTION_ID" val="{DD305F6E-CD1A-459A-98B2-A31A07366458}"/>
</p:tagLst>
</file>

<file path=ppt/tags/tag13.xml><?xml version="1.0" encoding="utf-8"?>
<p:tagLst xmlns:a="http://schemas.openxmlformats.org/drawingml/2006/main" xmlns:r="http://schemas.openxmlformats.org/officeDocument/2006/relationships" xmlns:p="http://schemas.openxmlformats.org/presentationml/2006/main">
  <p:tag name="MMPROD_SUBSTITUTION_ID" val="{D46ECD14-391C-4B15-97AD-3B3E5E11E25D}"/>
</p:tagLst>
</file>

<file path=ppt/tags/tag14.xml><?xml version="1.0" encoding="utf-8"?>
<p:tagLst xmlns:a="http://schemas.openxmlformats.org/drawingml/2006/main" xmlns:r="http://schemas.openxmlformats.org/officeDocument/2006/relationships" xmlns:p="http://schemas.openxmlformats.org/presentationml/2006/main">
  <p:tag name="MMPROD_SUBSTITUTION_ID" val="{B8907C55-6B98-4D95-B802-BFE14CC0A8D7}"/>
</p:tagLst>
</file>

<file path=ppt/tags/tag15.xml><?xml version="1.0" encoding="utf-8"?>
<p:tagLst xmlns:a="http://schemas.openxmlformats.org/drawingml/2006/main" xmlns:r="http://schemas.openxmlformats.org/officeDocument/2006/relationships" xmlns:p="http://schemas.openxmlformats.org/presentationml/2006/main">
  <p:tag name="MMPROD_SUBSTITUTION_ID" val="{1E879CC0-D9BA-4F60-941D-5EDFE9285902}"/>
</p:tagLst>
</file>

<file path=ppt/tags/tag16.xml><?xml version="1.0" encoding="utf-8"?>
<p:tagLst xmlns:a="http://schemas.openxmlformats.org/drawingml/2006/main" xmlns:r="http://schemas.openxmlformats.org/officeDocument/2006/relationships" xmlns:p="http://schemas.openxmlformats.org/presentationml/2006/main">
  <p:tag name="MMPROD_SUBSTITUTION_ID" val="{7ECE94A2-B14F-4487-823F-BF048225CAE9}"/>
</p:tagLst>
</file>

<file path=ppt/tags/tag17.xml><?xml version="1.0" encoding="utf-8"?>
<p:tagLst xmlns:a="http://schemas.openxmlformats.org/drawingml/2006/main" xmlns:r="http://schemas.openxmlformats.org/officeDocument/2006/relationships" xmlns:p="http://schemas.openxmlformats.org/presentationml/2006/main">
  <p:tag name="MMPROD_SUBSTITUTION_ID" val="{B722B1AE-C7F4-4BE6-9ED2-05F0080ED360}"/>
</p:tagLst>
</file>

<file path=ppt/tags/tag18.xml><?xml version="1.0" encoding="utf-8"?>
<p:tagLst xmlns:a="http://schemas.openxmlformats.org/drawingml/2006/main" xmlns:r="http://schemas.openxmlformats.org/officeDocument/2006/relationships" xmlns:p="http://schemas.openxmlformats.org/presentationml/2006/main">
  <p:tag name="MMPROD_SUBSTITUTION_ID" val="{B54D3F57-C61B-4879-A401-A0C945B882E9}"/>
</p:tagLst>
</file>

<file path=ppt/tags/tag19.xml><?xml version="1.0" encoding="utf-8"?>
<p:tagLst xmlns:a="http://schemas.openxmlformats.org/drawingml/2006/main" xmlns:r="http://schemas.openxmlformats.org/officeDocument/2006/relationships" xmlns:p="http://schemas.openxmlformats.org/presentationml/2006/main">
  <p:tag name="MMPROD_SUBSTITUTION_ID" val="{2C4BEE8C-99D4-4E4D-8357-7835D1A26463}"/>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0.xml><?xml version="1.0" encoding="utf-8"?>
<p:tagLst xmlns:a="http://schemas.openxmlformats.org/drawingml/2006/main" xmlns:r="http://schemas.openxmlformats.org/officeDocument/2006/relationships" xmlns:p="http://schemas.openxmlformats.org/presentationml/2006/main">
  <p:tag name="MMPROD_SUBSTITUTION_ID" val="{F3759A9D-1727-41C5-9AAA-D6E98EE39B18}"/>
</p:tagLst>
</file>

<file path=ppt/tags/tag21.xml><?xml version="1.0" encoding="utf-8"?>
<p:tagLst xmlns:a="http://schemas.openxmlformats.org/drawingml/2006/main" xmlns:r="http://schemas.openxmlformats.org/officeDocument/2006/relationships" xmlns:p="http://schemas.openxmlformats.org/presentationml/2006/main">
  <p:tag name="MMPROD_SUBSTITUTION_ID" val="{59FBAFB8-C2F6-4DF4-8933-8568B5B29F0D}"/>
</p:tagLst>
</file>

<file path=ppt/tags/tag22.xml><?xml version="1.0" encoding="utf-8"?>
<p:tagLst xmlns:a="http://schemas.openxmlformats.org/drawingml/2006/main" xmlns:r="http://schemas.openxmlformats.org/officeDocument/2006/relationships" xmlns:p="http://schemas.openxmlformats.org/presentationml/2006/main">
  <p:tag name="MMPROD_SUBSTITUTION_ID" val="{219647AD-0CD3-4BF0-B2D5-12166E03BD82}"/>
</p:tagLst>
</file>

<file path=ppt/tags/tag23.xml><?xml version="1.0" encoding="utf-8"?>
<p:tagLst xmlns:a="http://schemas.openxmlformats.org/drawingml/2006/main" xmlns:r="http://schemas.openxmlformats.org/officeDocument/2006/relationships" xmlns:p="http://schemas.openxmlformats.org/presentationml/2006/main">
  <p:tag name="MMPROD_SUBSTITUTION_ID" val="{45FB812E-3EBC-474B-B759-C2305FB2D95C}"/>
</p:tagLst>
</file>

<file path=ppt/tags/tag24.xml><?xml version="1.0" encoding="utf-8"?>
<p:tagLst xmlns:a="http://schemas.openxmlformats.org/drawingml/2006/main" xmlns:r="http://schemas.openxmlformats.org/officeDocument/2006/relationships" xmlns:p="http://schemas.openxmlformats.org/presentationml/2006/main">
  <p:tag name="MMPROD_SUBSTITUTION_ID" val="{BD7521C8-08C7-4287-A2A5-577887CA46B2}"/>
</p:tagLst>
</file>

<file path=ppt/tags/tag25.xml><?xml version="1.0" encoding="utf-8"?>
<p:tagLst xmlns:a="http://schemas.openxmlformats.org/drawingml/2006/main" xmlns:r="http://schemas.openxmlformats.org/officeDocument/2006/relationships" xmlns:p="http://schemas.openxmlformats.org/presentationml/2006/main">
  <p:tag name="MMPROD_SUBSTITUTION_ID" val="{095C04AF-4600-4510-BBEE-1DA428A9628F}"/>
</p:tagLst>
</file>

<file path=ppt/tags/tag26.xml><?xml version="1.0" encoding="utf-8"?>
<p:tagLst xmlns:a="http://schemas.openxmlformats.org/drawingml/2006/main" xmlns:r="http://schemas.openxmlformats.org/officeDocument/2006/relationships" xmlns:p="http://schemas.openxmlformats.org/presentationml/2006/main">
  <p:tag name="MMPROD_SUBSTITUTION_ID" val="{C1B56856-B58F-49CB-8728-8A4AE01CD7BE}"/>
</p:tagLst>
</file>

<file path=ppt/tags/tag27.xml><?xml version="1.0" encoding="utf-8"?>
<p:tagLst xmlns:a="http://schemas.openxmlformats.org/drawingml/2006/main" xmlns:r="http://schemas.openxmlformats.org/officeDocument/2006/relationships" xmlns:p="http://schemas.openxmlformats.org/presentationml/2006/main">
  <p:tag name="MMPROD_SUBSTITUTION_ID" val="{2F3DE837-9D64-425A-89F2-F0CCFF4056EF}"/>
</p:tagLst>
</file>

<file path=ppt/tags/tag28.xml><?xml version="1.0" encoding="utf-8"?>
<p:tagLst xmlns:a="http://schemas.openxmlformats.org/drawingml/2006/main" xmlns:r="http://schemas.openxmlformats.org/officeDocument/2006/relationships" xmlns:p="http://schemas.openxmlformats.org/presentationml/2006/main">
  <p:tag name="MMPROD_SUBSTITUTION_ID" val="{9BD21BEE-8DBA-42F4-AF22-C89B386A6676}"/>
</p:tagLst>
</file>

<file path=ppt/tags/tag2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jbvS1Jih0mwNC93MPwXlA"/>
</p:tagLst>
</file>

<file path=ppt/tags/tag3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TIMING" val="|1.8|3.4|2.7|1.8|2.5|8.3"/>
</p:tagLst>
</file>

<file path=ppt/tags/tag9.xml><?xml version="1.0" encoding="utf-8"?>
<p:tagLst xmlns:a="http://schemas.openxmlformats.org/drawingml/2006/main" xmlns:r="http://schemas.openxmlformats.org/officeDocument/2006/relationships" xmlns:p="http://schemas.openxmlformats.org/presentationml/2006/main">
  <p:tag name="MMPROD_SUBSTITUTION_ID" val="{02E085EF-F23F-4CA1-82C3-683A1FD98C66}"/>
</p:tagLst>
</file>

<file path=ppt/theme/theme1.xml><?xml version="1.0" encoding="utf-8"?>
<a:theme xmlns:a="http://schemas.openxmlformats.org/drawingml/2006/main" name="2_Oracle_16x9_2014_521">
  <a:themeElements>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extLst>
    <a:ext uri="{05A4C25C-085E-4340-85A3-A5531E510DB2}">
      <thm15:themeFamily xmlns:thm15="http://schemas.microsoft.com/office/thememl/2012/main" name="Oracle_16x9_2014_521" id="{11138A86-4CFD-4AAE-84ED-85FDB159739F}" vid="{ADD436DE-0EC9-4932-BD4C-5E9FA04FA01B}"/>
    </a:ext>
  </a:extLst>
</a:theme>
</file>

<file path=ppt/theme/theme10.xml><?xml version="1.0" encoding="utf-8"?>
<a:theme xmlns:a="http://schemas.openxmlformats.org/drawingml/2006/main" name="Oracle_16x9_2014_521">
  <a:themeElements>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extLst>
    <a:ext uri="{05A4C25C-085E-4340-85A3-A5531E510DB2}">
      <thm15:themeFamily xmlns:thm15="http://schemas.microsoft.com/office/thememl/2012/main" name="Oracle_16x9_2014_521" id="{11138A86-4CFD-4AAE-84ED-85FDB159739F}" vid="{ADD436DE-0EC9-4932-BD4C-5E9FA04FA01B}"/>
    </a:ext>
  </a:extLst>
</a:theme>
</file>

<file path=ppt/theme/theme11.xml><?xml version="1.0" encoding="utf-8"?>
<a:theme xmlns:a="http://schemas.openxmlformats.org/drawingml/2006/main" name="5_Oracle-16x9-2015-150622">
  <a:themeElements>
    <a:clrScheme name="Oracle">
      <a:dk1>
        <a:srgbClr val="5F5F5F"/>
      </a:dk1>
      <a:lt1>
        <a:srgbClr val="FFFFFF"/>
      </a:lt1>
      <a:dk2>
        <a:srgbClr val="7F7F7F"/>
      </a:dk2>
      <a:lt2>
        <a:srgbClr val="DCE3E4"/>
      </a:lt2>
      <a:accent1>
        <a:srgbClr val="F8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Oracle_16x9-2014-v2.1.x" id="{327BA289-4253-4B1F-93E1-0383345A9128}" vid="{D6F0D91B-DD93-4308-9726-31EB480EB9A1}"/>
    </a:ext>
  </a:extLst>
</a:theme>
</file>

<file path=ppt/theme/theme12.xml><?xml version="1.0" encoding="utf-8"?>
<a:theme xmlns:a="http://schemas.openxmlformats.org/drawingml/2006/main" name="2_Oracle_16x9_2014">
  <a:themeElements>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extLst>
    <a:ext uri="{05A4C25C-085E-4340-85A3-A5531E510DB2}">
      <thm15:themeFamily xmlns:thm15="http://schemas.microsoft.com/office/thememl/2012/main" name="Oracle_16x9_2014_521" id="{11138A86-4CFD-4AAE-84ED-85FDB159739F}" vid="{ADD436DE-0EC9-4932-BD4C-5E9FA04FA01B}"/>
    </a:ext>
  </a:extLst>
</a:theme>
</file>

<file path=ppt/theme/theme13.xml><?xml version="1.0" encoding="utf-8"?>
<a:theme xmlns:a="http://schemas.openxmlformats.org/drawingml/2006/main" name="2_Oracle-16x9-2015-150622">
  <a:themeElements>
    <a:clrScheme name="Oracle">
      <a:dk1>
        <a:srgbClr val="5F5F5F"/>
      </a:dk1>
      <a:lt1>
        <a:srgbClr val="FFFFFF"/>
      </a:lt1>
      <a:dk2>
        <a:srgbClr val="7F7F7F"/>
      </a:dk2>
      <a:lt2>
        <a:srgbClr val="DCE3E4"/>
      </a:lt2>
      <a:accent1>
        <a:srgbClr val="F8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Oracle_16x9-2014-v2.1.x" id="{327BA289-4253-4B1F-93E1-0383345A9128}" vid="{D6F0D91B-DD93-4308-9726-31EB480EB9A1}"/>
    </a:ext>
  </a:extLst>
</a:theme>
</file>

<file path=ppt/theme/theme14.xml><?xml version="1.0" encoding="utf-8"?>
<a:theme xmlns:a="http://schemas.openxmlformats.org/drawingml/2006/main" name="3_Oracle-16x9-2015-150622">
  <a:themeElements>
    <a:clrScheme name="Oracle">
      <a:dk1>
        <a:srgbClr val="5F5F5F"/>
      </a:dk1>
      <a:lt1>
        <a:srgbClr val="FFFFFF"/>
      </a:lt1>
      <a:dk2>
        <a:srgbClr val="7F7F7F"/>
      </a:dk2>
      <a:lt2>
        <a:srgbClr val="DCE3E4"/>
      </a:lt2>
      <a:accent1>
        <a:srgbClr val="F8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Oracle_16x9-2014-v2.1.x" id="{327BA289-4253-4B1F-93E1-0383345A9128}" vid="{D6F0D91B-DD93-4308-9726-31EB480EB9A1}"/>
    </a:ext>
  </a:extLst>
</a:theme>
</file>

<file path=ppt/theme/theme15.xml><?xml version="1.0" encoding="utf-8"?>
<a:theme xmlns:a="http://schemas.openxmlformats.org/drawingml/2006/main" name="4_Oracle-16x9-2015-150622">
  <a:themeElements>
    <a:clrScheme name="Oracle">
      <a:dk1>
        <a:srgbClr val="5F5F5F"/>
      </a:dk1>
      <a:lt1>
        <a:srgbClr val="FFFFFF"/>
      </a:lt1>
      <a:dk2>
        <a:srgbClr val="7F7F7F"/>
      </a:dk2>
      <a:lt2>
        <a:srgbClr val="DCE3E4"/>
      </a:lt2>
      <a:accent1>
        <a:srgbClr val="F8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Oracle_16x9-2014-v2.1.x" id="{327BA289-4253-4B1F-93E1-0383345A9128}" vid="{D6F0D91B-DD93-4308-9726-31EB480EB9A1}"/>
    </a:ext>
  </a:extLst>
</a:theme>
</file>

<file path=ppt/theme/theme16.xml><?xml version="1.0" encoding="utf-8"?>
<a:theme xmlns:a="http://schemas.openxmlformats.org/drawingml/2006/main" name="5_Oracle_16x9_2016">
  <a:themeElements>
    <a:clrScheme name="Oracle 2016 New Palette">
      <a:dk1>
        <a:srgbClr val="58595B"/>
      </a:dk1>
      <a:lt1>
        <a:srgbClr val="FFFFFF"/>
      </a:lt1>
      <a:dk2>
        <a:srgbClr val="374A58"/>
      </a:dk2>
      <a:lt2>
        <a:srgbClr val="C8D9DE"/>
      </a:lt2>
      <a:accent1>
        <a:srgbClr val="F80000"/>
      </a:accent1>
      <a:accent2>
        <a:srgbClr val="8EADBF"/>
      </a:accent2>
      <a:accent3>
        <a:srgbClr val="FF8D14"/>
      </a:accent3>
      <a:accent4>
        <a:srgbClr val="007395"/>
      </a:accent4>
      <a:accent5>
        <a:srgbClr val="A52641"/>
      </a:accent5>
      <a:accent6>
        <a:srgbClr val="3A913F"/>
      </a:accent6>
      <a:hlink>
        <a:srgbClr val="1F4F82"/>
      </a:hlink>
      <a:folHlink>
        <a:srgbClr val="8A8C8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539923-OOW-SF2016-16x9-v11.potx" id="{352B1AB2-C04C-7E4F-95BC-D32FC2CA7BE8}" vid="{F04E717A-6848-1E49-9D1F-37959B9E287E}"/>
    </a:ext>
  </a:extLst>
</a:theme>
</file>

<file path=ppt/theme/theme17.xml><?xml version="1.0" encoding="utf-8"?>
<a:theme xmlns:a="http://schemas.openxmlformats.org/drawingml/2006/main" name="Office Theme">
  <a:themeElements>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7_Office Theme">
  <a:themeElements>
    <a:clrScheme name="Fiserv Light">
      <a:dk1>
        <a:srgbClr val="B2B2B2"/>
      </a:dk1>
      <a:lt1>
        <a:srgbClr val="333333"/>
      </a:lt1>
      <a:dk2>
        <a:srgbClr val="FFFFFF"/>
      </a:dk2>
      <a:lt2>
        <a:srgbClr val="FF6600"/>
      </a:lt2>
      <a:accent1>
        <a:srgbClr val="787878"/>
      </a:accent1>
      <a:accent2>
        <a:srgbClr val="6699CC"/>
      </a:accent2>
      <a:accent3>
        <a:srgbClr val="FFC400"/>
      </a:accent3>
      <a:accent4>
        <a:srgbClr val="99CC00"/>
      </a:accent4>
      <a:accent5>
        <a:srgbClr val="B2B2B2"/>
      </a:accent5>
      <a:accent6>
        <a:srgbClr val="FF6600"/>
      </a:accent6>
      <a:hlink>
        <a:srgbClr val="FFC400"/>
      </a:hlink>
      <a:folHlink>
        <a:srgbClr val="99CC00"/>
      </a:folHlink>
    </a:clrScheme>
    <a:fontScheme name="Custom 1">
      <a:majorFont>
        <a:latin typeface="Univers LT 55"/>
        <a:ea typeface=""/>
        <a:cs typeface=""/>
      </a:majorFont>
      <a:minorFont>
        <a:latin typeface="Univers LT 55"/>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a:latin typeface="Arial" pitchFamily="34" charset="0"/>
            <a:cs typeface="Arial" pitchFamily="34" charset="0"/>
          </a:defRPr>
        </a:defPPr>
      </a:lstStyle>
    </a:txDef>
  </a:objectDefaults>
  <a:extraClrSchemeLst>
    <a:extraClrScheme>
      <a:clrScheme name="7_Office Theme 1">
        <a:dk1>
          <a:srgbClr val="000000"/>
        </a:dk1>
        <a:lt1>
          <a:srgbClr val="FFFFFF"/>
        </a:lt1>
        <a:dk2>
          <a:srgbClr val="323232"/>
        </a:dk2>
        <a:lt2>
          <a:srgbClr val="FF6600"/>
        </a:lt2>
        <a:accent1>
          <a:srgbClr val="787878"/>
        </a:accent1>
        <a:accent2>
          <a:srgbClr val="6699CC"/>
        </a:accent2>
        <a:accent3>
          <a:srgbClr val="ADADAD"/>
        </a:accent3>
        <a:accent4>
          <a:srgbClr val="DADADA"/>
        </a:accent4>
        <a:accent5>
          <a:srgbClr val="BEBEBE"/>
        </a:accent5>
        <a:accent6>
          <a:srgbClr val="5C8AB9"/>
        </a:accent6>
        <a:hlink>
          <a:srgbClr val="FFC425"/>
        </a:hlink>
        <a:folHlink>
          <a:srgbClr val="008000"/>
        </a:folHlink>
      </a:clrScheme>
      <a:clrMap bg1="dk2" tx1="lt1" bg2="dk1" tx2="lt2" accent1="accent1" accent2="accent2" accent3="accent3" accent4="accent4" accent5="accent5" accent6="accent6" hlink="hlink" folHlink="folHlink"/>
    </a:extraClrScheme>
    <a:extraClrScheme>
      <a:clrScheme name="7_Office Theme 1">
        <a:dk1>
          <a:srgbClr val="000000"/>
        </a:dk1>
        <a:lt1>
          <a:srgbClr val="FFFFFF"/>
        </a:lt1>
        <a:dk2>
          <a:srgbClr val="323232"/>
        </a:dk2>
        <a:lt2>
          <a:srgbClr val="FF6600"/>
        </a:lt2>
        <a:accent1>
          <a:srgbClr val="787878"/>
        </a:accent1>
        <a:accent2>
          <a:srgbClr val="6699CC"/>
        </a:accent2>
        <a:accent3>
          <a:srgbClr val="ADADAD"/>
        </a:accent3>
        <a:accent4>
          <a:srgbClr val="DADADA"/>
        </a:accent4>
        <a:accent5>
          <a:srgbClr val="BEBEBE"/>
        </a:accent5>
        <a:accent6>
          <a:srgbClr val="5C8AB9"/>
        </a:accent6>
        <a:hlink>
          <a:srgbClr val="FFC425"/>
        </a:hlink>
        <a:folHlink>
          <a:srgbClr val="008000"/>
        </a:folHlink>
      </a:clrScheme>
      <a:clrMap bg1="dk2" tx1="lt1" bg2="dk1" tx2="lt2" accent1="accent1" accent2="accent2" accent3="accent3" accent4="accent4" accent5="accent5" accent6="accent6" hlink="hlink" folHlink="folHlink"/>
    </a:extraClrScheme>
    <a:extraClrScheme>
      <a:clrScheme name="7_Office Theme 2">
        <a:dk1>
          <a:srgbClr val="FFFFFF"/>
        </a:dk1>
        <a:lt1>
          <a:srgbClr val="FFFFFF"/>
        </a:lt1>
        <a:dk2>
          <a:srgbClr val="FF6600"/>
        </a:dk2>
        <a:lt2>
          <a:srgbClr val="000000"/>
        </a:lt2>
        <a:accent1>
          <a:srgbClr val="787878"/>
        </a:accent1>
        <a:accent2>
          <a:srgbClr val="6699CC"/>
        </a:accent2>
        <a:accent3>
          <a:srgbClr val="FFFFFF"/>
        </a:accent3>
        <a:accent4>
          <a:srgbClr val="DADADA"/>
        </a:accent4>
        <a:accent5>
          <a:srgbClr val="BEBEBE"/>
        </a:accent5>
        <a:accent6>
          <a:srgbClr val="5C8AB9"/>
        </a:accent6>
        <a:hlink>
          <a:srgbClr val="FFC425"/>
        </a:hlink>
        <a:folHlink>
          <a:srgbClr val="008000"/>
        </a:folHlink>
      </a:clrScheme>
      <a:clrMap bg1="lt1" tx1="dk1" bg2="lt2" tx2="dk2" accent1="accent1" accent2="accent2" accent3="accent3" accent4="accent4" accent5="accent5" accent6="accent6" hlink="hlink" folHlink="folHlink"/>
    </a:extraClrScheme>
    <a:extraClrScheme>
      <a:clrScheme name="7_Office Theme 1">
        <a:dk1>
          <a:srgbClr val="B2B2B2"/>
        </a:dk1>
        <a:lt1>
          <a:srgbClr val="FFFFFF"/>
        </a:lt1>
        <a:dk2>
          <a:srgbClr val="333333"/>
        </a:dk2>
        <a:lt2>
          <a:srgbClr val="FF6600"/>
        </a:lt2>
        <a:accent1>
          <a:srgbClr val="787878"/>
        </a:accent1>
        <a:accent2>
          <a:srgbClr val="6699CC"/>
        </a:accent2>
        <a:accent3>
          <a:srgbClr val="ADADAD"/>
        </a:accent3>
        <a:accent4>
          <a:srgbClr val="DADADA"/>
        </a:accent4>
        <a:accent5>
          <a:srgbClr val="BEBEBE"/>
        </a:accent5>
        <a:accent6>
          <a:srgbClr val="5C8AB9"/>
        </a:accent6>
        <a:hlink>
          <a:srgbClr val="FFC626"/>
        </a:hlink>
        <a:folHlink>
          <a:srgbClr val="008000"/>
        </a:folHlink>
      </a:clrScheme>
      <a:clrMap bg1="dk2" tx1="lt1" bg2="dk1" tx2="lt2" accent1="accent1" accent2="accent2" accent3="accent3" accent4="accent4" accent5="accent5" accent6="accent6" hlink="hlink" folHlink="folHlink"/>
    </a:extraClrScheme>
    <a:extraClrScheme>
      <a:clrScheme name="7_Office Theme 1">
        <a:dk1>
          <a:srgbClr val="B2B2B2"/>
        </a:dk1>
        <a:lt1>
          <a:srgbClr val="FFFFFF"/>
        </a:lt1>
        <a:dk2>
          <a:srgbClr val="333333"/>
        </a:dk2>
        <a:lt2>
          <a:srgbClr val="FF6600"/>
        </a:lt2>
        <a:accent1>
          <a:srgbClr val="787878"/>
        </a:accent1>
        <a:accent2>
          <a:srgbClr val="6699CC"/>
        </a:accent2>
        <a:accent3>
          <a:srgbClr val="ADADAD"/>
        </a:accent3>
        <a:accent4>
          <a:srgbClr val="DADADA"/>
        </a:accent4>
        <a:accent5>
          <a:srgbClr val="BEBEBE"/>
        </a:accent5>
        <a:accent6>
          <a:srgbClr val="5C8AB9"/>
        </a:accent6>
        <a:hlink>
          <a:srgbClr val="FFC400"/>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racle_16x9_2016">
  <a:themeElements>
    <a:clrScheme name="Oracle 2016 New Palette">
      <a:dk1>
        <a:srgbClr val="58595B"/>
      </a:dk1>
      <a:lt1>
        <a:srgbClr val="FFFFFF"/>
      </a:lt1>
      <a:dk2>
        <a:srgbClr val="374A58"/>
      </a:dk2>
      <a:lt2>
        <a:srgbClr val="C8D9DE"/>
      </a:lt2>
      <a:accent1>
        <a:srgbClr val="F80000"/>
      </a:accent1>
      <a:accent2>
        <a:srgbClr val="8EADBF"/>
      </a:accent2>
      <a:accent3>
        <a:srgbClr val="FF8D14"/>
      </a:accent3>
      <a:accent4>
        <a:srgbClr val="007395"/>
      </a:accent4>
      <a:accent5>
        <a:srgbClr val="A52641"/>
      </a:accent5>
      <a:accent6>
        <a:srgbClr val="3A913F"/>
      </a:accent6>
      <a:hlink>
        <a:srgbClr val="1F4F82"/>
      </a:hlink>
      <a:folHlink>
        <a:srgbClr val="8A8C8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539923-OOW-SF2016-16x9-v11.potx" id="{352B1AB2-C04C-7E4F-95BC-D32FC2CA7BE8}" vid="{F04E717A-6848-1E49-9D1F-37959B9E287E}"/>
    </a:ext>
  </a:extLst>
</a:theme>
</file>

<file path=ppt/theme/theme4.xml><?xml version="1.0" encoding="utf-8"?>
<a:theme xmlns:a="http://schemas.openxmlformats.org/drawingml/2006/main" name="1_Oracle_16x9_2016">
  <a:themeElements>
    <a:clrScheme name="Oracle 2016 New Palette">
      <a:dk1>
        <a:srgbClr val="58595B"/>
      </a:dk1>
      <a:lt1>
        <a:srgbClr val="FFFFFF"/>
      </a:lt1>
      <a:dk2>
        <a:srgbClr val="374A58"/>
      </a:dk2>
      <a:lt2>
        <a:srgbClr val="C8D9DE"/>
      </a:lt2>
      <a:accent1>
        <a:srgbClr val="F80000"/>
      </a:accent1>
      <a:accent2>
        <a:srgbClr val="8EADBF"/>
      </a:accent2>
      <a:accent3>
        <a:srgbClr val="FF8D14"/>
      </a:accent3>
      <a:accent4>
        <a:srgbClr val="007395"/>
      </a:accent4>
      <a:accent5>
        <a:srgbClr val="A52641"/>
      </a:accent5>
      <a:accent6>
        <a:srgbClr val="3A913F"/>
      </a:accent6>
      <a:hlink>
        <a:srgbClr val="1F4F82"/>
      </a:hlink>
      <a:folHlink>
        <a:srgbClr val="8A8C8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539923-OOW-SF2016-16x9-v11.potx" id="{352B1AB2-C04C-7E4F-95BC-D32FC2CA7BE8}" vid="{F04E717A-6848-1E49-9D1F-37959B9E287E}"/>
    </a:ext>
  </a:extLst>
</a:theme>
</file>

<file path=ppt/theme/theme5.xml><?xml version="1.0" encoding="utf-8"?>
<a:theme xmlns:a="http://schemas.openxmlformats.org/drawingml/2006/main" name="2_Oracle_16x9_2016">
  <a:themeElements>
    <a:clrScheme name="Oracle 2016 New Palette">
      <a:dk1>
        <a:srgbClr val="58595B"/>
      </a:dk1>
      <a:lt1>
        <a:srgbClr val="FFFFFF"/>
      </a:lt1>
      <a:dk2>
        <a:srgbClr val="374A58"/>
      </a:dk2>
      <a:lt2>
        <a:srgbClr val="C8D9DE"/>
      </a:lt2>
      <a:accent1>
        <a:srgbClr val="F80000"/>
      </a:accent1>
      <a:accent2>
        <a:srgbClr val="8EADBF"/>
      </a:accent2>
      <a:accent3>
        <a:srgbClr val="FF8D14"/>
      </a:accent3>
      <a:accent4>
        <a:srgbClr val="007395"/>
      </a:accent4>
      <a:accent5>
        <a:srgbClr val="A52641"/>
      </a:accent5>
      <a:accent6>
        <a:srgbClr val="3A913F"/>
      </a:accent6>
      <a:hlink>
        <a:srgbClr val="1F4F82"/>
      </a:hlink>
      <a:folHlink>
        <a:srgbClr val="8A8C8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539923-OOW-SF2016-16x9-v11.potx" id="{352B1AB2-C04C-7E4F-95BC-D32FC2CA7BE8}" vid="{F04E717A-6848-1E49-9D1F-37959B9E287E}"/>
    </a:ext>
  </a:extLst>
</a:theme>
</file>

<file path=ppt/theme/theme6.xml><?xml version="1.0" encoding="utf-8"?>
<a:theme xmlns:a="http://schemas.openxmlformats.org/drawingml/2006/main" name="3_Oracle_16x9_2016">
  <a:themeElements>
    <a:clrScheme name="Oracle 2016 New Palette">
      <a:dk1>
        <a:srgbClr val="58595B"/>
      </a:dk1>
      <a:lt1>
        <a:srgbClr val="FFFFFF"/>
      </a:lt1>
      <a:dk2>
        <a:srgbClr val="374A58"/>
      </a:dk2>
      <a:lt2>
        <a:srgbClr val="C8D9DE"/>
      </a:lt2>
      <a:accent1>
        <a:srgbClr val="F80000"/>
      </a:accent1>
      <a:accent2>
        <a:srgbClr val="8EADBF"/>
      </a:accent2>
      <a:accent3>
        <a:srgbClr val="FF8D14"/>
      </a:accent3>
      <a:accent4>
        <a:srgbClr val="007395"/>
      </a:accent4>
      <a:accent5>
        <a:srgbClr val="A52641"/>
      </a:accent5>
      <a:accent6>
        <a:srgbClr val="3A913F"/>
      </a:accent6>
      <a:hlink>
        <a:srgbClr val="1F4F82"/>
      </a:hlink>
      <a:folHlink>
        <a:srgbClr val="8A8C8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539923-OOW-SF2016-16x9-v11.potx" id="{352B1AB2-C04C-7E4F-95BC-D32FC2CA7BE8}" vid="{F04E717A-6848-1E49-9D1F-37959B9E287E}"/>
    </a:ext>
  </a:extLst>
</a:theme>
</file>

<file path=ppt/theme/theme7.xml><?xml version="1.0" encoding="utf-8"?>
<a:theme xmlns:a="http://schemas.openxmlformats.org/drawingml/2006/main" name="4_Oracle_16x9_2016">
  <a:themeElements>
    <a:clrScheme name="Oracle 2016 New Palette">
      <a:dk1>
        <a:srgbClr val="58595B"/>
      </a:dk1>
      <a:lt1>
        <a:srgbClr val="FFFFFF"/>
      </a:lt1>
      <a:dk2>
        <a:srgbClr val="374A58"/>
      </a:dk2>
      <a:lt2>
        <a:srgbClr val="C8D9DE"/>
      </a:lt2>
      <a:accent1>
        <a:srgbClr val="F80000"/>
      </a:accent1>
      <a:accent2>
        <a:srgbClr val="8EADBF"/>
      </a:accent2>
      <a:accent3>
        <a:srgbClr val="FF8D14"/>
      </a:accent3>
      <a:accent4>
        <a:srgbClr val="007395"/>
      </a:accent4>
      <a:accent5>
        <a:srgbClr val="A52641"/>
      </a:accent5>
      <a:accent6>
        <a:srgbClr val="3A913F"/>
      </a:accent6>
      <a:hlink>
        <a:srgbClr val="1F4F82"/>
      </a:hlink>
      <a:folHlink>
        <a:srgbClr val="8A8C8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539923-OOW-SF2016-16x9-v11.potx" id="{352B1AB2-C04C-7E4F-95BC-D32FC2CA7BE8}" vid="{F04E717A-6848-1E49-9D1F-37959B9E287E}"/>
    </a:ext>
  </a:extLst>
</a:theme>
</file>

<file path=ppt/theme/theme8.xml><?xml version="1.0" encoding="utf-8"?>
<a:theme xmlns:a="http://schemas.openxmlformats.org/drawingml/2006/main" name="Oracle-16x9-2015-150622">
  <a:themeElements>
    <a:clrScheme name="Oracle">
      <a:dk1>
        <a:srgbClr val="5F5F5F"/>
      </a:dk1>
      <a:lt1>
        <a:srgbClr val="FFFFFF"/>
      </a:lt1>
      <a:dk2>
        <a:srgbClr val="7F7F7F"/>
      </a:dk2>
      <a:lt2>
        <a:srgbClr val="DCE3E4"/>
      </a:lt2>
      <a:accent1>
        <a:srgbClr val="F8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Oracle_16x9-2014-v2.1.x" id="{327BA289-4253-4B1F-93E1-0383345A9128}" vid="{D6F0D91B-DD93-4308-9726-31EB480EB9A1}"/>
    </a:ext>
  </a:extLst>
</a:theme>
</file>

<file path=ppt/theme/theme9.xml><?xml version="1.0" encoding="utf-8"?>
<a:theme xmlns:a="http://schemas.openxmlformats.org/drawingml/2006/main" name="1_Oracle-16x9-2015-150622">
  <a:themeElements>
    <a:clrScheme name="Oracle">
      <a:dk1>
        <a:srgbClr val="5F5F5F"/>
      </a:dk1>
      <a:lt1>
        <a:srgbClr val="FFFFFF"/>
      </a:lt1>
      <a:dk2>
        <a:srgbClr val="7F7F7F"/>
      </a:dk2>
      <a:lt2>
        <a:srgbClr val="DCE3E4"/>
      </a:lt2>
      <a:accent1>
        <a:srgbClr val="F8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1555E"/>
        </a:solidFill>
        <a:ln w="19050">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mtClean="0"/>
        </a:defPPr>
      </a:lstStyle>
    </a:txDef>
  </a:objectDefaults>
  <a:extraClrSchemeLst/>
  <a:extLst>
    <a:ext uri="{05A4C25C-085E-4340-85A3-A5531E510DB2}">
      <thm15:themeFamily xmlns:thm15="http://schemas.microsoft.com/office/thememl/2012/main" name="Oracle_16x9-2014-v2.1.x" id="{327BA289-4253-4B1F-93E1-0383345A9128}" vid="{D6F0D91B-DD93-4308-9726-31EB480EB9A1}"/>
    </a:ext>
  </a:extLst>
</a:theme>
</file>

<file path=ppt/theme/themeOverride1.xml><?xml version="1.0" encoding="utf-8"?>
<a:themeOverride xmlns:a="http://schemas.openxmlformats.org/drawingml/2006/main">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themeOverride>
</file>

<file path=ppt/theme/themeOverride2.xml><?xml version="1.0" encoding="utf-8"?>
<a:themeOverride xmlns:a="http://schemas.openxmlformats.org/drawingml/2006/main">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themeOverride>
</file>

<file path=ppt/theme/themeOverride3.xml><?xml version="1.0" encoding="utf-8"?>
<a:themeOverride xmlns:a="http://schemas.openxmlformats.org/drawingml/2006/main">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themeOverride>
</file>

<file path=ppt/theme/themeOverride4.xml><?xml version="1.0" encoding="utf-8"?>
<a:themeOverride xmlns:a="http://schemas.openxmlformats.org/drawingml/2006/main">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themeOverride>
</file>

<file path=ppt/theme/themeOverride5.xml><?xml version="1.0" encoding="utf-8"?>
<a:themeOverride xmlns:a="http://schemas.openxmlformats.org/drawingml/2006/main">
  <a:clrScheme name="Oracle">
    <a:dk1>
      <a:srgbClr val="5F5F5F"/>
    </a:dk1>
    <a:lt1>
      <a:srgbClr val="FFFFFF"/>
    </a:lt1>
    <a:dk2>
      <a:srgbClr val="7F7F7F"/>
    </a:dk2>
    <a:lt2>
      <a:srgbClr val="DCE3E4"/>
    </a:lt2>
    <a:accent1>
      <a:srgbClr val="FF0000"/>
    </a:accent1>
    <a:accent2>
      <a:srgbClr val="8A133B"/>
    </a:accent2>
    <a:accent3>
      <a:srgbClr val="FF7700"/>
    </a:accent3>
    <a:accent4>
      <a:srgbClr val="46575E"/>
    </a:accent4>
    <a:accent5>
      <a:srgbClr val="8DA6B1"/>
    </a:accent5>
    <a:accent6>
      <a:srgbClr val="B0C3C8"/>
    </a:accent6>
    <a:hlink>
      <a:srgbClr val="8DA6B1"/>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Aspect</Template>
  <TotalTime>15730</TotalTime>
  <Words>3250</Words>
  <Application>Microsoft Office PowerPoint</Application>
  <PresentationFormat>Custom</PresentationFormat>
  <Paragraphs>615</Paragraphs>
  <Slides>46</Slides>
  <Notes>25</Notes>
  <HiddenSlides>0</HiddenSlides>
  <MMClips>0</MMClips>
  <ScaleCrop>false</ScaleCrop>
  <HeadingPairs>
    <vt:vector size="8" baseType="variant">
      <vt:variant>
        <vt:lpstr>Fonts Used</vt:lpstr>
      </vt:variant>
      <vt:variant>
        <vt:i4>13</vt:i4>
      </vt:variant>
      <vt:variant>
        <vt:lpstr>Theme</vt:lpstr>
      </vt:variant>
      <vt:variant>
        <vt:i4>16</vt:i4>
      </vt:variant>
      <vt:variant>
        <vt:lpstr>Embedded OLE Servers</vt:lpstr>
      </vt:variant>
      <vt:variant>
        <vt:i4>1</vt:i4>
      </vt:variant>
      <vt:variant>
        <vt:lpstr>Slide Titles</vt:lpstr>
      </vt:variant>
      <vt:variant>
        <vt:i4>46</vt:i4>
      </vt:variant>
    </vt:vector>
  </HeadingPairs>
  <TitlesOfParts>
    <vt:vector size="76" baseType="lpstr">
      <vt:lpstr>MS PGothic</vt:lpstr>
      <vt:lpstr>MS PGothic</vt:lpstr>
      <vt:lpstr>Arial</vt:lpstr>
      <vt:lpstr>Arial Narrow</vt:lpstr>
      <vt:lpstr>Calibri</vt:lpstr>
      <vt:lpstr>Courier New</vt:lpstr>
      <vt:lpstr>Helvetica</vt:lpstr>
      <vt:lpstr>Tahoma</vt:lpstr>
      <vt:lpstr>Times</vt:lpstr>
      <vt:lpstr>Times New Roman</vt:lpstr>
      <vt:lpstr>Univers LT 55</vt:lpstr>
      <vt:lpstr>Wingdings</vt:lpstr>
      <vt:lpstr>ヒラギノ角ゴ Pro W3</vt:lpstr>
      <vt:lpstr>2_Oracle_16x9_2014_521</vt:lpstr>
      <vt:lpstr>7_Office Theme</vt:lpstr>
      <vt:lpstr>Oracle_16x9_2016</vt:lpstr>
      <vt:lpstr>1_Oracle_16x9_2016</vt:lpstr>
      <vt:lpstr>2_Oracle_16x9_2016</vt:lpstr>
      <vt:lpstr>3_Oracle_16x9_2016</vt:lpstr>
      <vt:lpstr>4_Oracle_16x9_2016</vt:lpstr>
      <vt:lpstr>Oracle-16x9-2015-150622</vt:lpstr>
      <vt:lpstr>1_Oracle-16x9-2015-150622</vt:lpstr>
      <vt:lpstr>Oracle_16x9_2014_521</vt:lpstr>
      <vt:lpstr>5_Oracle-16x9-2015-150622</vt:lpstr>
      <vt:lpstr>2_Oracle_16x9_2014</vt:lpstr>
      <vt:lpstr>2_Oracle-16x9-2015-150622</vt:lpstr>
      <vt:lpstr>3_Oracle-16x9-2015-150622</vt:lpstr>
      <vt:lpstr>4_Oracle-16x9-2015-150622</vt:lpstr>
      <vt:lpstr>5_Oracle_16x9_2016</vt:lpstr>
      <vt:lpstr>think-cell Slide</vt:lpstr>
      <vt:lpstr>Machine Learning </vt:lpstr>
      <vt:lpstr>PowerPoint Presentation</vt:lpstr>
      <vt:lpstr>Traži se „Data Scientist”!</vt:lpstr>
      <vt:lpstr>PowerPoint Presentation</vt:lpstr>
      <vt:lpstr>Machine Learning</vt:lpstr>
      <vt:lpstr>Machine Learning in commercial sector</vt:lpstr>
      <vt:lpstr>ML in Education</vt:lpstr>
      <vt:lpstr>PowerPoint Presentation</vt:lpstr>
      <vt:lpstr>Predicting house prices – model 1 linear</vt:lpstr>
      <vt:lpstr>Predicting house prices – model 2 quadratic</vt:lpstr>
      <vt:lpstr>Predicting house prices – model 3 high order polynomial</vt:lpstr>
      <vt:lpstr>Predicting house prices - overfitting</vt:lpstr>
      <vt:lpstr>Multiple features (input variables)</vt:lpstr>
      <vt:lpstr>Where does complexity come from?</vt:lpstr>
      <vt:lpstr>More Data Variety—Better Predictive Models</vt:lpstr>
      <vt:lpstr>Other models</vt:lpstr>
      <vt:lpstr>Unsupervised machine learning - clustering</vt:lpstr>
      <vt:lpstr>As a conclusion (so far)</vt:lpstr>
      <vt:lpstr>Data Miner Survey 2016 by Rexer Analytics</vt:lpstr>
      <vt:lpstr>Traditional vs. Oracle Machine Learning/Predictive Analtyics</vt:lpstr>
      <vt:lpstr>Traditional vs. Oracle Machine Learning/Predictive Analtyics</vt:lpstr>
      <vt:lpstr>Zagrebačka Bank (biggest bank in Croatia)</vt:lpstr>
      <vt:lpstr>Oracle RTD Self Learning </vt:lpstr>
      <vt:lpstr>To a more dynamic approach</vt:lpstr>
      <vt:lpstr>PowerPoint Presentation</vt:lpstr>
      <vt:lpstr>Business have a silo view of channels</vt:lpstr>
      <vt:lpstr>Betfair boosts revenue with Oracle analytics</vt:lpstr>
      <vt:lpstr>PowerPoint Presentation</vt:lpstr>
      <vt:lpstr>Oracle’s Advanced Analytics</vt:lpstr>
      <vt:lpstr>“We increased our revenue by 40%”</vt:lpstr>
      <vt:lpstr>Customer &amp; Brand 360</vt:lpstr>
      <vt:lpstr>Dell RTD is Live in 3 Channels, 4th is WIP</vt:lpstr>
      <vt:lpstr>Project#3: Email Personalization </vt:lpstr>
      <vt:lpstr>Oracle’s Unified Big Data Management and Analytics Strategy</vt:lpstr>
      <vt:lpstr>The Result of Silo’d Marketing is A Broken Customer Experience</vt:lpstr>
      <vt:lpstr>Real-Time Interactions Optimization Value Dimension</vt:lpstr>
      <vt:lpstr>PowerPoint Presentation</vt:lpstr>
      <vt:lpstr>Many Organizations Are Facing Similar Challenges</vt:lpstr>
      <vt:lpstr>Classification</vt:lpstr>
      <vt:lpstr>Classification - Logistic regression</vt:lpstr>
      <vt:lpstr>Classification - Logistic regression</vt:lpstr>
      <vt:lpstr>Oracle’s Advanced Analytics (Machine Learning Platform)</vt:lpstr>
      <vt:lpstr>You Can Think of Oracle’s Advanced Analytics Like This…</vt:lpstr>
      <vt:lpstr>R—Widely Popular R is a statistics language  </vt:lpstr>
      <vt:lpstr>Oracle Advanced Analytics Database Evolution   Analytical SQL in the Database</vt:lpstr>
      <vt:lpstr>Agenda</vt:lpstr>
    </vt:vector>
  </TitlesOfParts>
  <Company>Oracle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e PowerPoint Template</dc:title>
  <dc:creator>charles berger</dc:creator>
  <cp:keywords>Oracle corporate Tagline</cp:keywords>
  <cp:lastModifiedBy>user</cp:lastModifiedBy>
  <cp:revision>675</cp:revision>
  <dcterms:created xsi:type="dcterms:W3CDTF">2014-05-27T19:57:01Z</dcterms:created>
  <dcterms:modified xsi:type="dcterms:W3CDTF">2016-11-11T07:1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343037</vt:lpwstr>
  </property>
  <property fmtid="{D5CDD505-2E9C-101B-9397-08002B2CF9AE}" pid="3" name="NXPowerLiteSettings">
    <vt:lpwstr>F98007B004F000</vt:lpwstr>
  </property>
  <property fmtid="{D5CDD505-2E9C-101B-9397-08002B2CF9AE}" pid="4" name="NXPowerLiteVersion">
    <vt:lpwstr>D5.0.2</vt:lpwstr>
  </property>
</Properties>
</file>